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4"/>
  </p:sldMasterIdLst>
  <p:sldIdLst>
    <p:sldId id="267" r:id="rId5"/>
    <p:sldId id="269" r:id="rId6"/>
    <p:sldId id="272" r:id="rId7"/>
    <p:sldId id="275" r:id="rId8"/>
    <p:sldId id="265" r:id="rId9"/>
    <p:sldId id="266" r:id="rId10"/>
    <p:sldId id="279" r:id="rId11"/>
    <p:sldId id="280" r:id="rId12"/>
    <p:sldId id="270" r:id="rId13"/>
    <p:sldId id="282" r:id="rId14"/>
    <p:sldId id="283" r:id="rId15"/>
    <p:sldId id="284" r:id="rId16"/>
    <p:sldId id="285" r:id="rId17"/>
    <p:sldId id="287" r:id="rId18"/>
  </p:sldIdLst>
  <p:sldSz cx="12192000" cy="6858000"/>
  <p:notesSz cx="6858000" cy="9144000"/>
  <p:embeddedFontLst>
    <p:embeddedFont>
      <p:font typeface="Montserrat Alternates" panose="020B0604020202020204" charset="0"/>
      <p:regular r:id="rId19"/>
      <p:bold r:id="rId20"/>
      <p:italic r:id="rId21"/>
      <p:boldItalic r:id="rId22"/>
    </p:embeddedFont>
    <p:embeddedFont>
      <p:font typeface="Montserrat Alternates ExtraBold" panose="020B0604020202020204" charset="0"/>
      <p:bold r:id="rId23"/>
      <p:boldItalic r:id="rId24"/>
    </p:embeddedFont>
    <p:embeddedFont>
      <p:font typeface="Montserrat Alternates SemiBold" panose="020B0604020202020204" charset="0"/>
      <p:bold r:id="rId25"/>
      <p:boldItalic r:id="rId26"/>
    </p:embeddedFont>
    <p:embeddedFont>
      <p:font typeface="Quicksand" panose="020B0604020202020204" charset="0"/>
      <p:regular r:id="rId27"/>
      <p:bold r:id="rId28"/>
    </p:embeddedFont>
  </p:embeddedFont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FF0F4"/>
    <a:srgbClr val="E4E6ED"/>
    <a:srgbClr val="DCEBEB"/>
    <a:srgbClr val="F4F4F7"/>
    <a:srgbClr val="EAEAF0"/>
    <a:srgbClr val="4E9664"/>
    <a:srgbClr val="555D7D"/>
    <a:srgbClr val="444A64"/>
    <a:srgbClr val="9097B3"/>
    <a:srgbClr val="DE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50" d="100"/>
          <a:sy n="50" d="100"/>
        </p:scale>
        <p:origin x="956" y="7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8.fntdata"/><Relationship Id="rId3" Type="http://schemas.openxmlformats.org/officeDocument/2006/relationships/customXml" Target="../customXml/item3.xml"/><Relationship Id="rId21" Type="http://schemas.openxmlformats.org/officeDocument/2006/relationships/font" Target="fonts/font3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7.fntdata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font" Target="fonts/font2.fntdata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6.fntdata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5.fntdata"/><Relationship Id="rId28" Type="http://schemas.openxmlformats.org/officeDocument/2006/relationships/font" Target="fonts/font10.fntdata"/><Relationship Id="rId10" Type="http://schemas.openxmlformats.org/officeDocument/2006/relationships/slide" Target="slides/slide6.xml"/><Relationship Id="rId19" Type="http://schemas.openxmlformats.org/officeDocument/2006/relationships/font" Target="fonts/font1.fntdata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viewProps" Target="viewProp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mille Courjault" userId="6f39056f-3a84-4024-a447-560697bae2d3" providerId="ADAL" clId="{103F275C-26F6-41D9-AE57-3AC35EF1C3CB}"/>
    <pc:docChg chg="undo custSel modSld">
      <pc:chgData name="Camille Courjault" userId="6f39056f-3a84-4024-a447-560697bae2d3" providerId="ADAL" clId="{103F275C-26F6-41D9-AE57-3AC35EF1C3CB}" dt="2026-04-01T12:43:49.575" v="5" actId="1076"/>
      <pc:docMkLst>
        <pc:docMk/>
      </pc:docMkLst>
      <pc:sldChg chg="modSp mod">
        <pc:chgData name="Camille Courjault" userId="6f39056f-3a84-4024-a447-560697bae2d3" providerId="ADAL" clId="{103F275C-26F6-41D9-AE57-3AC35EF1C3CB}" dt="2026-04-01T12:43:49.575" v="5" actId="1076"/>
        <pc:sldMkLst>
          <pc:docMk/>
          <pc:sldMk cId="625059058" sldId="282"/>
        </pc:sldMkLst>
        <pc:spChg chg="mod">
          <ac:chgData name="Camille Courjault" userId="6f39056f-3a84-4024-a447-560697bae2d3" providerId="ADAL" clId="{103F275C-26F6-41D9-AE57-3AC35EF1C3CB}" dt="2026-04-01T12:43:49.575" v="5" actId="1076"/>
          <ac:spMkLst>
            <pc:docMk/>
            <pc:sldMk cId="625059058" sldId="282"/>
            <ac:spMk id="21" creationId="{CF0E12EA-29DA-8C35-AF9B-9D970545E9C8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A2CCF39-E09C-B3AD-E370-54E6638837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DDBE5E9A-450E-0631-8EA4-0C6A1F0B5C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014DBC-2AA8-453E-9C79-49BA180CC0D5}" type="datetimeFigureOut">
              <a:rPr lang="fr-FR" smtClean="0"/>
              <a:t>01/04/2026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E6200D4-70E1-0149-4971-CE63EF141A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AC996010-C1E4-32B1-0F69-24D43D56D7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8F117-D1D1-4562-BBA1-C4174F9770E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65221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A3714D32-A260-643A-05FA-126B6FB13E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014DBC-2AA8-453E-9C79-49BA180CC0D5}" type="datetimeFigureOut">
              <a:rPr lang="fr-FR" smtClean="0"/>
              <a:t>01/04/2026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DE0EBAEB-38B4-4EC5-6D63-6C014C7F03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13F84B7-DE5A-BFA1-6CDE-5E9AA50DDD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8F117-D1D1-4562-BBA1-C4174F9770E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04470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A05A11CC-AF47-32BB-A85F-7F42CB2E02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A03061D-9886-461B-A702-77F2E3BDA1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6FE7F8D-1D5C-3BDD-4D76-5A792FD9A0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014DBC-2AA8-453E-9C79-49BA180CC0D5}" type="datetimeFigureOut">
              <a:rPr lang="fr-FR" smtClean="0"/>
              <a:t>01/04/2026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1AE2705-A3E8-ED76-BCFE-DB1180A25B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119B71F-1541-6682-43A9-F5C68C5362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28F117-D1D1-4562-BBA1-C4174F9770E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32850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16.png"/><Relationship Id="rId5" Type="http://schemas.openxmlformats.org/officeDocument/2006/relationships/image" Target="../media/image17.png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6.png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mailto:thibault@ecopills.fr" TargetMode="External"/><Relationship Id="rId3" Type="http://schemas.openxmlformats.org/officeDocument/2006/relationships/image" Target="../media/image18.png"/><Relationship Id="rId7" Type="http://schemas.openxmlformats.org/officeDocument/2006/relationships/hyperlink" Target="mailto:+33%206%2007%2081%2022%2093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hyperlink" Target="http://www.linkedin.com/company/ecopills/" TargetMode="External"/><Relationship Id="rId5" Type="http://schemas.openxmlformats.org/officeDocument/2006/relationships/image" Target="../media/image1.png"/><Relationship Id="rId4" Type="http://schemas.openxmlformats.org/officeDocument/2006/relationships/hyperlink" Target="http://www.ecopills.fr/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mesoigner.fr/conseils/722-gaspillage-de-medicaments-comment-limiter-limpact?" TargetMode="External"/><Relationship Id="rId5" Type="http://schemas.openxmlformats.org/officeDocument/2006/relationships/hyperlink" Target="https://rhumatologie.lequotidiendumedecin.fr/sante-societe/politique-de-sante/17-600-tonnes-de-medicaments-jetes-en-france?" TargetMode="External"/><Relationship Id="rId4" Type="http://schemas.openxmlformats.org/officeDocument/2006/relationships/hyperlink" Target="https://www.tf1info.fr/sante/video-reportage-medicaments-le-grand-gachis-voici-ce-que-deviennent-les-millions-de-boites-non-utilisees-en-france-chaque-annee-2306996.html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26774B-0E57-5367-7554-C42672852E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Forme libre : forme 84">
            <a:extLst>
              <a:ext uri="{FF2B5EF4-FFF2-40B4-BE49-F238E27FC236}">
                <a16:creationId xmlns:a16="http://schemas.microsoft.com/office/drawing/2014/main" id="{E63007B4-87FA-A8F3-BEDA-513F2FC799D3}"/>
              </a:ext>
            </a:extLst>
          </p:cNvPr>
          <p:cNvSpPr/>
          <p:nvPr/>
        </p:nvSpPr>
        <p:spPr>
          <a:xfrm>
            <a:off x="5339077" y="3230626"/>
            <a:ext cx="312433" cy="384284"/>
          </a:xfrm>
          <a:custGeom>
            <a:avLst/>
            <a:gdLst>
              <a:gd name="connsiteX0" fmla="*/ 485680 w 543401"/>
              <a:gd name="connsiteY0" fmla="*/ 563308 h 668369"/>
              <a:gd name="connsiteX1" fmla="*/ 528161 w 543401"/>
              <a:gd name="connsiteY1" fmla="*/ 580739 h 668369"/>
              <a:gd name="connsiteX2" fmla="*/ 543401 w 543401"/>
              <a:gd name="connsiteY2" fmla="*/ 617887 h 668369"/>
              <a:gd name="connsiteX3" fmla="*/ 529114 w 543401"/>
              <a:gd name="connsiteY3" fmla="*/ 652653 h 668369"/>
              <a:gd name="connsiteX4" fmla="*/ 485680 w 543401"/>
              <a:gd name="connsiteY4" fmla="*/ 668369 h 668369"/>
              <a:gd name="connsiteX5" fmla="*/ 69247 w 543401"/>
              <a:gd name="connsiteY5" fmla="*/ 668369 h 668369"/>
              <a:gd name="connsiteX6" fmla="*/ 18860 w 543401"/>
              <a:gd name="connsiteY6" fmla="*/ 650081 h 668369"/>
              <a:gd name="connsiteX7" fmla="*/ 0 w 543401"/>
              <a:gd name="connsiteY7" fmla="*/ 605409 h 668369"/>
              <a:gd name="connsiteX8" fmla="*/ 0 w 543401"/>
              <a:gd name="connsiteY8" fmla="*/ 61913 h 668369"/>
              <a:gd name="connsiteX9" fmla="*/ 18860 w 543401"/>
              <a:gd name="connsiteY9" fmla="*/ 18479 h 668369"/>
              <a:gd name="connsiteX10" fmla="*/ 69247 w 543401"/>
              <a:gd name="connsiteY10" fmla="*/ 0 h 668369"/>
              <a:gd name="connsiteX11" fmla="*/ 485775 w 543401"/>
              <a:gd name="connsiteY11" fmla="*/ 0 h 668369"/>
              <a:gd name="connsiteX12" fmla="*/ 527685 w 543401"/>
              <a:gd name="connsiteY12" fmla="*/ 15240 h 668369"/>
              <a:gd name="connsiteX13" fmla="*/ 541401 w 543401"/>
              <a:gd name="connsiteY13" fmla="*/ 50197 h 668369"/>
              <a:gd name="connsiteX14" fmla="*/ 527304 w 543401"/>
              <a:gd name="connsiteY14" fmla="*/ 86106 h 668369"/>
              <a:gd name="connsiteX15" fmla="*/ 485870 w 543401"/>
              <a:gd name="connsiteY15" fmla="*/ 102775 h 668369"/>
              <a:gd name="connsiteX16" fmla="*/ 119634 w 543401"/>
              <a:gd name="connsiteY16" fmla="*/ 102775 h 668369"/>
              <a:gd name="connsiteX17" fmla="*/ 119634 w 543401"/>
              <a:gd name="connsiteY17" fmla="*/ 286321 h 668369"/>
              <a:gd name="connsiteX18" fmla="*/ 466916 w 543401"/>
              <a:gd name="connsiteY18" fmla="*/ 286321 h 668369"/>
              <a:gd name="connsiteX19" fmla="*/ 507778 w 543401"/>
              <a:gd name="connsiteY19" fmla="*/ 302609 h 668369"/>
              <a:gd name="connsiteX20" fmla="*/ 521494 w 543401"/>
              <a:gd name="connsiteY20" fmla="*/ 338899 h 668369"/>
              <a:gd name="connsiteX21" fmla="*/ 507778 w 543401"/>
              <a:gd name="connsiteY21" fmla="*/ 373475 h 668369"/>
              <a:gd name="connsiteX22" fmla="*/ 466916 w 543401"/>
              <a:gd name="connsiteY22" fmla="*/ 389191 h 668369"/>
              <a:gd name="connsiteX23" fmla="*/ 119634 w 543401"/>
              <a:gd name="connsiteY23" fmla="*/ 389191 h 668369"/>
              <a:gd name="connsiteX24" fmla="*/ 119634 w 543401"/>
              <a:gd name="connsiteY24" fmla="*/ 563404 h 668369"/>
              <a:gd name="connsiteX25" fmla="*/ 485775 w 543401"/>
              <a:gd name="connsiteY25" fmla="*/ 563404 h 668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543401" h="668369">
                <a:moveTo>
                  <a:pt x="485680" y="563308"/>
                </a:moveTo>
                <a:cubicBezTo>
                  <a:pt x="503968" y="563308"/>
                  <a:pt x="518065" y="569119"/>
                  <a:pt x="528161" y="580739"/>
                </a:cubicBezTo>
                <a:cubicBezTo>
                  <a:pt x="538353" y="592264"/>
                  <a:pt x="543401" y="604647"/>
                  <a:pt x="543401" y="617887"/>
                </a:cubicBezTo>
                <a:cubicBezTo>
                  <a:pt x="543401" y="631126"/>
                  <a:pt x="538639" y="642080"/>
                  <a:pt x="529114" y="652653"/>
                </a:cubicBezTo>
                <a:cubicBezTo>
                  <a:pt x="519684" y="663130"/>
                  <a:pt x="505206" y="668369"/>
                  <a:pt x="485680" y="668369"/>
                </a:cubicBezTo>
                <a:lnTo>
                  <a:pt x="69247" y="668369"/>
                </a:lnTo>
                <a:cubicBezTo>
                  <a:pt x="48197" y="668369"/>
                  <a:pt x="31433" y="662273"/>
                  <a:pt x="18860" y="650081"/>
                </a:cubicBezTo>
                <a:cubicBezTo>
                  <a:pt x="6286" y="637794"/>
                  <a:pt x="0" y="622935"/>
                  <a:pt x="0" y="605409"/>
                </a:cubicBezTo>
                <a:lnTo>
                  <a:pt x="0" y="61913"/>
                </a:lnTo>
                <a:cubicBezTo>
                  <a:pt x="0" y="45148"/>
                  <a:pt x="6286" y="30671"/>
                  <a:pt x="18860" y="18479"/>
                </a:cubicBezTo>
                <a:cubicBezTo>
                  <a:pt x="31433" y="6191"/>
                  <a:pt x="48197" y="0"/>
                  <a:pt x="69247" y="0"/>
                </a:cubicBezTo>
                <a:lnTo>
                  <a:pt x="485775" y="0"/>
                </a:lnTo>
                <a:cubicBezTo>
                  <a:pt x="504635" y="0"/>
                  <a:pt x="518636" y="5143"/>
                  <a:pt x="527685" y="15240"/>
                </a:cubicBezTo>
                <a:cubicBezTo>
                  <a:pt x="536829" y="25337"/>
                  <a:pt x="541401" y="36957"/>
                  <a:pt x="541401" y="50197"/>
                </a:cubicBezTo>
                <a:cubicBezTo>
                  <a:pt x="541401" y="63437"/>
                  <a:pt x="536734" y="74866"/>
                  <a:pt x="527304" y="86106"/>
                </a:cubicBezTo>
                <a:cubicBezTo>
                  <a:pt x="517874" y="97250"/>
                  <a:pt x="504063" y="102775"/>
                  <a:pt x="485870" y="102775"/>
                </a:cubicBezTo>
                <a:lnTo>
                  <a:pt x="119634" y="102775"/>
                </a:lnTo>
                <a:lnTo>
                  <a:pt x="119634" y="286321"/>
                </a:lnTo>
                <a:lnTo>
                  <a:pt x="466916" y="286321"/>
                </a:lnTo>
                <a:cubicBezTo>
                  <a:pt x="485013" y="286321"/>
                  <a:pt x="498634" y="291751"/>
                  <a:pt x="507778" y="302609"/>
                </a:cubicBezTo>
                <a:cubicBezTo>
                  <a:pt x="516922" y="313468"/>
                  <a:pt x="521494" y="325564"/>
                  <a:pt x="521494" y="338899"/>
                </a:cubicBezTo>
                <a:cubicBezTo>
                  <a:pt x="521494" y="351472"/>
                  <a:pt x="516922" y="362998"/>
                  <a:pt x="507778" y="373475"/>
                </a:cubicBezTo>
                <a:cubicBezTo>
                  <a:pt x="498634" y="383953"/>
                  <a:pt x="485013" y="389191"/>
                  <a:pt x="466916" y="389191"/>
                </a:cubicBezTo>
                <a:lnTo>
                  <a:pt x="119634" y="389191"/>
                </a:lnTo>
                <a:lnTo>
                  <a:pt x="119634" y="563404"/>
                </a:lnTo>
                <a:lnTo>
                  <a:pt x="485775" y="563404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86" name="Forme libre : forme 85">
            <a:extLst>
              <a:ext uri="{FF2B5EF4-FFF2-40B4-BE49-F238E27FC236}">
                <a16:creationId xmlns:a16="http://schemas.microsoft.com/office/drawing/2014/main" id="{5F8280C0-AD94-A5C9-8CA3-170B5D6674DC}"/>
              </a:ext>
            </a:extLst>
          </p:cNvPr>
          <p:cNvSpPr/>
          <p:nvPr/>
        </p:nvSpPr>
        <p:spPr>
          <a:xfrm>
            <a:off x="5700853" y="3301656"/>
            <a:ext cx="287032" cy="319168"/>
          </a:xfrm>
          <a:custGeom>
            <a:avLst/>
            <a:gdLst>
              <a:gd name="connsiteX0" fmla="*/ 394811 w 499223"/>
              <a:gd name="connsiteY0" fmla="*/ 154400 h 555116"/>
              <a:gd name="connsiteX1" fmla="*/ 338042 w 499223"/>
              <a:gd name="connsiteY1" fmla="*/ 114490 h 555116"/>
              <a:gd name="connsiteX2" fmla="*/ 274130 w 499223"/>
              <a:gd name="connsiteY2" fmla="*/ 102965 h 555116"/>
              <a:gd name="connsiteX3" fmla="*/ 162782 w 499223"/>
              <a:gd name="connsiteY3" fmla="*/ 150781 h 555116"/>
              <a:gd name="connsiteX4" fmla="*/ 120872 w 499223"/>
              <a:gd name="connsiteY4" fmla="*/ 279178 h 555116"/>
              <a:gd name="connsiteX5" fmla="*/ 164306 w 499223"/>
              <a:gd name="connsiteY5" fmla="*/ 403955 h 555116"/>
              <a:gd name="connsiteX6" fmla="*/ 278225 w 499223"/>
              <a:gd name="connsiteY6" fmla="*/ 451199 h 555116"/>
              <a:gd name="connsiteX7" fmla="*/ 342138 w 499223"/>
              <a:gd name="connsiteY7" fmla="*/ 440246 h 555116"/>
              <a:gd name="connsiteX8" fmla="*/ 399860 w 499223"/>
              <a:gd name="connsiteY8" fmla="*/ 403955 h 555116"/>
              <a:gd name="connsiteX9" fmla="*/ 445484 w 499223"/>
              <a:gd name="connsiteY9" fmla="*/ 379952 h 555116"/>
              <a:gd name="connsiteX10" fmla="*/ 482822 w 499223"/>
              <a:gd name="connsiteY10" fmla="*/ 392430 h 555116"/>
              <a:gd name="connsiteX11" fmla="*/ 499110 w 499223"/>
              <a:gd name="connsiteY11" fmla="*/ 427768 h 555116"/>
              <a:gd name="connsiteX12" fmla="*/ 480632 w 499223"/>
              <a:gd name="connsiteY12" fmla="*/ 471202 h 555116"/>
              <a:gd name="connsiteX13" fmla="*/ 386810 w 499223"/>
              <a:gd name="connsiteY13" fmla="*/ 535686 h 555116"/>
              <a:gd name="connsiteX14" fmla="*/ 277273 w 499223"/>
              <a:gd name="connsiteY14" fmla="*/ 555117 h 555116"/>
              <a:gd name="connsiteX15" fmla="*/ 131826 w 499223"/>
              <a:gd name="connsiteY15" fmla="*/ 520541 h 555116"/>
              <a:gd name="connsiteX16" fmla="*/ 34576 w 499223"/>
              <a:gd name="connsiteY16" fmla="*/ 423863 h 555116"/>
              <a:gd name="connsiteX17" fmla="*/ 0 w 499223"/>
              <a:gd name="connsiteY17" fmla="*/ 280035 h 555116"/>
              <a:gd name="connsiteX18" fmla="*/ 34100 w 499223"/>
              <a:gd name="connsiteY18" fmla="*/ 132207 h 555116"/>
              <a:gd name="connsiteX19" fmla="*/ 130112 w 499223"/>
              <a:gd name="connsiteY19" fmla="*/ 34766 h 555116"/>
              <a:gd name="connsiteX20" fmla="*/ 273939 w 499223"/>
              <a:gd name="connsiteY20" fmla="*/ 0 h 555116"/>
              <a:gd name="connsiteX21" fmla="*/ 381286 w 499223"/>
              <a:gd name="connsiteY21" fmla="*/ 17907 h 555116"/>
              <a:gd name="connsiteX22" fmla="*/ 473202 w 499223"/>
              <a:gd name="connsiteY22" fmla="*/ 84963 h 555116"/>
              <a:gd name="connsiteX23" fmla="*/ 489490 w 499223"/>
              <a:gd name="connsiteY23" fmla="*/ 128016 h 555116"/>
              <a:gd name="connsiteX24" fmla="*/ 471011 w 499223"/>
              <a:gd name="connsiteY24" fmla="*/ 162592 h 555116"/>
              <a:gd name="connsiteX25" fmla="*/ 433864 w 499223"/>
              <a:gd name="connsiteY25" fmla="*/ 175927 h 555116"/>
              <a:gd name="connsiteX26" fmla="*/ 394526 w 499223"/>
              <a:gd name="connsiteY26" fmla="*/ 154305 h 555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99223" h="555116">
                <a:moveTo>
                  <a:pt x="394811" y="154400"/>
                </a:moveTo>
                <a:cubicBezTo>
                  <a:pt x="378619" y="135541"/>
                  <a:pt x="359759" y="122206"/>
                  <a:pt x="338042" y="114490"/>
                </a:cubicBezTo>
                <a:cubicBezTo>
                  <a:pt x="316325" y="106871"/>
                  <a:pt x="294989" y="102965"/>
                  <a:pt x="274130" y="102965"/>
                </a:cubicBezTo>
                <a:cubicBezTo>
                  <a:pt x="227933" y="102965"/>
                  <a:pt x="190881" y="118967"/>
                  <a:pt x="162782" y="150781"/>
                </a:cubicBezTo>
                <a:cubicBezTo>
                  <a:pt x="134874" y="182499"/>
                  <a:pt x="120872" y="225361"/>
                  <a:pt x="120872" y="279178"/>
                </a:cubicBezTo>
                <a:cubicBezTo>
                  <a:pt x="120872" y="332994"/>
                  <a:pt x="135350" y="372523"/>
                  <a:pt x="164306" y="403955"/>
                </a:cubicBezTo>
                <a:cubicBezTo>
                  <a:pt x="193262" y="435483"/>
                  <a:pt x="231267" y="451199"/>
                  <a:pt x="278225" y="451199"/>
                </a:cubicBezTo>
                <a:cubicBezTo>
                  <a:pt x="299085" y="451199"/>
                  <a:pt x="320421" y="447580"/>
                  <a:pt x="342138" y="440246"/>
                </a:cubicBezTo>
                <a:cubicBezTo>
                  <a:pt x="363855" y="432816"/>
                  <a:pt x="383096" y="420719"/>
                  <a:pt x="399860" y="403955"/>
                </a:cubicBezTo>
                <a:cubicBezTo>
                  <a:pt x="415385" y="388620"/>
                  <a:pt x="430530" y="380619"/>
                  <a:pt x="445484" y="379952"/>
                </a:cubicBezTo>
                <a:cubicBezTo>
                  <a:pt x="460534" y="379190"/>
                  <a:pt x="473012" y="383286"/>
                  <a:pt x="482822" y="392430"/>
                </a:cubicBezTo>
                <a:cubicBezTo>
                  <a:pt x="492633" y="401574"/>
                  <a:pt x="497967" y="413385"/>
                  <a:pt x="499110" y="427768"/>
                </a:cubicBezTo>
                <a:cubicBezTo>
                  <a:pt x="500158" y="442055"/>
                  <a:pt x="493967" y="456533"/>
                  <a:pt x="480632" y="471202"/>
                </a:cubicBezTo>
                <a:cubicBezTo>
                  <a:pt x="453390" y="501301"/>
                  <a:pt x="422053" y="522732"/>
                  <a:pt x="386810" y="535686"/>
                </a:cubicBezTo>
                <a:cubicBezTo>
                  <a:pt x="351568" y="548640"/>
                  <a:pt x="314992" y="555117"/>
                  <a:pt x="277273" y="555117"/>
                </a:cubicBezTo>
                <a:cubicBezTo>
                  <a:pt x="221933" y="555117"/>
                  <a:pt x="173450" y="543592"/>
                  <a:pt x="131826" y="520541"/>
                </a:cubicBezTo>
                <a:cubicBezTo>
                  <a:pt x="90107" y="497396"/>
                  <a:pt x="57722" y="465201"/>
                  <a:pt x="34576" y="423863"/>
                </a:cubicBezTo>
                <a:cubicBezTo>
                  <a:pt x="11525" y="382619"/>
                  <a:pt x="0" y="334708"/>
                  <a:pt x="0" y="280035"/>
                </a:cubicBezTo>
                <a:cubicBezTo>
                  <a:pt x="0" y="225361"/>
                  <a:pt x="11335" y="174212"/>
                  <a:pt x="34100" y="132207"/>
                </a:cubicBezTo>
                <a:cubicBezTo>
                  <a:pt x="56864" y="90297"/>
                  <a:pt x="88868" y="57817"/>
                  <a:pt x="130112" y="34766"/>
                </a:cubicBezTo>
                <a:cubicBezTo>
                  <a:pt x="171355" y="11621"/>
                  <a:pt x="219266" y="0"/>
                  <a:pt x="273939" y="0"/>
                </a:cubicBezTo>
                <a:cubicBezTo>
                  <a:pt x="312325" y="0"/>
                  <a:pt x="348044" y="6001"/>
                  <a:pt x="381286" y="17907"/>
                </a:cubicBezTo>
                <a:cubicBezTo>
                  <a:pt x="414623" y="29718"/>
                  <a:pt x="445199" y="52006"/>
                  <a:pt x="473202" y="84963"/>
                </a:cubicBezTo>
                <a:cubicBezTo>
                  <a:pt x="485870" y="99631"/>
                  <a:pt x="491300" y="114014"/>
                  <a:pt x="489490" y="128016"/>
                </a:cubicBezTo>
                <a:cubicBezTo>
                  <a:pt x="487775" y="141922"/>
                  <a:pt x="481584" y="153448"/>
                  <a:pt x="471011" y="162592"/>
                </a:cubicBezTo>
                <a:cubicBezTo>
                  <a:pt x="460534" y="171736"/>
                  <a:pt x="448151" y="176213"/>
                  <a:pt x="433864" y="175927"/>
                </a:cubicBezTo>
                <a:cubicBezTo>
                  <a:pt x="419576" y="175546"/>
                  <a:pt x="406432" y="168307"/>
                  <a:pt x="394526" y="154305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87" name="Forme libre : forme 86">
            <a:extLst>
              <a:ext uri="{FF2B5EF4-FFF2-40B4-BE49-F238E27FC236}">
                <a16:creationId xmlns:a16="http://schemas.microsoft.com/office/drawing/2014/main" id="{CD9090ED-606D-8006-D9B0-9E247755F76C}"/>
              </a:ext>
            </a:extLst>
          </p:cNvPr>
          <p:cNvSpPr/>
          <p:nvPr/>
        </p:nvSpPr>
        <p:spPr>
          <a:xfrm>
            <a:off x="6026210" y="3301766"/>
            <a:ext cx="320921" cy="319168"/>
          </a:xfrm>
          <a:custGeom>
            <a:avLst/>
            <a:gdLst>
              <a:gd name="connsiteX0" fmla="*/ 278892 w 558165"/>
              <a:gd name="connsiteY0" fmla="*/ 0 h 555116"/>
              <a:gd name="connsiteX1" fmla="*/ 425767 w 558165"/>
              <a:gd name="connsiteY1" fmla="*/ 35147 h 555116"/>
              <a:gd name="connsiteX2" fmla="*/ 523399 w 558165"/>
              <a:gd name="connsiteY2" fmla="*/ 133160 h 555116"/>
              <a:gd name="connsiteX3" fmla="*/ 558165 w 558165"/>
              <a:gd name="connsiteY3" fmla="*/ 280035 h 555116"/>
              <a:gd name="connsiteX4" fmla="*/ 521875 w 558165"/>
              <a:gd name="connsiteY4" fmla="*/ 423863 h 555116"/>
              <a:gd name="connsiteX5" fmla="*/ 424243 w 558165"/>
              <a:gd name="connsiteY5" fmla="*/ 520541 h 555116"/>
              <a:gd name="connsiteX6" fmla="*/ 278987 w 558165"/>
              <a:gd name="connsiteY6" fmla="*/ 555117 h 555116"/>
              <a:gd name="connsiteX7" fmla="*/ 134112 w 558165"/>
              <a:gd name="connsiteY7" fmla="*/ 520541 h 555116"/>
              <a:gd name="connsiteX8" fmla="*/ 36100 w 558165"/>
              <a:gd name="connsiteY8" fmla="*/ 423863 h 555116"/>
              <a:gd name="connsiteX9" fmla="*/ 0 w 558165"/>
              <a:gd name="connsiteY9" fmla="*/ 280035 h 555116"/>
              <a:gd name="connsiteX10" fmla="*/ 35147 w 558165"/>
              <a:gd name="connsiteY10" fmla="*/ 133160 h 555116"/>
              <a:gd name="connsiteX11" fmla="*/ 133159 w 558165"/>
              <a:gd name="connsiteY11" fmla="*/ 35147 h 555116"/>
              <a:gd name="connsiteX12" fmla="*/ 278987 w 558165"/>
              <a:gd name="connsiteY12" fmla="*/ 0 h 555116"/>
              <a:gd name="connsiteX13" fmla="*/ 278892 w 558165"/>
              <a:gd name="connsiteY13" fmla="*/ 450056 h 555116"/>
              <a:gd name="connsiteX14" fmla="*/ 392811 w 558165"/>
              <a:gd name="connsiteY14" fmla="*/ 402812 h 555116"/>
              <a:gd name="connsiteX15" fmla="*/ 435292 w 558165"/>
              <a:gd name="connsiteY15" fmla="*/ 279940 h 555116"/>
              <a:gd name="connsiteX16" fmla="*/ 392811 w 558165"/>
              <a:gd name="connsiteY16" fmla="*/ 153543 h 555116"/>
              <a:gd name="connsiteX17" fmla="*/ 278892 w 558165"/>
              <a:gd name="connsiteY17" fmla="*/ 104680 h 555116"/>
              <a:gd name="connsiteX18" fmla="*/ 165545 w 558165"/>
              <a:gd name="connsiteY18" fmla="*/ 153543 h 555116"/>
              <a:gd name="connsiteX19" fmla="*/ 122492 w 558165"/>
              <a:gd name="connsiteY19" fmla="*/ 279940 h 555116"/>
              <a:gd name="connsiteX20" fmla="*/ 165545 w 558165"/>
              <a:gd name="connsiteY20" fmla="*/ 402812 h 555116"/>
              <a:gd name="connsiteX21" fmla="*/ 278892 w 558165"/>
              <a:gd name="connsiteY21" fmla="*/ 450056 h 555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58165" h="555116">
                <a:moveTo>
                  <a:pt x="278892" y="0"/>
                </a:moveTo>
                <a:cubicBezTo>
                  <a:pt x="334899" y="0"/>
                  <a:pt x="383762" y="11716"/>
                  <a:pt x="425767" y="35147"/>
                </a:cubicBezTo>
                <a:cubicBezTo>
                  <a:pt x="467868" y="58579"/>
                  <a:pt x="500348" y="91249"/>
                  <a:pt x="523399" y="133160"/>
                </a:cubicBezTo>
                <a:cubicBezTo>
                  <a:pt x="546545" y="175165"/>
                  <a:pt x="558165" y="224028"/>
                  <a:pt x="558165" y="280035"/>
                </a:cubicBezTo>
                <a:cubicBezTo>
                  <a:pt x="557498" y="334708"/>
                  <a:pt x="545401" y="382619"/>
                  <a:pt x="521875" y="423863"/>
                </a:cubicBezTo>
                <a:cubicBezTo>
                  <a:pt x="498443" y="465106"/>
                  <a:pt x="465868" y="497396"/>
                  <a:pt x="424243" y="520541"/>
                </a:cubicBezTo>
                <a:cubicBezTo>
                  <a:pt x="382714" y="543592"/>
                  <a:pt x="334232" y="555117"/>
                  <a:pt x="278987" y="555117"/>
                </a:cubicBezTo>
                <a:cubicBezTo>
                  <a:pt x="223742" y="555117"/>
                  <a:pt x="176213" y="543592"/>
                  <a:pt x="134112" y="520541"/>
                </a:cubicBezTo>
                <a:cubicBezTo>
                  <a:pt x="92107" y="497396"/>
                  <a:pt x="59531" y="465201"/>
                  <a:pt x="36100" y="423863"/>
                </a:cubicBezTo>
                <a:cubicBezTo>
                  <a:pt x="12668" y="382524"/>
                  <a:pt x="667" y="334708"/>
                  <a:pt x="0" y="280035"/>
                </a:cubicBezTo>
                <a:cubicBezTo>
                  <a:pt x="0" y="224028"/>
                  <a:pt x="11716" y="175165"/>
                  <a:pt x="35147" y="133160"/>
                </a:cubicBezTo>
                <a:cubicBezTo>
                  <a:pt x="58579" y="91249"/>
                  <a:pt x="91250" y="58579"/>
                  <a:pt x="133159" y="35147"/>
                </a:cubicBezTo>
                <a:cubicBezTo>
                  <a:pt x="175260" y="11716"/>
                  <a:pt x="223838" y="0"/>
                  <a:pt x="278987" y="0"/>
                </a:cubicBezTo>
                <a:close/>
                <a:moveTo>
                  <a:pt x="278892" y="450056"/>
                </a:moveTo>
                <a:cubicBezTo>
                  <a:pt x="326517" y="450056"/>
                  <a:pt x="364426" y="434340"/>
                  <a:pt x="392811" y="402812"/>
                </a:cubicBezTo>
                <a:cubicBezTo>
                  <a:pt x="421100" y="371380"/>
                  <a:pt x="435292" y="330422"/>
                  <a:pt x="435292" y="279940"/>
                </a:cubicBezTo>
                <a:cubicBezTo>
                  <a:pt x="435292" y="229457"/>
                  <a:pt x="421100" y="186119"/>
                  <a:pt x="392811" y="153543"/>
                </a:cubicBezTo>
                <a:cubicBezTo>
                  <a:pt x="364522" y="120968"/>
                  <a:pt x="326517" y="104680"/>
                  <a:pt x="278892" y="104680"/>
                </a:cubicBezTo>
                <a:cubicBezTo>
                  <a:pt x="231267" y="104680"/>
                  <a:pt x="194215" y="120968"/>
                  <a:pt x="165545" y="153543"/>
                </a:cubicBezTo>
                <a:cubicBezTo>
                  <a:pt x="136779" y="186119"/>
                  <a:pt x="122492" y="228219"/>
                  <a:pt x="122492" y="279940"/>
                </a:cubicBezTo>
                <a:cubicBezTo>
                  <a:pt x="122492" y="331661"/>
                  <a:pt x="136874" y="371285"/>
                  <a:pt x="165545" y="402812"/>
                </a:cubicBezTo>
                <a:cubicBezTo>
                  <a:pt x="194215" y="434340"/>
                  <a:pt x="232029" y="450056"/>
                  <a:pt x="278892" y="450056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88" name="Forme libre : forme 87">
            <a:extLst>
              <a:ext uri="{FF2B5EF4-FFF2-40B4-BE49-F238E27FC236}">
                <a16:creationId xmlns:a16="http://schemas.microsoft.com/office/drawing/2014/main" id="{8906131A-EDAA-60E7-9E25-1B73B8B4F721}"/>
              </a:ext>
            </a:extLst>
          </p:cNvPr>
          <p:cNvSpPr/>
          <p:nvPr/>
        </p:nvSpPr>
        <p:spPr>
          <a:xfrm>
            <a:off x="6406880" y="3230572"/>
            <a:ext cx="316759" cy="384339"/>
          </a:xfrm>
          <a:custGeom>
            <a:avLst/>
            <a:gdLst>
              <a:gd name="connsiteX0" fmla="*/ 120587 w 550926"/>
              <a:gd name="connsiteY0" fmla="*/ 482632 h 668464"/>
              <a:gd name="connsiteX1" fmla="*/ 120587 w 550926"/>
              <a:gd name="connsiteY1" fmla="*/ 614839 h 668464"/>
              <a:gd name="connsiteX2" fmla="*/ 101156 w 550926"/>
              <a:gd name="connsiteY2" fmla="*/ 655320 h 668464"/>
              <a:gd name="connsiteX3" fmla="*/ 59722 w 550926"/>
              <a:gd name="connsiteY3" fmla="*/ 668464 h 668464"/>
              <a:gd name="connsiteX4" fmla="*/ 18288 w 550926"/>
              <a:gd name="connsiteY4" fmla="*/ 655320 h 668464"/>
              <a:gd name="connsiteX5" fmla="*/ 0 w 550926"/>
              <a:gd name="connsiteY5" fmla="*/ 615982 h 668464"/>
              <a:gd name="connsiteX6" fmla="*/ 0 w 550926"/>
              <a:gd name="connsiteY6" fmla="*/ 54578 h 668464"/>
              <a:gd name="connsiteX7" fmla="*/ 17621 w 550926"/>
              <a:gd name="connsiteY7" fmla="*/ 15240 h 668464"/>
              <a:gd name="connsiteX8" fmla="*/ 60674 w 550926"/>
              <a:gd name="connsiteY8" fmla="*/ 0 h 668464"/>
              <a:gd name="connsiteX9" fmla="*/ 274796 w 550926"/>
              <a:gd name="connsiteY9" fmla="*/ 0 h 668464"/>
              <a:gd name="connsiteX10" fmla="*/ 423863 w 550926"/>
              <a:gd name="connsiteY10" fmla="*/ 30956 h 668464"/>
              <a:gd name="connsiteX11" fmla="*/ 518350 w 550926"/>
              <a:gd name="connsiteY11" fmla="*/ 117062 h 668464"/>
              <a:gd name="connsiteX12" fmla="*/ 550926 w 550926"/>
              <a:gd name="connsiteY12" fmla="*/ 246412 h 668464"/>
              <a:gd name="connsiteX13" fmla="*/ 477488 w 550926"/>
              <a:gd name="connsiteY13" fmla="*/ 417481 h 668464"/>
              <a:gd name="connsiteX14" fmla="*/ 271748 w 550926"/>
              <a:gd name="connsiteY14" fmla="*/ 482537 h 668464"/>
              <a:gd name="connsiteX15" fmla="*/ 120777 w 550926"/>
              <a:gd name="connsiteY15" fmla="*/ 482537 h 668464"/>
              <a:gd name="connsiteX16" fmla="*/ 120587 w 550926"/>
              <a:gd name="connsiteY16" fmla="*/ 103822 h 668464"/>
              <a:gd name="connsiteX17" fmla="*/ 120587 w 550926"/>
              <a:gd name="connsiteY17" fmla="*/ 378905 h 668464"/>
              <a:gd name="connsiteX18" fmla="*/ 271558 w 550926"/>
              <a:gd name="connsiteY18" fmla="*/ 378905 h 668464"/>
              <a:gd name="connsiteX19" fmla="*/ 390239 w 550926"/>
              <a:gd name="connsiteY19" fmla="*/ 342805 h 668464"/>
              <a:gd name="connsiteX20" fmla="*/ 431102 w 550926"/>
              <a:gd name="connsiteY20" fmla="*/ 246602 h 668464"/>
              <a:gd name="connsiteX21" fmla="*/ 390620 w 550926"/>
              <a:gd name="connsiteY21" fmla="*/ 142780 h 668464"/>
              <a:gd name="connsiteX22" fmla="*/ 275749 w 550926"/>
              <a:gd name="connsiteY22" fmla="*/ 103918 h 668464"/>
              <a:gd name="connsiteX23" fmla="*/ 120587 w 550926"/>
              <a:gd name="connsiteY23" fmla="*/ 103918 h 668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550926" h="668464">
                <a:moveTo>
                  <a:pt x="120587" y="482632"/>
                </a:moveTo>
                <a:lnTo>
                  <a:pt x="120587" y="614839"/>
                </a:lnTo>
                <a:cubicBezTo>
                  <a:pt x="120587" y="633127"/>
                  <a:pt x="114110" y="646557"/>
                  <a:pt x="101156" y="655320"/>
                </a:cubicBezTo>
                <a:cubicBezTo>
                  <a:pt x="88202" y="664083"/>
                  <a:pt x="74390" y="668464"/>
                  <a:pt x="59722" y="668464"/>
                </a:cubicBezTo>
                <a:cubicBezTo>
                  <a:pt x="45053" y="668464"/>
                  <a:pt x="30575" y="664083"/>
                  <a:pt x="18288" y="655320"/>
                </a:cubicBezTo>
                <a:cubicBezTo>
                  <a:pt x="6096" y="646557"/>
                  <a:pt x="0" y="633508"/>
                  <a:pt x="0" y="615982"/>
                </a:cubicBezTo>
                <a:lnTo>
                  <a:pt x="0" y="54578"/>
                </a:lnTo>
                <a:cubicBezTo>
                  <a:pt x="0" y="38481"/>
                  <a:pt x="5810" y="25337"/>
                  <a:pt x="17621" y="15240"/>
                </a:cubicBezTo>
                <a:cubicBezTo>
                  <a:pt x="29528" y="5048"/>
                  <a:pt x="43910" y="0"/>
                  <a:pt x="60674" y="0"/>
                </a:cubicBezTo>
                <a:lnTo>
                  <a:pt x="274796" y="0"/>
                </a:lnTo>
                <a:cubicBezTo>
                  <a:pt x="332804" y="0"/>
                  <a:pt x="382524" y="10287"/>
                  <a:pt x="423863" y="30956"/>
                </a:cubicBezTo>
                <a:cubicBezTo>
                  <a:pt x="465201" y="51626"/>
                  <a:pt x="496634" y="80296"/>
                  <a:pt x="518350" y="117062"/>
                </a:cubicBezTo>
                <a:cubicBezTo>
                  <a:pt x="540068" y="153733"/>
                  <a:pt x="550926" y="196882"/>
                  <a:pt x="550926" y="246412"/>
                </a:cubicBezTo>
                <a:cubicBezTo>
                  <a:pt x="550926" y="317087"/>
                  <a:pt x="526447" y="374142"/>
                  <a:pt x="477488" y="417481"/>
                </a:cubicBezTo>
                <a:cubicBezTo>
                  <a:pt x="428530" y="460915"/>
                  <a:pt x="359950" y="482537"/>
                  <a:pt x="271748" y="482537"/>
                </a:cubicBezTo>
                <a:lnTo>
                  <a:pt x="120777" y="482537"/>
                </a:lnTo>
                <a:close/>
                <a:moveTo>
                  <a:pt x="120587" y="103822"/>
                </a:moveTo>
                <a:lnTo>
                  <a:pt x="120587" y="378905"/>
                </a:lnTo>
                <a:lnTo>
                  <a:pt x="271558" y="378905"/>
                </a:lnTo>
                <a:cubicBezTo>
                  <a:pt x="323374" y="378905"/>
                  <a:pt x="362903" y="366903"/>
                  <a:pt x="390239" y="342805"/>
                </a:cubicBezTo>
                <a:cubicBezTo>
                  <a:pt x="417481" y="318611"/>
                  <a:pt x="431102" y="286512"/>
                  <a:pt x="431102" y="246602"/>
                </a:cubicBezTo>
                <a:cubicBezTo>
                  <a:pt x="431102" y="203263"/>
                  <a:pt x="417576" y="168593"/>
                  <a:pt x="390620" y="142780"/>
                </a:cubicBezTo>
                <a:cubicBezTo>
                  <a:pt x="363760" y="116872"/>
                  <a:pt x="325469" y="103918"/>
                  <a:pt x="275749" y="103918"/>
                </a:cubicBezTo>
                <a:lnTo>
                  <a:pt x="120587" y="103918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89" name="Forme libre : forme 88">
            <a:extLst>
              <a:ext uri="{FF2B5EF4-FFF2-40B4-BE49-F238E27FC236}">
                <a16:creationId xmlns:a16="http://schemas.microsoft.com/office/drawing/2014/main" id="{67434562-57F0-C6FB-78C9-7709A3CEAC11}"/>
              </a:ext>
            </a:extLst>
          </p:cNvPr>
          <p:cNvSpPr/>
          <p:nvPr/>
        </p:nvSpPr>
        <p:spPr>
          <a:xfrm>
            <a:off x="6778458" y="3224547"/>
            <a:ext cx="69934" cy="390309"/>
          </a:xfrm>
          <a:custGeom>
            <a:avLst/>
            <a:gdLst>
              <a:gd name="connsiteX0" fmla="*/ 121634 w 121634"/>
              <a:gd name="connsiteY0" fmla="*/ 66104 h 678846"/>
              <a:gd name="connsiteX1" fmla="*/ 102203 w 121634"/>
              <a:gd name="connsiteY1" fmla="*/ 105442 h 678846"/>
              <a:gd name="connsiteX2" fmla="*/ 60770 w 121634"/>
              <a:gd name="connsiteY2" fmla="*/ 118586 h 678846"/>
              <a:gd name="connsiteX3" fmla="*/ 18860 w 121634"/>
              <a:gd name="connsiteY3" fmla="*/ 105442 h 678846"/>
              <a:gd name="connsiteX4" fmla="*/ 0 w 121634"/>
              <a:gd name="connsiteY4" fmla="*/ 66104 h 678846"/>
              <a:gd name="connsiteX5" fmla="*/ 0 w 121634"/>
              <a:gd name="connsiteY5" fmla="*/ 52388 h 678846"/>
              <a:gd name="connsiteX6" fmla="*/ 18860 w 121634"/>
              <a:gd name="connsiteY6" fmla="*/ 12668 h 678846"/>
              <a:gd name="connsiteX7" fmla="*/ 60770 w 121634"/>
              <a:gd name="connsiteY7" fmla="*/ 0 h 678846"/>
              <a:gd name="connsiteX8" fmla="*/ 102203 w 121634"/>
              <a:gd name="connsiteY8" fmla="*/ 12668 h 678846"/>
              <a:gd name="connsiteX9" fmla="*/ 121634 w 121634"/>
              <a:gd name="connsiteY9" fmla="*/ 52388 h 678846"/>
              <a:gd name="connsiteX10" fmla="*/ 121634 w 121634"/>
              <a:gd name="connsiteY10" fmla="*/ 66104 h 678846"/>
              <a:gd name="connsiteX11" fmla="*/ 953 w 121634"/>
              <a:gd name="connsiteY11" fmla="*/ 196215 h 678846"/>
              <a:gd name="connsiteX12" fmla="*/ 20384 w 121634"/>
              <a:gd name="connsiteY12" fmla="*/ 157925 h 678846"/>
              <a:gd name="connsiteX13" fmla="*/ 60674 w 121634"/>
              <a:gd name="connsiteY13" fmla="*/ 144589 h 678846"/>
              <a:gd name="connsiteX14" fmla="*/ 101727 w 121634"/>
              <a:gd name="connsiteY14" fmla="*/ 157925 h 678846"/>
              <a:gd name="connsiteX15" fmla="*/ 120587 w 121634"/>
              <a:gd name="connsiteY15" fmla="*/ 195072 h 678846"/>
              <a:gd name="connsiteX16" fmla="*/ 120587 w 121634"/>
              <a:gd name="connsiteY16" fmla="*/ 627507 h 678846"/>
              <a:gd name="connsiteX17" fmla="*/ 101727 w 121634"/>
              <a:gd name="connsiteY17" fmla="*/ 666369 h 678846"/>
              <a:gd name="connsiteX18" fmla="*/ 60674 w 121634"/>
              <a:gd name="connsiteY18" fmla="*/ 678847 h 678846"/>
              <a:gd name="connsiteX19" fmla="*/ 20384 w 121634"/>
              <a:gd name="connsiteY19" fmla="*/ 666369 h 678846"/>
              <a:gd name="connsiteX20" fmla="*/ 953 w 121634"/>
              <a:gd name="connsiteY20" fmla="*/ 627507 h 678846"/>
              <a:gd name="connsiteX21" fmla="*/ 953 w 121634"/>
              <a:gd name="connsiteY21" fmla="*/ 196310 h 6788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21634" h="678846">
                <a:moveTo>
                  <a:pt x="121634" y="66104"/>
                </a:moveTo>
                <a:cubicBezTo>
                  <a:pt x="121634" y="83534"/>
                  <a:pt x="115158" y="96679"/>
                  <a:pt x="102203" y="105442"/>
                </a:cubicBezTo>
                <a:cubicBezTo>
                  <a:pt x="89345" y="114205"/>
                  <a:pt x="75533" y="118586"/>
                  <a:pt x="60770" y="118586"/>
                </a:cubicBezTo>
                <a:cubicBezTo>
                  <a:pt x="46006" y="118586"/>
                  <a:pt x="31433" y="114205"/>
                  <a:pt x="18860" y="105442"/>
                </a:cubicBezTo>
                <a:cubicBezTo>
                  <a:pt x="6287" y="96679"/>
                  <a:pt x="0" y="83629"/>
                  <a:pt x="0" y="66104"/>
                </a:cubicBezTo>
                <a:lnTo>
                  <a:pt x="0" y="52388"/>
                </a:lnTo>
                <a:cubicBezTo>
                  <a:pt x="0" y="34290"/>
                  <a:pt x="6287" y="21050"/>
                  <a:pt x="18860" y="12668"/>
                </a:cubicBezTo>
                <a:cubicBezTo>
                  <a:pt x="31433" y="4191"/>
                  <a:pt x="45339" y="0"/>
                  <a:pt x="60770" y="0"/>
                </a:cubicBezTo>
                <a:cubicBezTo>
                  <a:pt x="76200" y="0"/>
                  <a:pt x="89440" y="4286"/>
                  <a:pt x="102203" y="12668"/>
                </a:cubicBezTo>
                <a:cubicBezTo>
                  <a:pt x="115158" y="21050"/>
                  <a:pt x="121634" y="34290"/>
                  <a:pt x="121634" y="52388"/>
                </a:cubicBezTo>
                <a:lnTo>
                  <a:pt x="121634" y="66104"/>
                </a:lnTo>
                <a:close/>
                <a:moveTo>
                  <a:pt x="953" y="196215"/>
                </a:moveTo>
                <a:cubicBezTo>
                  <a:pt x="953" y="179451"/>
                  <a:pt x="7430" y="166688"/>
                  <a:pt x="20384" y="157925"/>
                </a:cubicBezTo>
                <a:cubicBezTo>
                  <a:pt x="33338" y="149066"/>
                  <a:pt x="46768" y="144589"/>
                  <a:pt x="60674" y="144589"/>
                </a:cubicBezTo>
                <a:cubicBezTo>
                  <a:pt x="75438" y="144589"/>
                  <a:pt x="89154" y="149066"/>
                  <a:pt x="101727" y="157925"/>
                </a:cubicBezTo>
                <a:cubicBezTo>
                  <a:pt x="114300" y="166688"/>
                  <a:pt x="120587" y="179070"/>
                  <a:pt x="120587" y="195072"/>
                </a:cubicBezTo>
                <a:lnTo>
                  <a:pt x="120587" y="627507"/>
                </a:lnTo>
                <a:cubicBezTo>
                  <a:pt x="120587" y="644938"/>
                  <a:pt x="114300" y="657987"/>
                  <a:pt x="101727" y="666369"/>
                </a:cubicBezTo>
                <a:cubicBezTo>
                  <a:pt x="89154" y="674751"/>
                  <a:pt x="75438" y="678847"/>
                  <a:pt x="60674" y="678847"/>
                </a:cubicBezTo>
                <a:cubicBezTo>
                  <a:pt x="46768" y="678847"/>
                  <a:pt x="33338" y="674656"/>
                  <a:pt x="20384" y="666369"/>
                </a:cubicBezTo>
                <a:cubicBezTo>
                  <a:pt x="7430" y="657892"/>
                  <a:pt x="953" y="644938"/>
                  <a:pt x="953" y="627507"/>
                </a:cubicBezTo>
                <a:lnTo>
                  <a:pt x="953" y="196310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90" name="Forme libre : forme 89">
            <a:extLst>
              <a:ext uri="{FF2B5EF4-FFF2-40B4-BE49-F238E27FC236}">
                <a16:creationId xmlns:a16="http://schemas.microsoft.com/office/drawing/2014/main" id="{AC1B261E-9515-AA4F-1C6B-39DD993D097B}"/>
              </a:ext>
            </a:extLst>
          </p:cNvPr>
          <p:cNvSpPr/>
          <p:nvPr/>
        </p:nvSpPr>
        <p:spPr>
          <a:xfrm>
            <a:off x="6900858" y="3224547"/>
            <a:ext cx="68784" cy="390309"/>
          </a:xfrm>
          <a:custGeom>
            <a:avLst/>
            <a:gdLst>
              <a:gd name="connsiteX0" fmla="*/ 119634 w 119633"/>
              <a:gd name="connsiteY0" fmla="*/ 626459 h 678846"/>
              <a:gd name="connsiteX1" fmla="*/ 102203 w 119633"/>
              <a:gd name="connsiteY1" fmla="*/ 663130 h 678846"/>
              <a:gd name="connsiteX2" fmla="*/ 59722 w 119633"/>
              <a:gd name="connsiteY2" fmla="*/ 678847 h 678846"/>
              <a:gd name="connsiteX3" fmla="*/ 16669 w 119633"/>
              <a:gd name="connsiteY3" fmla="*/ 663130 h 678846"/>
              <a:gd name="connsiteX4" fmla="*/ 0 w 119633"/>
              <a:gd name="connsiteY4" fmla="*/ 626459 h 678846"/>
              <a:gd name="connsiteX5" fmla="*/ 0 w 119633"/>
              <a:gd name="connsiteY5" fmla="*/ 52388 h 678846"/>
              <a:gd name="connsiteX6" fmla="*/ 16669 w 119633"/>
              <a:gd name="connsiteY6" fmla="*/ 15716 h 678846"/>
              <a:gd name="connsiteX7" fmla="*/ 59722 w 119633"/>
              <a:gd name="connsiteY7" fmla="*/ 0 h 678846"/>
              <a:gd name="connsiteX8" fmla="*/ 102203 w 119633"/>
              <a:gd name="connsiteY8" fmla="*/ 15716 h 678846"/>
              <a:gd name="connsiteX9" fmla="*/ 119634 w 119633"/>
              <a:gd name="connsiteY9" fmla="*/ 52388 h 678846"/>
              <a:gd name="connsiteX10" fmla="*/ 119634 w 119633"/>
              <a:gd name="connsiteY10" fmla="*/ 626459 h 6788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9633" h="678846">
                <a:moveTo>
                  <a:pt x="119634" y="626459"/>
                </a:moveTo>
                <a:cubicBezTo>
                  <a:pt x="119634" y="640366"/>
                  <a:pt x="113824" y="652558"/>
                  <a:pt x="102203" y="663130"/>
                </a:cubicBezTo>
                <a:cubicBezTo>
                  <a:pt x="90678" y="673608"/>
                  <a:pt x="76486" y="678847"/>
                  <a:pt x="59722" y="678847"/>
                </a:cubicBezTo>
                <a:cubicBezTo>
                  <a:pt x="42958" y="678847"/>
                  <a:pt x="27908" y="673608"/>
                  <a:pt x="16669" y="663130"/>
                </a:cubicBezTo>
                <a:cubicBezTo>
                  <a:pt x="5525" y="652558"/>
                  <a:pt x="0" y="640271"/>
                  <a:pt x="0" y="626459"/>
                </a:cubicBezTo>
                <a:lnTo>
                  <a:pt x="0" y="52388"/>
                </a:lnTo>
                <a:cubicBezTo>
                  <a:pt x="0" y="38386"/>
                  <a:pt x="5525" y="26098"/>
                  <a:pt x="16669" y="15716"/>
                </a:cubicBezTo>
                <a:cubicBezTo>
                  <a:pt x="27908" y="5334"/>
                  <a:pt x="42291" y="0"/>
                  <a:pt x="59722" y="0"/>
                </a:cubicBezTo>
                <a:cubicBezTo>
                  <a:pt x="77153" y="0"/>
                  <a:pt x="90678" y="5239"/>
                  <a:pt x="102203" y="15716"/>
                </a:cubicBezTo>
                <a:cubicBezTo>
                  <a:pt x="113824" y="26194"/>
                  <a:pt x="119634" y="38481"/>
                  <a:pt x="119634" y="52388"/>
                </a:cubicBezTo>
                <a:lnTo>
                  <a:pt x="119634" y="62645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91" name="Forme libre : forme 90">
            <a:extLst>
              <a:ext uri="{FF2B5EF4-FFF2-40B4-BE49-F238E27FC236}">
                <a16:creationId xmlns:a16="http://schemas.microsoft.com/office/drawing/2014/main" id="{5531C792-B42A-43FC-74C4-41396092C1F8}"/>
              </a:ext>
            </a:extLst>
          </p:cNvPr>
          <p:cNvSpPr/>
          <p:nvPr/>
        </p:nvSpPr>
        <p:spPr>
          <a:xfrm>
            <a:off x="7022764" y="3224547"/>
            <a:ext cx="68784" cy="390309"/>
          </a:xfrm>
          <a:custGeom>
            <a:avLst/>
            <a:gdLst>
              <a:gd name="connsiteX0" fmla="*/ 119634 w 119633"/>
              <a:gd name="connsiteY0" fmla="*/ 626459 h 678846"/>
              <a:gd name="connsiteX1" fmla="*/ 102203 w 119633"/>
              <a:gd name="connsiteY1" fmla="*/ 663130 h 678846"/>
              <a:gd name="connsiteX2" fmla="*/ 59722 w 119633"/>
              <a:gd name="connsiteY2" fmla="*/ 678847 h 678846"/>
              <a:gd name="connsiteX3" fmla="*/ 16669 w 119633"/>
              <a:gd name="connsiteY3" fmla="*/ 663130 h 678846"/>
              <a:gd name="connsiteX4" fmla="*/ 0 w 119633"/>
              <a:gd name="connsiteY4" fmla="*/ 626459 h 678846"/>
              <a:gd name="connsiteX5" fmla="*/ 0 w 119633"/>
              <a:gd name="connsiteY5" fmla="*/ 52388 h 678846"/>
              <a:gd name="connsiteX6" fmla="*/ 16669 w 119633"/>
              <a:gd name="connsiteY6" fmla="*/ 15716 h 678846"/>
              <a:gd name="connsiteX7" fmla="*/ 59722 w 119633"/>
              <a:gd name="connsiteY7" fmla="*/ 0 h 678846"/>
              <a:gd name="connsiteX8" fmla="*/ 102203 w 119633"/>
              <a:gd name="connsiteY8" fmla="*/ 15716 h 678846"/>
              <a:gd name="connsiteX9" fmla="*/ 119634 w 119633"/>
              <a:gd name="connsiteY9" fmla="*/ 52388 h 678846"/>
              <a:gd name="connsiteX10" fmla="*/ 119634 w 119633"/>
              <a:gd name="connsiteY10" fmla="*/ 626459 h 6788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9633" h="678846">
                <a:moveTo>
                  <a:pt x="119634" y="626459"/>
                </a:moveTo>
                <a:cubicBezTo>
                  <a:pt x="119634" y="640366"/>
                  <a:pt x="113824" y="652558"/>
                  <a:pt x="102203" y="663130"/>
                </a:cubicBezTo>
                <a:cubicBezTo>
                  <a:pt x="90678" y="673608"/>
                  <a:pt x="76486" y="678847"/>
                  <a:pt x="59722" y="678847"/>
                </a:cubicBezTo>
                <a:cubicBezTo>
                  <a:pt x="42958" y="678847"/>
                  <a:pt x="27908" y="673608"/>
                  <a:pt x="16669" y="663130"/>
                </a:cubicBezTo>
                <a:cubicBezTo>
                  <a:pt x="5524" y="652558"/>
                  <a:pt x="0" y="640271"/>
                  <a:pt x="0" y="626459"/>
                </a:cubicBezTo>
                <a:lnTo>
                  <a:pt x="0" y="52388"/>
                </a:lnTo>
                <a:cubicBezTo>
                  <a:pt x="0" y="38386"/>
                  <a:pt x="5524" y="26098"/>
                  <a:pt x="16669" y="15716"/>
                </a:cubicBezTo>
                <a:cubicBezTo>
                  <a:pt x="27908" y="5334"/>
                  <a:pt x="42291" y="0"/>
                  <a:pt x="59722" y="0"/>
                </a:cubicBezTo>
                <a:cubicBezTo>
                  <a:pt x="77153" y="0"/>
                  <a:pt x="90678" y="5239"/>
                  <a:pt x="102203" y="15716"/>
                </a:cubicBezTo>
                <a:cubicBezTo>
                  <a:pt x="113824" y="26194"/>
                  <a:pt x="119634" y="38481"/>
                  <a:pt x="119634" y="52388"/>
                </a:cubicBezTo>
                <a:lnTo>
                  <a:pt x="119634" y="62645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92" name="Forme libre : forme 91">
            <a:extLst>
              <a:ext uri="{FF2B5EF4-FFF2-40B4-BE49-F238E27FC236}">
                <a16:creationId xmlns:a16="http://schemas.microsoft.com/office/drawing/2014/main" id="{22E0CF44-BFD7-E00E-6370-0C4B3057FAB6}"/>
              </a:ext>
            </a:extLst>
          </p:cNvPr>
          <p:cNvSpPr/>
          <p:nvPr/>
        </p:nvSpPr>
        <p:spPr>
          <a:xfrm>
            <a:off x="7130250" y="3301711"/>
            <a:ext cx="284684" cy="319005"/>
          </a:xfrm>
          <a:custGeom>
            <a:avLst/>
            <a:gdLst>
              <a:gd name="connsiteX0" fmla="*/ 1935 w 495139"/>
              <a:gd name="connsiteY0" fmla="*/ 419862 h 554831"/>
              <a:gd name="connsiteX1" fmla="*/ 15461 w 495139"/>
              <a:gd name="connsiteY1" fmla="*/ 372618 h 554831"/>
              <a:gd name="connsiteX2" fmla="*/ 61657 w 495139"/>
              <a:gd name="connsiteY2" fmla="*/ 354711 h 554831"/>
              <a:gd name="connsiteX3" fmla="*/ 95185 w 495139"/>
              <a:gd name="connsiteY3" fmla="*/ 365855 h 554831"/>
              <a:gd name="connsiteX4" fmla="*/ 117188 w 495139"/>
              <a:gd name="connsiteY4" fmla="*/ 398812 h 554831"/>
              <a:gd name="connsiteX5" fmla="*/ 144620 w 495139"/>
              <a:gd name="connsiteY5" fmla="*/ 429768 h 554831"/>
              <a:gd name="connsiteX6" fmla="*/ 193483 w 495139"/>
              <a:gd name="connsiteY6" fmla="*/ 447199 h 554831"/>
              <a:gd name="connsiteX7" fmla="*/ 249680 w 495139"/>
              <a:gd name="connsiteY7" fmla="*/ 452342 h 554831"/>
              <a:gd name="connsiteX8" fmla="*/ 340739 w 495139"/>
              <a:gd name="connsiteY8" fmla="*/ 431863 h 554831"/>
              <a:gd name="connsiteX9" fmla="*/ 375505 w 495139"/>
              <a:gd name="connsiteY9" fmla="*/ 379857 h 554831"/>
              <a:gd name="connsiteX10" fmla="*/ 357027 w 495139"/>
              <a:gd name="connsiteY10" fmla="*/ 347282 h 554831"/>
              <a:gd name="connsiteX11" fmla="*/ 308830 w 495139"/>
              <a:gd name="connsiteY11" fmla="*/ 332613 h 554831"/>
              <a:gd name="connsiteX12" fmla="*/ 245489 w 495139"/>
              <a:gd name="connsiteY12" fmla="*/ 326231 h 554831"/>
              <a:gd name="connsiteX13" fmla="*/ 158812 w 495139"/>
              <a:gd name="connsiteY13" fmla="*/ 315754 h 554831"/>
              <a:gd name="connsiteX14" fmla="*/ 81659 w 495139"/>
              <a:gd name="connsiteY14" fmla="*/ 294322 h 554831"/>
              <a:gd name="connsiteX15" fmla="*/ 26129 w 495139"/>
              <a:gd name="connsiteY15" fmla="*/ 249269 h 554831"/>
              <a:gd name="connsiteX16" fmla="*/ 5269 w 495139"/>
              <a:gd name="connsiteY16" fmla="*/ 167926 h 554831"/>
              <a:gd name="connsiteX17" fmla="*/ 34606 w 495139"/>
              <a:gd name="connsiteY17" fmla="*/ 79820 h 554831"/>
              <a:gd name="connsiteX18" fmla="*/ 117378 w 495139"/>
              <a:gd name="connsiteY18" fmla="*/ 21050 h 554831"/>
              <a:gd name="connsiteX19" fmla="*/ 241203 w 495139"/>
              <a:gd name="connsiteY19" fmla="*/ 0 h 554831"/>
              <a:gd name="connsiteX20" fmla="*/ 329500 w 495139"/>
              <a:gd name="connsiteY20" fmla="*/ 7906 h 554831"/>
              <a:gd name="connsiteX21" fmla="*/ 417035 w 495139"/>
              <a:gd name="connsiteY21" fmla="*/ 39815 h 554831"/>
              <a:gd name="connsiteX22" fmla="*/ 476375 w 495139"/>
              <a:gd name="connsiteY22" fmla="*/ 114205 h 554831"/>
              <a:gd name="connsiteX23" fmla="*/ 475137 w 495139"/>
              <a:gd name="connsiteY23" fmla="*/ 151543 h 554831"/>
              <a:gd name="connsiteX24" fmla="*/ 450563 w 495139"/>
              <a:gd name="connsiteY24" fmla="*/ 176117 h 554831"/>
              <a:gd name="connsiteX25" fmla="*/ 417606 w 495139"/>
              <a:gd name="connsiteY25" fmla="*/ 184499 h 554831"/>
              <a:gd name="connsiteX26" fmla="*/ 386650 w 495139"/>
              <a:gd name="connsiteY26" fmla="*/ 177165 h 554831"/>
              <a:gd name="connsiteX27" fmla="*/ 366171 w 495139"/>
              <a:gd name="connsiteY27" fmla="*/ 151924 h 554831"/>
              <a:gd name="connsiteX28" fmla="*/ 333977 w 495139"/>
              <a:gd name="connsiteY28" fmla="*/ 119348 h 554831"/>
              <a:gd name="connsiteX29" fmla="*/ 285780 w 495139"/>
              <a:gd name="connsiteY29" fmla="*/ 106204 h 554831"/>
              <a:gd name="connsiteX30" fmla="*/ 241108 w 495139"/>
              <a:gd name="connsiteY30" fmla="*/ 103632 h 554831"/>
              <a:gd name="connsiteX31" fmla="*/ 156526 w 495139"/>
              <a:gd name="connsiteY31" fmla="*/ 121539 h 554831"/>
              <a:gd name="connsiteX32" fmla="*/ 124617 w 495139"/>
              <a:gd name="connsiteY32" fmla="*/ 168783 h 554831"/>
              <a:gd name="connsiteX33" fmla="*/ 141476 w 495139"/>
              <a:gd name="connsiteY33" fmla="*/ 202883 h 554831"/>
              <a:gd name="connsiteX34" fmla="*/ 187101 w 495139"/>
              <a:gd name="connsiteY34" fmla="*/ 213360 h 554831"/>
              <a:gd name="connsiteX35" fmla="*/ 251585 w 495139"/>
              <a:gd name="connsiteY35" fmla="*/ 219075 h 554831"/>
              <a:gd name="connsiteX36" fmla="*/ 338739 w 495139"/>
              <a:gd name="connsiteY36" fmla="*/ 230600 h 554831"/>
              <a:gd name="connsiteX37" fmla="*/ 417511 w 495139"/>
              <a:gd name="connsiteY37" fmla="*/ 252222 h 554831"/>
              <a:gd name="connsiteX38" fmla="*/ 474089 w 495139"/>
              <a:gd name="connsiteY38" fmla="*/ 297275 h 554831"/>
              <a:gd name="connsiteX39" fmla="*/ 495139 w 495139"/>
              <a:gd name="connsiteY39" fmla="*/ 379667 h 554831"/>
              <a:gd name="connsiteX40" fmla="*/ 464183 w 495139"/>
              <a:gd name="connsiteY40" fmla="*/ 470916 h 554831"/>
              <a:gd name="connsiteX41" fmla="*/ 378077 w 495139"/>
              <a:gd name="connsiteY41" fmla="*/ 532829 h 554831"/>
              <a:gd name="connsiteX42" fmla="*/ 249680 w 495139"/>
              <a:gd name="connsiteY42" fmla="*/ 554831 h 554831"/>
              <a:gd name="connsiteX43" fmla="*/ 178814 w 495139"/>
              <a:gd name="connsiteY43" fmla="*/ 550069 h 554831"/>
              <a:gd name="connsiteX44" fmla="*/ 104234 w 495139"/>
              <a:gd name="connsiteY44" fmla="*/ 531209 h 554831"/>
              <a:gd name="connsiteX45" fmla="*/ 40702 w 495139"/>
              <a:gd name="connsiteY45" fmla="*/ 490347 h 554831"/>
              <a:gd name="connsiteX46" fmla="*/ 2030 w 495139"/>
              <a:gd name="connsiteY46" fmla="*/ 419481 h 554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495139" h="554831">
                <a:moveTo>
                  <a:pt x="1935" y="419862"/>
                </a:moveTo>
                <a:cubicBezTo>
                  <a:pt x="-3018" y="400336"/>
                  <a:pt x="1554" y="384524"/>
                  <a:pt x="15461" y="372618"/>
                </a:cubicBezTo>
                <a:cubicBezTo>
                  <a:pt x="29462" y="360712"/>
                  <a:pt x="44893" y="354711"/>
                  <a:pt x="61657" y="354711"/>
                </a:cubicBezTo>
                <a:cubicBezTo>
                  <a:pt x="74230" y="354711"/>
                  <a:pt x="85374" y="358426"/>
                  <a:pt x="95185" y="365855"/>
                </a:cubicBezTo>
                <a:cubicBezTo>
                  <a:pt x="104996" y="373190"/>
                  <a:pt x="112330" y="384143"/>
                  <a:pt x="117188" y="398812"/>
                </a:cubicBezTo>
                <a:cubicBezTo>
                  <a:pt x="121379" y="411385"/>
                  <a:pt x="130522" y="421767"/>
                  <a:pt x="144620" y="429768"/>
                </a:cubicBezTo>
                <a:cubicBezTo>
                  <a:pt x="158621" y="437864"/>
                  <a:pt x="174909" y="443675"/>
                  <a:pt x="193483" y="447199"/>
                </a:cubicBezTo>
                <a:cubicBezTo>
                  <a:pt x="211961" y="450628"/>
                  <a:pt x="230726" y="452342"/>
                  <a:pt x="249680" y="452342"/>
                </a:cubicBezTo>
                <a:cubicBezTo>
                  <a:pt x="287399" y="452342"/>
                  <a:pt x="317784" y="445580"/>
                  <a:pt x="340739" y="431863"/>
                </a:cubicBezTo>
                <a:cubicBezTo>
                  <a:pt x="363885" y="418147"/>
                  <a:pt x="375505" y="400812"/>
                  <a:pt x="375505" y="379857"/>
                </a:cubicBezTo>
                <a:cubicBezTo>
                  <a:pt x="375505" y="365188"/>
                  <a:pt x="369314" y="354330"/>
                  <a:pt x="357027" y="347282"/>
                </a:cubicBezTo>
                <a:cubicBezTo>
                  <a:pt x="344835" y="340328"/>
                  <a:pt x="328738" y="335375"/>
                  <a:pt x="308830" y="332613"/>
                </a:cubicBezTo>
                <a:cubicBezTo>
                  <a:pt x="289019" y="329851"/>
                  <a:pt x="267873" y="327755"/>
                  <a:pt x="245489" y="326231"/>
                </a:cubicBezTo>
                <a:cubicBezTo>
                  <a:pt x="215962" y="323469"/>
                  <a:pt x="187006" y="319945"/>
                  <a:pt x="158812" y="315754"/>
                </a:cubicBezTo>
                <a:cubicBezTo>
                  <a:pt x="130522" y="311563"/>
                  <a:pt x="104710" y="304419"/>
                  <a:pt x="81659" y="294322"/>
                </a:cubicBezTo>
                <a:cubicBezTo>
                  <a:pt x="58609" y="284131"/>
                  <a:pt x="40130" y="269081"/>
                  <a:pt x="26129" y="249269"/>
                </a:cubicBezTo>
                <a:cubicBezTo>
                  <a:pt x="12222" y="229362"/>
                  <a:pt x="5269" y="202216"/>
                  <a:pt x="5269" y="167926"/>
                </a:cubicBezTo>
                <a:cubicBezTo>
                  <a:pt x="5269" y="133636"/>
                  <a:pt x="15079" y="104966"/>
                  <a:pt x="34606" y="79820"/>
                </a:cubicBezTo>
                <a:cubicBezTo>
                  <a:pt x="54132" y="54578"/>
                  <a:pt x="81755" y="34957"/>
                  <a:pt x="117378" y="21050"/>
                </a:cubicBezTo>
                <a:cubicBezTo>
                  <a:pt x="153097" y="7049"/>
                  <a:pt x="194340" y="0"/>
                  <a:pt x="241203" y="0"/>
                </a:cubicBezTo>
                <a:cubicBezTo>
                  <a:pt x="268635" y="0"/>
                  <a:pt x="297972" y="2667"/>
                  <a:pt x="329500" y="7906"/>
                </a:cubicBezTo>
                <a:cubicBezTo>
                  <a:pt x="360932" y="13049"/>
                  <a:pt x="390079" y="23717"/>
                  <a:pt x="417035" y="39815"/>
                </a:cubicBezTo>
                <a:cubicBezTo>
                  <a:pt x="443990" y="55817"/>
                  <a:pt x="463802" y="80677"/>
                  <a:pt x="476375" y="114205"/>
                </a:cubicBezTo>
                <a:cubicBezTo>
                  <a:pt x="481233" y="128207"/>
                  <a:pt x="480852" y="140684"/>
                  <a:pt x="475137" y="151543"/>
                </a:cubicBezTo>
                <a:cubicBezTo>
                  <a:pt x="469613" y="162401"/>
                  <a:pt x="461326" y="170593"/>
                  <a:pt x="450563" y="176117"/>
                </a:cubicBezTo>
                <a:cubicBezTo>
                  <a:pt x="439704" y="181642"/>
                  <a:pt x="428750" y="184499"/>
                  <a:pt x="417606" y="184499"/>
                </a:cubicBezTo>
                <a:cubicBezTo>
                  <a:pt x="405033" y="184499"/>
                  <a:pt x="394651" y="182023"/>
                  <a:pt x="386650" y="177165"/>
                </a:cubicBezTo>
                <a:cubicBezTo>
                  <a:pt x="378554" y="172307"/>
                  <a:pt x="371791" y="163830"/>
                  <a:pt x="366171" y="151924"/>
                </a:cubicBezTo>
                <a:cubicBezTo>
                  <a:pt x="359789" y="137255"/>
                  <a:pt x="349121" y="126397"/>
                  <a:pt x="333977" y="119348"/>
                </a:cubicBezTo>
                <a:cubicBezTo>
                  <a:pt x="319022" y="112395"/>
                  <a:pt x="302925" y="108013"/>
                  <a:pt x="285780" y="106204"/>
                </a:cubicBezTo>
                <a:cubicBezTo>
                  <a:pt x="268730" y="104489"/>
                  <a:pt x="253871" y="103632"/>
                  <a:pt x="241108" y="103632"/>
                </a:cubicBezTo>
                <a:cubicBezTo>
                  <a:pt x="206151" y="103632"/>
                  <a:pt x="177957" y="109633"/>
                  <a:pt x="156526" y="121539"/>
                </a:cubicBezTo>
                <a:cubicBezTo>
                  <a:pt x="135190" y="133445"/>
                  <a:pt x="124617" y="149257"/>
                  <a:pt x="124617" y="168783"/>
                </a:cubicBezTo>
                <a:cubicBezTo>
                  <a:pt x="124617" y="185642"/>
                  <a:pt x="130237" y="196977"/>
                  <a:pt x="141476" y="202883"/>
                </a:cubicBezTo>
                <a:cubicBezTo>
                  <a:pt x="152716" y="208883"/>
                  <a:pt x="167956" y="212312"/>
                  <a:pt x="187101" y="213360"/>
                </a:cubicBezTo>
                <a:cubicBezTo>
                  <a:pt x="206246" y="214408"/>
                  <a:pt x="227773" y="216313"/>
                  <a:pt x="251585" y="219075"/>
                </a:cubicBezTo>
                <a:cubicBezTo>
                  <a:pt x="280922" y="222504"/>
                  <a:pt x="309974" y="226409"/>
                  <a:pt x="338739" y="230600"/>
                </a:cubicBezTo>
                <a:cubicBezTo>
                  <a:pt x="367409" y="234887"/>
                  <a:pt x="393698" y="242030"/>
                  <a:pt x="417511" y="252222"/>
                </a:cubicBezTo>
                <a:cubicBezTo>
                  <a:pt x="441323" y="262319"/>
                  <a:pt x="460183" y="277368"/>
                  <a:pt x="474089" y="297275"/>
                </a:cubicBezTo>
                <a:cubicBezTo>
                  <a:pt x="488091" y="317087"/>
                  <a:pt x="495139" y="344615"/>
                  <a:pt x="495139" y="379667"/>
                </a:cubicBezTo>
                <a:cubicBezTo>
                  <a:pt x="495139" y="414719"/>
                  <a:pt x="484853" y="444341"/>
                  <a:pt x="464183" y="470916"/>
                </a:cubicBezTo>
                <a:cubicBezTo>
                  <a:pt x="443514" y="497491"/>
                  <a:pt x="414844" y="518160"/>
                  <a:pt x="378077" y="532829"/>
                </a:cubicBezTo>
                <a:cubicBezTo>
                  <a:pt x="341406" y="547497"/>
                  <a:pt x="298639" y="554831"/>
                  <a:pt x="249680" y="554831"/>
                </a:cubicBezTo>
                <a:cubicBezTo>
                  <a:pt x="227963" y="554831"/>
                  <a:pt x="204341" y="553212"/>
                  <a:pt x="178814" y="550069"/>
                </a:cubicBezTo>
                <a:cubicBezTo>
                  <a:pt x="153287" y="546926"/>
                  <a:pt x="128427" y="540639"/>
                  <a:pt x="104234" y="531209"/>
                </a:cubicBezTo>
                <a:cubicBezTo>
                  <a:pt x="80135" y="521875"/>
                  <a:pt x="58990" y="508159"/>
                  <a:pt x="40702" y="490347"/>
                </a:cubicBezTo>
                <a:cubicBezTo>
                  <a:pt x="22509" y="472440"/>
                  <a:pt x="9650" y="448913"/>
                  <a:pt x="2030" y="419481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83" name="Forme libre : forme 82">
            <a:extLst>
              <a:ext uri="{FF2B5EF4-FFF2-40B4-BE49-F238E27FC236}">
                <a16:creationId xmlns:a16="http://schemas.microsoft.com/office/drawing/2014/main" id="{FC779977-E06E-E739-6267-B09219A042B0}"/>
              </a:ext>
            </a:extLst>
          </p:cNvPr>
          <p:cNvSpPr/>
          <p:nvPr/>
        </p:nvSpPr>
        <p:spPr>
          <a:xfrm>
            <a:off x="4777067" y="3262709"/>
            <a:ext cx="370858" cy="370745"/>
          </a:xfrm>
          <a:custGeom>
            <a:avLst/>
            <a:gdLst>
              <a:gd name="connsiteX0" fmla="*/ 1927193 w 3012185"/>
              <a:gd name="connsiteY0" fmla="*/ 3011281 h 3011281"/>
              <a:gd name="connsiteX1" fmla="*/ 1159955 w 3012185"/>
              <a:gd name="connsiteY1" fmla="*/ 2694003 h 3011281"/>
              <a:gd name="connsiteX2" fmla="*/ 317754 w 3012185"/>
              <a:gd name="connsiteY2" fmla="*/ 1851803 h 3011281"/>
              <a:gd name="connsiteX3" fmla="*/ 0 w 3012185"/>
              <a:gd name="connsiteY3" fmla="*/ 1084564 h 3011281"/>
              <a:gd name="connsiteX4" fmla="*/ 317754 w 3012185"/>
              <a:gd name="connsiteY4" fmla="*/ 317325 h 3011281"/>
              <a:gd name="connsiteX5" fmla="*/ 1852232 w 3012185"/>
              <a:gd name="connsiteY5" fmla="*/ 317325 h 3011281"/>
              <a:gd name="connsiteX6" fmla="*/ 2694432 w 3012185"/>
              <a:gd name="connsiteY6" fmla="*/ 1159526 h 3011281"/>
              <a:gd name="connsiteX7" fmla="*/ 3012186 w 3012185"/>
              <a:gd name="connsiteY7" fmla="*/ 1926765 h 3011281"/>
              <a:gd name="connsiteX8" fmla="*/ 2694432 w 3012185"/>
              <a:gd name="connsiteY8" fmla="*/ 2694003 h 3011281"/>
              <a:gd name="connsiteX9" fmla="*/ 1927193 w 3012185"/>
              <a:gd name="connsiteY9" fmla="*/ 3011281 h 3011281"/>
              <a:gd name="connsiteX10" fmla="*/ 1084993 w 3012185"/>
              <a:gd name="connsiteY10" fmla="*/ 480012 h 3011281"/>
              <a:gd name="connsiteX11" fmla="*/ 657320 w 3012185"/>
              <a:gd name="connsiteY11" fmla="*/ 656892 h 3011281"/>
              <a:gd name="connsiteX12" fmla="*/ 480155 w 3012185"/>
              <a:gd name="connsiteY12" fmla="*/ 1084564 h 3011281"/>
              <a:gd name="connsiteX13" fmla="*/ 657320 w 3012185"/>
              <a:gd name="connsiteY13" fmla="*/ 1512237 h 3011281"/>
              <a:gd name="connsiteX14" fmla="*/ 1499521 w 3012185"/>
              <a:gd name="connsiteY14" fmla="*/ 2354437 h 3011281"/>
              <a:gd name="connsiteX15" fmla="*/ 2354961 w 3012185"/>
              <a:gd name="connsiteY15" fmla="*/ 2354437 h 3011281"/>
              <a:gd name="connsiteX16" fmla="*/ 2532126 w 3012185"/>
              <a:gd name="connsiteY16" fmla="*/ 1926765 h 3011281"/>
              <a:gd name="connsiteX17" fmla="*/ 2354961 w 3012185"/>
              <a:gd name="connsiteY17" fmla="*/ 1499092 h 3011281"/>
              <a:gd name="connsiteX18" fmla="*/ 1512761 w 3012185"/>
              <a:gd name="connsiteY18" fmla="*/ 656892 h 3011281"/>
              <a:gd name="connsiteX19" fmla="*/ 1084993 w 3012185"/>
              <a:gd name="connsiteY19" fmla="*/ 480012 h 3011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012185" h="3011281">
                <a:moveTo>
                  <a:pt x="1927193" y="3011281"/>
                </a:moveTo>
                <a:cubicBezTo>
                  <a:pt x="1649349" y="3011281"/>
                  <a:pt x="1371505" y="2905554"/>
                  <a:pt x="1159955" y="2694003"/>
                </a:cubicBezTo>
                <a:lnTo>
                  <a:pt x="317754" y="1851803"/>
                </a:lnTo>
                <a:cubicBezTo>
                  <a:pt x="112871" y="1646825"/>
                  <a:pt x="0" y="1374410"/>
                  <a:pt x="0" y="1084564"/>
                </a:cubicBezTo>
                <a:cubicBezTo>
                  <a:pt x="0" y="794718"/>
                  <a:pt x="112871" y="522303"/>
                  <a:pt x="317754" y="317325"/>
                </a:cubicBezTo>
                <a:cubicBezTo>
                  <a:pt x="740855" y="-105775"/>
                  <a:pt x="1429131" y="-105775"/>
                  <a:pt x="1852232" y="317325"/>
                </a:cubicBezTo>
                <a:lnTo>
                  <a:pt x="2694432" y="1159526"/>
                </a:lnTo>
                <a:cubicBezTo>
                  <a:pt x="2899410" y="1364504"/>
                  <a:pt x="3012186" y="1636919"/>
                  <a:pt x="3012186" y="1926765"/>
                </a:cubicBezTo>
                <a:cubicBezTo>
                  <a:pt x="3012186" y="2216611"/>
                  <a:pt x="2899315" y="2489025"/>
                  <a:pt x="2694432" y="2694003"/>
                </a:cubicBezTo>
                <a:cubicBezTo>
                  <a:pt x="2489549" y="2898982"/>
                  <a:pt x="2205038" y="3011281"/>
                  <a:pt x="1927193" y="3011281"/>
                </a:cubicBezTo>
                <a:close/>
                <a:moveTo>
                  <a:pt x="1084993" y="480012"/>
                </a:moveTo>
                <a:cubicBezTo>
                  <a:pt x="930116" y="480012"/>
                  <a:pt x="775240" y="538972"/>
                  <a:pt x="657320" y="656892"/>
                </a:cubicBezTo>
                <a:cubicBezTo>
                  <a:pt x="543116" y="771096"/>
                  <a:pt x="480155" y="923020"/>
                  <a:pt x="480155" y="1084564"/>
                </a:cubicBezTo>
                <a:cubicBezTo>
                  <a:pt x="480155" y="1246108"/>
                  <a:pt x="543020" y="1398032"/>
                  <a:pt x="657320" y="1512237"/>
                </a:cubicBezTo>
                <a:lnTo>
                  <a:pt x="1499521" y="2354437"/>
                </a:lnTo>
                <a:cubicBezTo>
                  <a:pt x="1735360" y="2590276"/>
                  <a:pt x="2119122" y="2590276"/>
                  <a:pt x="2354961" y="2354437"/>
                </a:cubicBezTo>
                <a:cubicBezTo>
                  <a:pt x="2469166" y="2240233"/>
                  <a:pt x="2532126" y="2088309"/>
                  <a:pt x="2532126" y="1926765"/>
                </a:cubicBezTo>
                <a:cubicBezTo>
                  <a:pt x="2532126" y="1765221"/>
                  <a:pt x="2469261" y="1613297"/>
                  <a:pt x="2354961" y="1499092"/>
                </a:cubicBezTo>
                <a:lnTo>
                  <a:pt x="1512761" y="656892"/>
                </a:lnTo>
                <a:cubicBezTo>
                  <a:pt x="1394841" y="538972"/>
                  <a:pt x="1239964" y="480012"/>
                  <a:pt x="1084993" y="480012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93" name="Forme libre : forme 92">
            <a:extLst>
              <a:ext uri="{FF2B5EF4-FFF2-40B4-BE49-F238E27FC236}">
                <a16:creationId xmlns:a16="http://schemas.microsoft.com/office/drawing/2014/main" id="{DBE508CF-5D89-48F3-5874-FD0960E905A4}"/>
              </a:ext>
            </a:extLst>
          </p:cNvPr>
          <p:cNvSpPr/>
          <p:nvPr/>
        </p:nvSpPr>
        <p:spPr>
          <a:xfrm>
            <a:off x="4881485" y="3262709"/>
            <a:ext cx="370846" cy="370745"/>
          </a:xfrm>
          <a:custGeom>
            <a:avLst/>
            <a:gdLst>
              <a:gd name="connsiteX0" fmla="*/ 1084993 w 3012090"/>
              <a:gd name="connsiteY0" fmla="*/ 3011281 h 3011281"/>
              <a:gd name="connsiteX1" fmla="*/ 317754 w 3012090"/>
              <a:gd name="connsiteY1" fmla="*/ 2694003 h 3011281"/>
              <a:gd name="connsiteX2" fmla="*/ 0 w 3012090"/>
              <a:gd name="connsiteY2" fmla="*/ 1926765 h 3011281"/>
              <a:gd name="connsiteX3" fmla="*/ 317754 w 3012090"/>
              <a:gd name="connsiteY3" fmla="*/ 1159526 h 3011281"/>
              <a:gd name="connsiteX4" fmla="*/ 1159955 w 3012090"/>
              <a:gd name="connsiteY4" fmla="*/ 317325 h 3011281"/>
              <a:gd name="connsiteX5" fmla="*/ 2694337 w 3012090"/>
              <a:gd name="connsiteY5" fmla="*/ 317325 h 3011281"/>
              <a:gd name="connsiteX6" fmla="*/ 3012091 w 3012090"/>
              <a:gd name="connsiteY6" fmla="*/ 1084564 h 3011281"/>
              <a:gd name="connsiteX7" fmla="*/ 2694337 w 3012090"/>
              <a:gd name="connsiteY7" fmla="*/ 1851803 h 3011281"/>
              <a:gd name="connsiteX8" fmla="*/ 1852136 w 3012090"/>
              <a:gd name="connsiteY8" fmla="*/ 2694003 h 3011281"/>
              <a:gd name="connsiteX9" fmla="*/ 1084898 w 3012090"/>
              <a:gd name="connsiteY9" fmla="*/ 3011281 h 3011281"/>
              <a:gd name="connsiteX10" fmla="*/ 1927098 w 3012090"/>
              <a:gd name="connsiteY10" fmla="*/ 480012 h 3011281"/>
              <a:gd name="connsiteX11" fmla="*/ 1499426 w 3012090"/>
              <a:gd name="connsiteY11" fmla="*/ 656892 h 3011281"/>
              <a:gd name="connsiteX12" fmla="*/ 657225 w 3012090"/>
              <a:gd name="connsiteY12" fmla="*/ 1499092 h 3011281"/>
              <a:gd name="connsiteX13" fmla="*/ 480060 w 3012090"/>
              <a:gd name="connsiteY13" fmla="*/ 1926765 h 3011281"/>
              <a:gd name="connsiteX14" fmla="*/ 657225 w 3012090"/>
              <a:gd name="connsiteY14" fmla="*/ 2354437 h 3011281"/>
              <a:gd name="connsiteX15" fmla="*/ 1512570 w 3012090"/>
              <a:gd name="connsiteY15" fmla="*/ 2354437 h 3011281"/>
              <a:gd name="connsiteX16" fmla="*/ 2354771 w 3012090"/>
              <a:gd name="connsiteY16" fmla="*/ 1512237 h 3011281"/>
              <a:gd name="connsiteX17" fmla="*/ 2531935 w 3012090"/>
              <a:gd name="connsiteY17" fmla="*/ 1084564 h 3011281"/>
              <a:gd name="connsiteX18" fmla="*/ 2354771 w 3012090"/>
              <a:gd name="connsiteY18" fmla="*/ 656892 h 3011281"/>
              <a:gd name="connsiteX19" fmla="*/ 1927098 w 3012090"/>
              <a:gd name="connsiteY19" fmla="*/ 480012 h 3011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012090" h="3011281">
                <a:moveTo>
                  <a:pt x="1084993" y="3011281"/>
                </a:moveTo>
                <a:cubicBezTo>
                  <a:pt x="807149" y="3011281"/>
                  <a:pt x="529304" y="2905554"/>
                  <a:pt x="317754" y="2694003"/>
                </a:cubicBezTo>
                <a:cubicBezTo>
                  <a:pt x="106204" y="2482453"/>
                  <a:pt x="0" y="2216611"/>
                  <a:pt x="0" y="1926765"/>
                </a:cubicBezTo>
                <a:cubicBezTo>
                  <a:pt x="0" y="1636919"/>
                  <a:pt x="112871" y="1364504"/>
                  <a:pt x="317754" y="1159526"/>
                </a:cubicBezTo>
                <a:lnTo>
                  <a:pt x="1159955" y="317325"/>
                </a:lnTo>
                <a:cubicBezTo>
                  <a:pt x="1582960" y="-105775"/>
                  <a:pt x="2271332" y="-105775"/>
                  <a:pt x="2694337" y="317325"/>
                </a:cubicBezTo>
                <a:cubicBezTo>
                  <a:pt x="2899315" y="522303"/>
                  <a:pt x="3012091" y="794718"/>
                  <a:pt x="3012091" y="1084564"/>
                </a:cubicBezTo>
                <a:cubicBezTo>
                  <a:pt x="3012091" y="1374410"/>
                  <a:pt x="2899220" y="1646825"/>
                  <a:pt x="2694337" y="1851803"/>
                </a:cubicBezTo>
                <a:lnTo>
                  <a:pt x="1852136" y="2694003"/>
                </a:lnTo>
                <a:cubicBezTo>
                  <a:pt x="1640586" y="2905554"/>
                  <a:pt x="1362742" y="3011281"/>
                  <a:pt x="1084898" y="3011281"/>
                </a:cubicBezTo>
                <a:close/>
                <a:moveTo>
                  <a:pt x="1927098" y="480012"/>
                </a:moveTo>
                <a:cubicBezTo>
                  <a:pt x="1772222" y="480012"/>
                  <a:pt x="1617345" y="538972"/>
                  <a:pt x="1499426" y="656892"/>
                </a:cubicBezTo>
                <a:lnTo>
                  <a:pt x="657225" y="1499092"/>
                </a:lnTo>
                <a:cubicBezTo>
                  <a:pt x="543020" y="1613297"/>
                  <a:pt x="480060" y="1765221"/>
                  <a:pt x="480060" y="1926765"/>
                </a:cubicBezTo>
                <a:cubicBezTo>
                  <a:pt x="480060" y="2088309"/>
                  <a:pt x="542925" y="2240233"/>
                  <a:pt x="657225" y="2354437"/>
                </a:cubicBezTo>
                <a:cubicBezTo>
                  <a:pt x="893064" y="2590276"/>
                  <a:pt x="1276731" y="2590276"/>
                  <a:pt x="1512570" y="2354437"/>
                </a:cubicBezTo>
                <a:lnTo>
                  <a:pt x="2354771" y="1512237"/>
                </a:lnTo>
                <a:cubicBezTo>
                  <a:pt x="2468975" y="1398032"/>
                  <a:pt x="2531935" y="1246108"/>
                  <a:pt x="2531935" y="1084564"/>
                </a:cubicBezTo>
                <a:cubicBezTo>
                  <a:pt x="2531935" y="923020"/>
                  <a:pt x="2469071" y="771096"/>
                  <a:pt x="2354771" y="656892"/>
                </a:cubicBezTo>
                <a:cubicBezTo>
                  <a:pt x="2236851" y="538972"/>
                  <a:pt x="2081975" y="480012"/>
                  <a:pt x="1927098" y="480012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12" name="Forme libre : forme 11">
            <a:extLst>
              <a:ext uri="{FF2B5EF4-FFF2-40B4-BE49-F238E27FC236}">
                <a16:creationId xmlns:a16="http://schemas.microsoft.com/office/drawing/2014/main" id="{D85DCB56-B9E7-020C-E55D-E5E9ADAAA450}"/>
              </a:ext>
            </a:extLst>
          </p:cNvPr>
          <p:cNvSpPr/>
          <p:nvPr/>
        </p:nvSpPr>
        <p:spPr>
          <a:xfrm>
            <a:off x="14636547" y="-1"/>
            <a:ext cx="7568989" cy="6858001"/>
          </a:xfrm>
          <a:custGeom>
            <a:avLst/>
            <a:gdLst>
              <a:gd name="connsiteX0" fmla="*/ 3196333 w 7568989"/>
              <a:gd name="connsiteY0" fmla="*/ 0 h 6858000"/>
              <a:gd name="connsiteX1" fmla="*/ 3368768 w 7568989"/>
              <a:gd name="connsiteY1" fmla="*/ 0 h 6858000"/>
              <a:gd name="connsiteX2" fmla="*/ 3412233 w 7568989"/>
              <a:gd name="connsiteY2" fmla="*/ 0 h 6858000"/>
              <a:gd name="connsiteX3" fmla="*/ 3584668 w 7568989"/>
              <a:gd name="connsiteY3" fmla="*/ 0 h 6858000"/>
              <a:gd name="connsiteX4" fmla="*/ 4174233 w 7568989"/>
              <a:gd name="connsiteY4" fmla="*/ 0 h 6858000"/>
              <a:gd name="connsiteX5" fmla="*/ 4346668 w 7568989"/>
              <a:gd name="connsiteY5" fmla="*/ 0 h 6858000"/>
              <a:gd name="connsiteX6" fmla="*/ 4390133 w 7568989"/>
              <a:gd name="connsiteY6" fmla="*/ 0 h 6858000"/>
              <a:gd name="connsiteX7" fmla="*/ 4562568 w 7568989"/>
              <a:gd name="connsiteY7" fmla="*/ 0 h 6858000"/>
              <a:gd name="connsiteX8" fmla="*/ 6202755 w 7568989"/>
              <a:gd name="connsiteY8" fmla="*/ 0 h 6858000"/>
              <a:gd name="connsiteX9" fmla="*/ 6375189 w 7568989"/>
              <a:gd name="connsiteY9" fmla="*/ 0 h 6858000"/>
              <a:gd name="connsiteX10" fmla="*/ 6418655 w 7568989"/>
              <a:gd name="connsiteY10" fmla="*/ 0 h 6858000"/>
              <a:gd name="connsiteX11" fmla="*/ 6591089 w 7568989"/>
              <a:gd name="connsiteY11" fmla="*/ 0 h 6858000"/>
              <a:gd name="connsiteX12" fmla="*/ 7180655 w 7568989"/>
              <a:gd name="connsiteY12" fmla="*/ 0 h 6858000"/>
              <a:gd name="connsiteX13" fmla="*/ 7353089 w 7568989"/>
              <a:gd name="connsiteY13" fmla="*/ 0 h 6858000"/>
              <a:gd name="connsiteX14" fmla="*/ 7396555 w 7568989"/>
              <a:gd name="connsiteY14" fmla="*/ 0 h 6858000"/>
              <a:gd name="connsiteX15" fmla="*/ 7568989 w 7568989"/>
              <a:gd name="connsiteY15" fmla="*/ 0 h 6858000"/>
              <a:gd name="connsiteX16" fmla="*/ 7568989 w 7568989"/>
              <a:gd name="connsiteY16" fmla="*/ 6858000 h 6858000"/>
              <a:gd name="connsiteX17" fmla="*/ 7396555 w 7568989"/>
              <a:gd name="connsiteY17" fmla="*/ 6858000 h 6858000"/>
              <a:gd name="connsiteX18" fmla="*/ 7353089 w 7568989"/>
              <a:gd name="connsiteY18" fmla="*/ 6858000 h 6858000"/>
              <a:gd name="connsiteX19" fmla="*/ 7180655 w 7568989"/>
              <a:gd name="connsiteY19" fmla="*/ 6858000 h 6858000"/>
              <a:gd name="connsiteX20" fmla="*/ 6591089 w 7568989"/>
              <a:gd name="connsiteY20" fmla="*/ 6858000 h 6858000"/>
              <a:gd name="connsiteX21" fmla="*/ 6418655 w 7568989"/>
              <a:gd name="connsiteY21" fmla="*/ 6858000 h 6858000"/>
              <a:gd name="connsiteX22" fmla="*/ 6375189 w 7568989"/>
              <a:gd name="connsiteY22" fmla="*/ 6858000 h 6858000"/>
              <a:gd name="connsiteX23" fmla="*/ 6202755 w 7568989"/>
              <a:gd name="connsiteY23" fmla="*/ 6858000 h 6858000"/>
              <a:gd name="connsiteX24" fmla="*/ 1385594 w 7568989"/>
              <a:gd name="connsiteY24" fmla="*/ 6858000 h 6858000"/>
              <a:gd name="connsiteX25" fmla="*/ 1213159 w 7568989"/>
              <a:gd name="connsiteY25" fmla="*/ 6858000 h 6858000"/>
              <a:gd name="connsiteX26" fmla="*/ 1169694 w 7568989"/>
              <a:gd name="connsiteY26" fmla="*/ 6858000 h 6858000"/>
              <a:gd name="connsiteX27" fmla="*/ 997259 w 7568989"/>
              <a:gd name="connsiteY27" fmla="*/ 6858000 h 6858000"/>
              <a:gd name="connsiteX28" fmla="*/ 407693 w 7568989"/>
              <a:gd name="connsiteY28" fmla="*/ 6858000 h 6858000"/>
              <a:gd name="connsiteX29" fmla="*/ 235259 w 7568989"/>
              <a:gd name="connsiteY29" fmla="*/ 6858000 h 6858000"/>
              <a:gd name="connsiteX30" fmla="*/ 191793 w 7568989"/>
              <a:gd name="connsiteY30" fmla="*/ 6858000 h 6858000"/>
              <a:gd name="connsiteX31" fmla="*/ 19359 w 7568989"/>
              <a:gd name="connsiteY31" fmla="*/ 6858000 h 6858000"/>
              <a:gd name="connsiteX32" fmla="*/ 17996 w 7568989"/>
              <a:gd name="connsiteY32" fmla="*/ 6849955 h 6858000"/>
              <a:gd name="connsiteX33" fmla="*/ 524525 w 7568989"/>
              <a:gd name="connsiteY33" fmla="*/ 5157900 h 6858000"/>
              <a:gd name="connsiteX34" fmla="*/ 1050926 w 7568989"/>
              <a:gd name="connsiteY34" fmla="*/ 4776304 h 6858000"/>
              <a:gd name="connsiteX35" fmla="*/ 2678933 w 7568989"/>
              <a:gd name="connsiteY35" fmla="*/ 1666078 h 6858000"/>
              <a:gd name="connsiteX36" fmla="*/ 3070301 w 7568989"/>
              <a:gd name="connsiteY36" fmla="*/ 18871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7568989" h="6858000">
                <a:moveTo>
                  <a:pt x="3196333" y="0"/>
                </a:moveTo>
                <a:lnTo>
                  <a:pt x="3368768" y="0"/>
                </a:lnTo>
                <a:lnTo>
                  <a:pt x="3412233" y="0"/>
                </a:lnTo>
                <a:lnTo>
                  <a:pt x="3584668" y="0"/>
                </a:lnTo>
                <a:lnTo>
                  <a:pt x="4174233" y="0"/>
                </a:lnTo>
                <a:lnTo>
                  <a:pt x="4346668" y="0"/>
                </a:lnTo>
                <a:lnTo>
                  <a:pt x="4390133" y="0"/>
                </a:lnTo>
                <a:lnTo>
                  <a:pt x="4562568" y="0"/>
                </a:lnTo>
                <a:lnTo>
                  <a:pt x="6202755" y="0"/>
                </a:lnTo>
                <a:lnTo>
                  <a:pt x="6375189" y="0"/>
                </a:lnTo>
                <a:lnTo>
                  <a:pt x="6418655" y="0"/>
                </a:lnTo>
                <a:lnTo>
                  <a:pt x="6591089" y="0"/>
                </a:lnTo>
                <a:lnTo>
                  <a:pt x="7180655" y="0"/>
                </a:lnTo>
                <a:lnTo>
                  <a:pt x="7353089" y="0"/>
                </a:lnTo>
                <a:lnTo>
                  <a:pt x="7396555" y="0"/>
                </a:lnTo>
                <a:lnTo>
                  <a:pt x="7568989" y="0"/>
                </a:lnTo>
                <a:lnTo>
                  <a:pt x="7568989" y="6858000"/>
                </a:lnTo>
                <a:lnTo>
                  <a:pt x="7396555" y="6858000"/>
                </a:lnTo>
                <a:lnTo>
                  <a:pt x="7353089" y="6858000"/>
                </a:lnTo>
                <a:lnTo>
                  <a:pt x="7180655" y="6858000"/>
                </a:lnTo>
                <a:lnTo>
                  <a:pt x="6591089" y="6858000"/>
                </a:lnTo>
                <a:lnTo>
                  <a:pt x="6418655" y="6858000"/>
                </a:lnTo>
                <a:lnTo>
                  <a:pt x="6375189" y="6858000"/>
                </a:lnTo>
                <a:lnTo>
                  <a:pt x="6202755" y="6858000"/>
                </a:lnTo>
                <a:lnTo>
                  <a:pt x="1385594" y="6858000"/>
                </a:lnTo>
                <a:lnTo>
                  <a:pt x="1213159" y="6858000"/>
                </a:lnTo>
                <a:lnTo>
                  <a:pt x="1169694" y="6858000"/>
                </a:lnTo>
                <a:lnTo>
                  <a:pt x="997259" y="6858000"/>
                </a:lnTo>
                <a:lnTo>
                  <a:pt x="407693" y="6858000"/>
                </a:lnTo>
                <a:lnTo>
                  <a:pt x="235259" y="6858000"/>
                </a:lnTo>
                <a:lnTo>
                  <a:pt x="191793" y="6858000"/>
                </a:lnTo>
                <a:lnTo>
                  <a:pt x="19359" y="6858000"/>
                </a:lnTo>
                <a:lnTo>
                  <a:pt x="17996" y="6849955"/>
                </a:lnTo>
                <a:cubicBezTo>
                  <a:pt x="-59197" y="6243442"/>
                  <a:pt x="112360" y="5604070"/>
                  <a:pt x="524525" y="5157900"/>
                </a:cubicBezTo>
                <a:cubicBezTo>
                  <a:pt x="682566" y="4986819"/>
                  <a:pt x="861468" y="4859893"/>
                  <a:pt x="1050926" y="4776304"/>
                </a:cubicBezTo>
                <a:cubicBezTo>
                  <a:pt x="2276869" y="4200459"/>
                  <a:pt x="2690367" y="3752272"/>
                  <a:pt x="2678933" y="1666078"/>
                </a:cubicBezTo>
                <a:cubicBezTo>
                  <a:pt x="2676233" y="1147067"/>
                  <a:pt x="2807627" y="628568"/>
                  <a:pt x="3070301" y="18871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7C4E4222-BE6E-99F3-B593-56B170ADA70A}"/>
              </a:ext>
            </a:extLst>
          </p:cNvPr>
          <p:cNvSpPr txBox="1"/>
          <p:nvPr/>
        </p:nvSpPr>
        <p:spPr>
          <a:xfrm>
            <a:off x="8658722" y="2844840"/>
            <a:ext cx="4550926" cy="523220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fr-FR" sz="3400" b="1">
                <a:solidFill>
                  <a:schemeClr val="bg1">
                    <a:alpha val="0"/>
                  </a:schemeClr>
                </a:solidFill>
                <a:latin typeface="+mj-lt"/>
              </a:rPr>
              <a:t>Votre allié anti-gaspi </a:t>
            </a:r>
            <a:endParaRPr lang="fr-FR" sz="3400">
              <a:solidFill>
                <a:schemeClr val="bg1">
                  <a:alpha val="0"/>
                </a:schemeClr>
              </a:solidFill>
              <a:latin typeface="+mj-lt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C44DCA3E-88A3-D1AC-2FD2-C04C2C8ECFE9}"/>
              </a:ext>
            </a:extLst>
          </p:cNvPr>
          <p:cNvSpPr txBox="1"/>
          <p:nvPr/>
        </p:nvSpPr>
        <p:spPr>
          <a:xfrm>
            <a:off x="10672912" y="3356117"/>
            <a:ext cx="4594206" cy="523220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fr-FR" sz="3400">
                <a:solidFill>
                  <a:schemeClr val="bg1">
                    <a:alpha val="0"/>
                  </a:schemeClr>
                </a:solidFill>
                <a:latin typeface="+mj-lt"/>
              </a:rPr>
              <a:t>pour les médicaments </a:t>
            </a:r>
          </a:p>
        </p:txBody>
      </p:sp>
      <p:sp>
        <p:nvSpPr>
          <p:cNvPr id="16" name="!!_Sous-Tire_01_!!">
            <a:extLst>
              <a:ext uri="{FF2B5EF4-FFF2-40B4-BE49-F238E27FC236}">
                <a16:creationId xmlns:a16="http://schemas.microsoft.com/office/drawing/2014/main" id="{4A912B81-FD75-C594-C726-BA96469F0BC2}"/>
              </a:ext>
            </a:extLst>
          </p:cNvPr>
          <p:cNvSpPr txBox="1"/>
          <p:nvPr/>
        </p:nvSpPr>
        <p:spPr>
          <a:xfrm>
            <a:off x="12745407" y="4021902"/>
            <a:ext cx="4512454" cy="1615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fr-FR" sz="1050" spc="300">
                <a:solidFill>
                  <a:srgbClr val="C4C7D6">
                    <a:alpha val="0"/>
                  </a:srgbClr>
                </a:solidFill>
                <a:latin typeface="Montserrat Alternates SemiBold" panose="00000700000000000000" pitchFamily="2" charset="0"/>
              </a:rPr>
              <a:t>AGISSONS / ÉCONOMISONS / PRÉSERVONS.</a:t>
            </a: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82832574-CBAB-C72A-AD3F-3BB80AEFF9BE}"/>
              </a:ext>
            </a:extLst>
          </p:cNvPr>
          <p:cNvSpPr/>
          <p:nvPr/>
        </p:nvSpPr>
        <p:spPr>
          <a:xfrm>
            <a:off x="9281694" y="2594924"/>
            <a:ext cx="972106" cy="1838478"/>
          </a:xfrm>
          <a:prstGeom prst="roundRect">
            <a:avLst>
              <a:gd name="adj" fmla="val 50000"/>
            </a:avLst>
          </a:prstGeom>
          <a:solidFill>
            <a:srgbClr val="9097B3">
              <a:alpha val="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3" name="Image 12" descr="Une image contenant médicament, médecine, Médicament, Médicament sous ordonnance&#10;&#10;Le contenu généré par l’IA peut être incorrect.">
            <a:extLst>
              <a:ext uri="{FF2B5EF4-FFF2-40B4-BE49-F238E27FC236}">
                <a16:creationId xmlns:a16="http://schemas.microsoft.com/office/drawing/2014/main" id="{749E2BF3-B031-7536-308A-20E4B2333EC9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0"/>
          </a:blip>
          <a:stretch>
            <a:fillRect/>
          </a:stretch>
        </p:blipFill>
        <p:spPr>
          <a:xfrm>
            <a:off x="12004299" y="1587837"/>
            <a:ext cx="5021942" cy="4262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3821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"/>
    </mc:Choice>
    <mc:Fallback xmlns="">
      <p:transition spd="slow" advClick="0" advTm="2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2.22222E-6 L -0.0086 2.22222E-6 " pathEditMode="relative" rAng="0" ptsTypes="AA">
                                      <p:cBhvr>
                                        <p:cTn id="9" dur="2000" spd="-100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30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2.22222E-6 L 0.00859 2.22222E-6 " pathEditMode="relative" rAng="0" ptsTypes="AA">
                                      <p:cBhvr>
                                        <p:cTn id="14" dur="2000" spd="-100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1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1600"/>
                                  </p:stCondLst>
                                  <p:childTnLst>
                                    <p:animMotion origin="layout" path="M -1.04167E-6 -4.07407E-6 L -1.04167E-6 -0.02338 " pathEditMode="relative" rAng="0" ptsTypes="AA">
                                      <p:cBhvr>
                                        <p:cTn id="19" dur="2000" spd="-100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81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1700"/>
                                  </p:stCondLst>
                                  <p:childTnLst>
                                    <p:animMotion origin="layout" path="M -1.04167E-6 -4.07407E-6 L -1.04167E-6 -0.02338 " pathEditMode="relative" rAng="0" ptsTypes="AA">
                                      <p:cBhvr>
                                        <p:cTn id="24" dur="2000" spd="-100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81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1800"/>
                                  </p:stCondLst>
                                  <p:childTnLst>
                                    <p:animMotion origin="layout" path="M -1.04167E-6 -4.07407E-6 L -1.04167E-6 -0.02338 " pathEditMode="relative" rAng="0" ptsTypes="AA">
                                      <p:cBhvr>
                                        <p:cTn id="29" dur="2000" spd="-100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81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1900"/>
                                  </p:stCondLst>
                                  <p:childTnLst>
                                    <p:animMotion origin="layout" path="M -1.04167E-6 -4.07407E-6 L -1.04167E-6 -0.02338 " pathEditMode="relative" rAng="0" ptsTypes="AA">
                                      <p:cBhvr>
                                        <p:cTn id="34" dur="2000" spd="-100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81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-1.04167E-6 -4.07407E-6 L -1.04167E-6 -0.02338 " pathEditMode="relative" rAng="0" ptsTypes="AA">
                                      <p:cBhvr>
                                        <p:cTn id="39" dur="2000" spd="-10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81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grpId="1" nodeType="withEffect">
                                  <p:stCondLst>
                                    <p:cond delay="2100"/>
                                  </p:stCondLst>
                                  <p:childTnLst>
                                    <p:animMotion origin="layout" path="M -1.04167E-6 -4.07407E-6 L -1.04167E-6 -0.02338 " pathEditMode="relative" rAng="0" ptsTypes="AA">
                                      <p:cBhvr>
                                        <p:cTn id="44" dur="2000" spd="-100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81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22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42" presetClass="path" presetSubtype="0" decel="100000" fill="hold" grpId="1" nodeType="withEffect">
                                  <p:stCondLst>
                                    <p:cond delay="2200"/>
                                  </p:stCondLst>
                                  <p:childTnLst>
                                    <p:animMotion origin="layout" path="M -1.04167E-6 -4.07407E-6 L -1.04167E-6 -0.02338 " pathEditMode="relative" rAng="0" ptsTypes="AA">
                                      <p:cBhvr>
                                        <p:cTn id="49" dur="2000" spd="-100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81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23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2" presetClass="path" presetSubtype="0" decel="100000" fill="hold" grpId="1" nodeType="withEffect">
                                  <p:stCondLst>
                                    <p:cond delay="2300"/>
                                  </p:stCondLst>
                                  <p:childTnLst>
                                    <p:animMotion origin="layout" path="M -1.04167E-6 -4.07407E-6 L -1.04167E-6 -0.02338 " pathEditMode="relative" rAng="0" ptsTypes="AA">
                                      <p:cBhvr>
                                        <p:cTn id="54" dur="2000" spd="-100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8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 animBg="1"/>
      <p:bldP spid="85" grpId="1" animBg="1"/>
      <p:bldP spid="86" grpId="0" animBg="1"/>
      <p:bldP spid="86" grpId="1" animBg="1"/>
      <p:bldP spid="87" grpId="0" animBg="1"/>
      <p:bldP spid="87" grpId="1" animBg="1"/>
      <p:bldP spid="88" grpId="0" animBg="1"/>
      <p:bldP spid="88" grpId="1" animBg="1"/>
      <p:bldP spid="89" grpId="0" animBg="1"/>
      <p:bldP spid="89" grpId="1" animBg="1"/>
      <p:bldP spid="90" grpId="0" animBg="1"/>
      <p:bldP spid="90" grpId="1" animBg="1"/>
      <p:bldP spid="91" grpId="0" animBg="1"/>
      <p:bldP spid="91" grpId="1" animBg="1"/>
      <p:bldP spid="92" grpId="0" animBg="1"/>
      <p:bldP spid="92" grpId="1" animBg="1"/>
      <p:bldP spid="83" grpId="0" animBg="1"/>
      <p:bldP spid="83" grpId="1" animBg="1"/>
      <p:bldP spid="93" grpId="0" animBg="1"/>
      <p:bldP spid="93" grpId="1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097B3">
            <a:alpha val="10000"/>
          </a:srgb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799B660-DC7D-04ED-9B15-D494CED8A6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Forme libre : forme 271">
            <a:extLst>
              <a:ext uri="{FF2B5EF4-FFF2-40B4-BE49-F238E27FC236}">
                <a16:creationId xmlns:a16="http://schemas.microsoft.com/office/drawing/2014/main" id="{7B5E7834-9A8F-4270-44F2-E9897433FB1D}"/>
              </a:ext>
            </a:extLst>
          </p:cNvPr>
          <p:cNvSpPr>
            <a:spLocks/>
          </p:cNvSpPr>
          <p:nvPr/>
        </p:nvSpPr>
        <p:spPr>
          <a:xfrm>
            <a:off x="5481285" y="-1"/>
            <a:ext cx="6710715" cy="6858000"/>
          </a:xfrm>
          <a:custGeom>
            <a:avLst/>
            <a:gdLst>
              <a:gd name="connsiteX0" fmla="*/ 3196333 w 6710715"/>
              <a:gd name="connsiteY0" fmla="*/ 0 h 6858000"/>
              <a:gd name="connsiteX1" fmla="*/ 3368768 w 6710715"/>
              <a:gd name="connsiteY1" fmla="*/ 0 h 6858000"/>
              <a:gd name="connsiteX2" fmla="*/ 3412233 w 6710715"/>
              <a:gd name="connsiteY2" fmla="*/ 0 h 6858000"/>
              <a:gd name="connsiteX3" fmla="*/ 3584668 w 6710715"/>
              <a:gd name="connsiteY3" fmla="*/ 0 h 6858000"/>
              <a:gd name="connsiteX4" fmla="*/ 3874759 w 6710715"/>
              <a:gd name="connsiteY4" fmla="*/ 0 h 6858000"/>
              <a:gd name="connsiteX5" fmla="*/ 4047194 w 6710715"/>
              <a:gd name="connsiteY5" fmla="*/ 0 h 6858000"/>
              <a:gd name="connsiteX6" fmla="*/ 4090659 w 6710715"/>
              <a:gd name="connsiteY6" fmla="*/ 0 h 6858000"/>
              <a:gd name="connsiteX7" fmla="*/ 4174233 w 6710715"/>
              <a:gd name="connsiteY7" fmla="*/ 0 h 6858000"/>
              <a:gd name="connsiteX8" fmla="*/ 4263094 w 6710715"/>
              <a:gd name="connsiteY8" fmla="*/ 0 h 6858000"/>
              <a:gd name="connsiteX9" fmla="*/ 4346668 w 6710715"/>
              <a:gd name="connsiteY9" fmla="*/ 0 h 6858000"/>
              <a:gd name="connsiteX10" fmla="*/ 4390133 w 6710715"/>
              <a:gd name="connsiteY10" fmla="*/ 0 h 6858000"/>
              <a:gd name="connsiteX11" fmla="*/ 4562568 w 6710715"/>
              <a:gd name="connsiteY11" fmla="*/ 0 h 6858000"/>
              <a:gd name="connsiteX12" fmla="*/ 4852659 w 6710715"/>
              <a:gd name="connsiteY12" fmla="*/ 0 h 6858000"/>
              <a:gd name="connsiteX13" fmla="*/ 5025094 w 6710715"/>
              <a:gd name="connsiteY13" fmla="*/ 0 h 6858000"/>
              <a:gd name="connsiteX14" fmla="*/ 5068559 w 6710715"/>
              <a:gd name="connsiteY14" fmla="*/ 0 h 6858000"/>
              <a:gd name="connsiteX15" fmla="*/ 5240994 w 6710715"/>
              <a:gd name="connsiteY15" fmla="*/ 0 h 6858000"/>
              <a:gd name="connsiteX16" fmla="*/ 6032289 w 6710715"/>
              <a:gd name="connsiteY16" fmla="*/ 0 h 6858000"/>
              <a:gd name="connsiteX17" fmla="*/ 6710715 w 6710715"/>
              <a:gd name="connsiteY17" fmla="*/ 0 h 6858000"/>
              <a:gd name="connsiteX18" fmla="*/ 6710715 w 6710715"/>
              <a:gd name="connsiteY18" fmla="*/ 6858000 h 6858000"/>
              <a:gd name="connsiteX19" fmla="*/ 6032289 w 6710715"/>
              <a:gd name="connsiteY19" fmla="*/ 6858000 h 6858000"/>
              <a:gd name="connsiteX20" fmla="*/ 2064020 w 6710715"/>
              <a:gd name="connsiteY20" fmla="*/ 6858000 h 6858000"/>
              <a:gd name="connsiteX21" fmla="*/ 1891586 w 6710715"/>
              <a:gd name="connsiteY21" fmla="*/ 6858000 h 6858000"/>
              <a:gd name="connsiteX22" fmla="*/ 1848121 w 6710715"/>
              <a:gd name="connsiteY22" fmla="*/ 6858000 h 6858000"/>
              <a:gd name="connsiteX23" fmla="*/ 1675685 w 6710715"/>
              <a:gd name="connsiteY23" fmla="*/ 6858000 h 6858000"/>
              <a:gd name="connsiteX24" fmla="*/ 1385594 w 6710715"/>
              <a:gd name="connsiteY24" fmla="*/ 6858000 h 6858000"/>
              <a:gd name="connsiteX25" fmla="*/ 1213160 w 6710715"/>
              <a:gd name="connsiteY25" fmla="*/ 6858000 h 6858000"/>
              <a:gd name="connsiteX26" fmla="*/ 1169695 w 6710715"/>
              <a:gd name="connsiteY26" fmla="*/ 6858000 h 6858000"/>
              <a:gd name="connsiteX27" fmla="*/ 1086120 w 6710715"/>
              <a:gd name="connsiteY27" fmla="*/ 6858000 h 6858000"/>
              <a:gd name="connsiteX28" fmla="*/ 997259 w 6710715"/>
              <a:gd name="connsiteY28" fmla="*/ 6858000 h 6858000"/>
              <a:gd name="connsiteX29" fmla="*/ 913685 w 6710715"/>
              <a:gd name="connsiteY29" fmla="*/ 6858000 h 6858000"/>
              <a:gd name="connsiteX30" fmla="*/ 870219 w 6710715"/>
              <a:gd name="connsiteY30" fmla="*/ 6858000 h 6858000"/>
              <a:gd name="connsiteX31" fmla="*/ 697786 w 6710715"/>
              <a:gd name="connsiteY31" fmla="*/ 6858000 h 6858000"/>
              <a:gd name="connsiteX32" fmla="*/ 407694 w 6710715"/>
              <a:gd name="connsiteY32" fmla="*/ 6858000 h 6858000"/>
              <a:gd name="connsiteX33" fmla="*/ 235259 w 6710715"/>
              <a:gd name="connsiteY33" fmla="*/ 6858000 h 6858000"/>
              <a:gd name="connsiteX34" fmla="*/ 191793 w 6710715"/>
              <a:gd name="connsiteY34" fmla="*/ 6858000 h 6858000"/>
              <a:gd name="connsiteX35" fmla="*/ 19360 w 6710715"/>
              <a:gd name="connsiteY35" fmla="*/ 6858000 h 6858000"/>
              <a:gd name="connsiteX36" fmla="*/ 17996 w 6710715"/>
              <a:gd name="connsiteY36" fmla="*/ 6849955 h 6858000"/>
              <a:gd name="connsiteX37" fmla="*/ 524526 w 6710715"/>
              <a:gd name="connsiteY37" fmla="*/ 5157900 h 6858000"/>
              <a:gd name="connsiteX38" fmla="*/ 1050926 w 6710715"/>
              <a:gd name="connsiteY38" fmla="*/ 4776304 h 6858000"/>
              <a:gd name="connsiteX39" fmla="*/ 2678933 w 6710715"/>
              <a:gd name="connsiteY39" fmla="*/ 1666078 h 6858000"/>
              <a:gd name="connsiteX40" fmla="*/ 3070301 w 6710715"/>
              <a:gd name="connsiteY40" fmla="*/ 18871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710715" h="6858000">
                <a:moveTo>
                  <a:pt x="3196333" y="0"/>
                </a:moveTo>
                <a:lnTo>
                  <a:pt x="3368768" y="0"/>
                </a:lnTo>
                <a:lnTo>
                  <a:pt x="3412233" y="0"/>
                </a:lnTo>
                <a:lnTo>
                  <a:pt x="3584668" y="0"/>
                </a:lnTo>
                <a:lnTo>
                  <a:pt x="3874759" y="0"/>
                </a:lnTo>
                <a:lnTo>
                  <a:pt x="4047194" y="0"/>
                </a:lnTo>
                <a:lnTo>
                  <a:pt x="4090659" y="0"/>
                </a:lnTo>
                <a:lnTo>
                  <a:pt x="4174233" y="0"/>
                </a:lnTo>
                <a:lnTo>
                  <a:pt x="4263094" y="0"/>
                </a:lnTo>
                <a:lnTo>
                  <a:pt x="4346668" y="0"/>
                </a:lnTo>
                <a:lnTo>
                  <a:pt x="4390133" y="0"/>
                </a:lnTo>
                <a:lnTo>
                  <a:pt x="4562568" y="0"/>
                </a:lnTo>
                <a:lnTo>
                  <a:pt x="4852659" y="0"/>
                </a:lnTo>
                <a:lnTo>
                  <a:pt x="5025094" y="0"/>
                </a:lnTo>
                <a:lnTo>
                  <a:pt x="5068559" y="0"/>
                </a:lnTo>
                <a:lnTo>
                  <a:pt x="5240994" y="0"/>
                </a:lnTo>
                <a:lnTo>
                  <a:pt x="6032289" y="0"/>
                </a:lnTo>
                <a:lnTo>
                  <a:pt x="6710715" y="0"/>
                </a:lnTo>
                <a:lnTo>
                  <a:pt x="6710715" y="6858000"/>
                </a:lnTo>
                <a:lnTo>
                  <a:pt x="6032289" y="6858000"/>
                </a:lnTo>
                <a:lnTo>
                  <a:pt x="2064020" y="6858000"/>
                </a:lnTo>
                <a:lnTo>
                  <a:pt x="1891586" y="6858000"/>
                </a:lnTo>
                <a:lnTo>
                  <a:pt x="1848121" y="6858000"/>
                </a:lnTo>
                <a:lnTo>
                  <a:pt x="1675685" y="6858000"/>
                </a:lnTo>
                <a:lnTo>
                  <a:pt x="1385594" y="6858000"/>
                </a:lnTo>
                <a:lnTo>
                  <a:pt x="1213160" y="6858000"/>
                </a:lnTo>
                <a:lnTo>
                  <a:pt x="1169695" y="6858000"/>
                </a:lnTo>
                <a:lnTo>
                  <a:pt x="1086120" y="6858000"/>
                </a:lnTo>
                <a:lnTo>
                  <a:pt x="997259" y="6858000"/>
                </a:lnTo>
                <a:lnTo>
                  <a:pt x="913685" y="6858000"/>
                </a:lnTo>
                <a:lnTo>
                  <a:pt x="870219" y="6858000"/>
                </a:lnTo>
                <a:lnTo>
                  <a:pt x="697786" y="6858000"/>
                </a:lnTo>
                <a:lnTo>
                  <a:pt x="407694" y="6858000"/>
                </a:lnTo>
                <a:lnTo>
                  <a:pt x="235259" y="6858000"/>
                </a:lnTo>
                <a:lnTo>
                  <a:pt x="191793" y="6858000"/>
                </a:lnTo>
                <a:lnTo>
                  <a:pt x="19360" y="6858000"/>
                </a:lnTo>
                <a:lnTo>
                  <a:pt x="17996" y="6849955"/>
                </a:lnTo>
                <a:cubicBezTo>
                  <a:pt x="-59197" y="6243442"/>
                  <a:pt x="112361" y="5604070"/>
                  <a:pt x="524526" y="5157900"/>
                </a:cubicBezTo>
                <a:cubicBezTo>
                  <a:pt x="682566" y="4986819"/>
                  <a:pt x="861469" y="4859893"/>
                  <a:pt x="1050926" y="4776304"/>
                </a:cubicBezTo>
                <a:cubicBezTo>
                  <a:pt x="2276869" y="4200459"/>
                  <a:pt x="2690367" y="3752272"/>
                  <a:pt x="2678933" y="1666078"/>
                </a:cubicBezTo>
                <a:cubicBezTo>
                  <a:pt x="2676233" y="1147067"/>
                  <a:pt x="2807627" y="628568"/>
                  <a:pt x="3070301" y="188711"/>
                </a:cubicBezTo>
                <a:close/>
              </a:path>
            </a:pathLst>
          </a:custGeom>
          <a:solidFill>
            <a:srgbClr val="EAEA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Alternates"/>
              <a:ea typeface="+mn-ea"/>
              <a:cs typeface="+mn-cs"/>
            </a:endParaRPr>
          </a:p>
        </p:txBody>
      </p:sp>
      <p:sp>
        <p:nvSpPr>
          <p:cNvPr id="31" name="!_SCREENSHOT01_!!">
            <a:extLst>
              <a:ext uri="{FF2B5EF4-FFF2-40B4-BE49-F238E27FC236}">
                <a16:creationId xmlns:a16="http://schemas.microsoft.com/office/drawing/2014/main" id="{FA1AF7A0-26F6-4D7A-4934-FD42FA9F9D50}"/>
              </a:ext>
            </a:extLst>
          </p:cNvPr>
          <p:cNvSpPr/>
          <p:nvPr/>
        </p:nvSpPr>
        <p:spPr>
          <a:xfrm>
            <a:off x="7604406" y="6253665"/>
            <a:ext cx="2261634" cy="4766308"/>
          </a:xfrm>
          <a:prstGeom prst="roundRect">
            <a:avLst>
              <a:gd name="adj" fmla="val 0"/>
            </a:avLst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srgbClr val="DBDDE6">
                  <a:lumMod val="10000"/>
                </a:srgbClr>
              </a:solidFill>
              <a:effectLst/>
              <a:uLnTx/>
              <a:uFillTx/>
              <a:latin typeface="Quicksand"/>
              <a:ea typeface="+mn-ea"/>
              <a:cs typeface="+mn-cs"/>
            </a:endParaRPr>
          </a:p>
        </p:txBody>
      </p:sp>
      <p:sp>
        <p:nvSpPr>
          <p:cNvPr id="224" name="!_SCREENSHOT02_!!">
            <a:extLst>
              <a:ext uri="{FF2B5EF4-FFF2-40B4-BE49-F238E27FC236}">
                <a16:creationId xmlns:a16="http://schemas.microsoft.com/office/drawing/2014/main" id="{76934955-EEA5-0F95-65F9-5C755882A77A}"/>
              </a:ext>
            </a:extLst>
          </p:cNvPr>
          <p:cNvSpPr/>
          <p:nvPr/>
        </p:nvSpPr>
        <p:spPr>
          <a:xfrm>
            <a:off x="7604406" y="1487356"/>
            <a:ext cx="2261634" cy="4766308"/>
          </a:xfrm>
          <a:prstGeom prst="roundRect">
            <a:avLst>
              <a:gd name="adj" fmla="val 0"/>
            </a:avLst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srgbClr val="DBDDE6">
                  <a:lumMod val="10000"/>
                </a:srgbClr>
              </a:solidFill>
              <a:effectLst/>
              <a:uLnTx/>
              <a:uFillTx/>
              <a:latin typeface="Quicksand"/>
              <a:ea typeface="+mn-ea"/>
              <a:cs typeface="+mn-cs"/>
            </a:endParaRPr>
          </a:p>
        </p:txBody>
      </p:sp>
      <p:sp>
        <p:nvSpPr>
          <p:cNvPr id="225" name="!_SCREENSHOT03_!!">
            <a:extLst>
              <a:ext uri="{FF2B5EF4-FFF2-40B4-BE49-F238E27FC236}">
                <a16:creationId xmlns:a16="http://schemas.microsoft.com/office/drawing/2014/main" id="{91F7348A-221B-B909-B0FB-B85201913B65}"/>
              </a:ext>
            </a:extLst>
          </p:cNvPr>
          <p:cNvSpPr/>
          <p:nvPr/>
        </p:nvSpPr>
        <p:spPr>
          <a:xfrm>
            <a:off x="7604406" y="-3278952"/>
            <a:ext cx="2261634" cy="4766308"/>
          </a:xfrm>
          <a:prstGeom prst="roundRect">
            <a:avLst>
              <a:gd name="adj" fmla="val 0"/>
            </a:avLst>
          </a:prstGeom>
          <a:blipFill>
            <a:blip r:embed="rId5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srgbClr val="DBDDE6">
                  <a:lumMod val="10000"/>
                </a:srgbClr>
              </a:solidFill>
              <a:effectLst/>
              <a:uLnTx/>
              <a:uFillTx/>
              <a:latin typeface="Quicksand"/>
              <a:ea typeface="+mn-ea"/>
              <a:cs typeface="+mn-cs"/>
            </a:endParaRPr>
          </a:p>
        </p:txBody>
      </p:sp>
      <p:grpSp>
        <p:nvGrpSpPr>
          <p:cNvPr id="28" name="Cache-droite">
            <a:extLst>
              <a:ext uri="{FF2B5EF4-FFF2-40B4-BE49-F238E27FC236}">
                <a16:creationId xmlns:a16="http://schemas.microsoft.com/office/drawing/2014/main" id="{0B00F362-7A32-9751-77D6-C082993EA0CF}"/>
              </a:ext>
            </a:extLst>
          </p:cNvPr>
          <p:cNvGrpSpPr/>
          <p:nvPr/>
        </p:nvGrpSpPr>
        <p:grpSpPr>
          <a:xfrm>
            <a:off x="5481285" y="0"/>
            <a:ext cx="6710715" cy="6858000"/>
            <a:chOff x="5633685" y="152399"/>
            <a:chExt cx="6710715" cy="6858000"/>
          </a:xfrm>
        </p:grpSpPr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D15881F3-C3DA-E2AF-0FEC-4D6DD0E1DDC0}"/>
                </a:ext>
              </a:extLst>
            </p:cNvPr>
            <p:cNvSpPr/>
            <p:nvPr/>
          </p:nvSpPr>
          <p:spPr>
            <a:xfrm>
              <a:off x="6248400" y="152400"/>
              <a:ext cx="4000500" cy="6857999"/>
            </a:xfrm>
            <a:custGeom>
              <a:avLst/>
              <a:gdLst>
                <a:gd name="connsiteX0" fmla="*/ 1732964 w 4000500"/>
                <a:gd name="connsiteY0" fmla="*/ 1482093 h 6857999"/>
                <a:gd name="connsiteX1" fmla="*/ 1508406 w 4000500"/>
                <a:gd name="connsiteY1" fmla="*/ 1706651 h 6857999"/>
                <a:gd name="connsiteX2" fmla="*/ 1508406 w 4000500"/>
                <a:gd name="connsiteY2" fmla="*/ 6023843 h 6857999"/>
                <a:gd name="connsiteX3" fmla="*/ 1732964 w 4000500"/>
                <a:gd name="connsiteY3" fmla="*/ 6248401 h 6857999"/>
                <a:gd name="connsiteX4" fmla="*/ 3545482 w 4000500"/>
                <a:gd name="connsiteY4" fmla="*/ 6248401 h 6857999"/>
                <a:gd name="connsiteX5" fmla="*/ 3770040 w 4000500"/>
                <a:gd name="connsiteY5" fmla="*/ 6023843 h 6857999"/>
                <a:gd name="connsiteX6" fmla="*/ 3770040 w 4000500"/>
                <a:gd name="connsiteY6" fmla="*/ 1706651 h 6857999"/>
                <a:gd name="connsiteX7" fmla="*/ 3545482 w 4000500"/>
                <a:gd name="connsiteY7" fmla="*/ 1482093 h 6857999"/>
                <a:gd name="connsiteX8" fmla="*/ 0 w 4000500"/>
                <a:gd name="connsiteY8" fmla="*/ 0 h 6857999"/>
                <a:gd name="connsiteX9" fmla="*/ 4000500 w 4000500"/>
                <a:gd name="connsiteY9" fmla="*/ 0 h 6857999"/>
                <a:gd name="connsiteX10" fmla="*/ 4000500 w 4000500"/>
                <a:gd name="connsiteY10" fmla="*/ 6857999 h 6857999"/>
                <a:gd name="connsiteX11" fmla="*/ 0 w 4000500"/>
                <a:gd name="connsiteY11" fmla="*/ 6857999 h 6857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00500" h="6857999">
                  <a:moveTo>
                    <a:pt x="1732964" y="1482093"/>
                  </a:moveTo>
                  <a:cubicBezTo>
                    <a:pt x="1608944" y="1482093"/>
                    <a:pt x="1508406" y="1582631"/>
                    <a:pt x="1508406" y="1706651"/>
                  </a:cubicBezTo>
                  <a:lnTo>
                    <a:pt x="1508406" y="6023843"/>
                  </a:lnTo>
                  <a:cubicBezTo>
                    <a:pt x="1508406" y="6147863"/>
                    <a:pt x="1608944" y="6248401"/>
                    <a:pt x="1732964" y="6248401"/>
                  </a:cubicBezTo>
                  <a:lnTo>
                    <a:pt x="3545482" y="6248401"/>
                  </a:lnTo>
                  <a:cubicBezTo>
                    <a:pt x="3669502" y="6248401"/>
                    <a:pt x="3770040" y="6147863"/>
                    <a:pt x="3770040" y="6023843"/>
                  </a:cubicBezTo>
                  <a:lnTo>
                    <a:pt x="3770040" y="1706651"/>
                  </a:lnTo>
                  <a:cubicBezTo>
                    <a:pt x="3770040" y="1582631"/>
                    <a:pt x="3669502" y="1482093"/>
                    <a:pt x="3545482" y="1482093"/>
                  </a:cubicBezTo>
                  <a:close/>
                  <a:moveTo>
                    <a:pt x="0" y="0"/>
                  </a:moveTo>
                  <a:lnTo>
                    <a:pt x="4000500" y="0"/>
                  </a:lnTo>
                  <a:lnTo>
                    <a:pt x="4000500" y="6857999"/>
                  </a:lnTo>
                  <a:lnTo>
                    <a:pt x="0" y="6857999"/>
                  </a:lnTo>
                  <a:close/>
                </a:path>
              </a:pathLst>
            </a:custGeom>
            <a:solidFill>
              <a:srgbClr val="F4F4F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56B02C35-1490-19D2-4B55-511D52DCF365}"/>
                </a:ext>
              </a:extLst>
            </p:cNvPr>
            <p:cNvSpPr>
              <a:spLocks/>
            </p:cNvSpPr>
            <p:nvPr/>
          </p:nvSpPr>
          <p:spPr>
            <a:xfrm>
              <a:off x="5633685" y="152399"/>
              <a:ext cx="6710715" cy="6858000"/>
            </a:xfrm>
            <a:custGeom>
              <a:avLst/>
              <a:gdLst>
                <a:gd name="connsiteX0" fmla="*/ 3196333 w 6710715"/>
                <a:gd name="connsiteY0" fmla="*/ 0 h 6858000"/>
                <a:gd name="connsiteX1" fmla="*/ 3368768 w 6710715"/>
                <a:gd name="connsiteY1" fmla="*/ 0 h 6858000"/>
                <a:gd name="connsiteX2" fmla="*/ 3412233 w 6710715"/>
                <a:gd name="connsiteY2" fmla="*/ 0 h 6858000"/>
                <a:gd name="connsiteX3" fmla="*/ 3584668 w 6710715"/>
                <a:gd name="connsiteY3" fmla="*/ 0 h 6858000"/>
                <a:gd name="connsiteX4" fmla="*/ 3874759 w 6710715"/>
                <a:gd name="connsiteY4" fmla="*/ 0 h 6858000"/>
                <a:gd name="connsiteX5" fmla="*/ 4047194 w 6710715"/>
                <a:gd name="connsiteY5" fmla="*/ 0 h 6858000"/>
                <a:gd name="connsiteX6" fmla="*/ 4090659 w 6710715"/>
                <a:gd name="connsiteY6" fmla="*/ 0 h 6858000"/>
                <a:gd name="connsiteX7" fmla="*/ 4174233 w 6710715"/>
                <a:gd name="connsiteY7" fmla="*/ 0 h 6858000"/>
                <a:gd name="connsiteX8" fmla="*/ 4263094 w 6710715"/>
                <a:gd name="connsiteY8" fmla="*/ 0 h 6858000"/>
                <a:gd name="connsiteX9" fmla="*/ 4346668 w 6710715"/>
                <a:gd name="connsiteY9" fmla="*/ 0 h 6858000"/>
                <a:gd name="connsiteX10" fmla="*/ 4390133 w 6710715"/>
                <a:gd name="connsiteY10" fmla="*/ 0 h 6858000"/>
                <a:gd name="connsiteX11" fmla="*/ 4562568 w 6710715"/>
                <a:gd name="connsiteY11" fmla="*/ 0 h 6858000"/>
                <a:gd name="connsiteX12" fmla="*/ 4852659 w 6710715"/>
                <a:gd name="connsiteY12" fmla="*/ 0 h 6858000"/>
                <a:gd name="connsiteX13" fmla="*/ 5025094 w 6710715"/>
                <a:gd name="connsiteY13" fmla="*/ 0 h 6858000"/>
                <a:gd name="connsiteX14" fmla="*/ 5068559 w 6710715"/>
                <a:gd name="connsiteY14" fmla="*/ 0 h 6858000"/>
                <a:gd name="connsiteX15" fmla="*/ 5240994 w 6710715"/>
                <a:gd name="connsiteY15" fmla="*/ 0 h 6858000"/>
                <a:gd name="connsiteX16" fmla="*/ 6032289 w 6710715"/>
                <a:gd name="connsiteY16" fmla="*/ 0 h 6858000"/>
                <a:gd name="connsiteX17" fmla="*/ 6710715 w 6710715"/>
                <a:gd name="connsiteY17" fmla="*/ 0 h 6858000"/>
                <a:gd name="connsiteX18" fmla="*/ 6710715 w 6710715"/>
                <a:gd name="connsiteY18" fmla="*/ 6858000 h 6858000"/>
                <a:gd name="connsiteX19" fmla="*/ 6032289 w 6710715"/>
                <a:gd name="connsiteY19" fmla="*/ 6858000 h 6858000"/>
                <a:gd name="connsiteX20" fmla="*/ 2064020 w 6710715"/>
                <a:gd name="connsiteY20" fmla="*/ 6858000 h 6858000"/>
                <a:gd name="connsiteX21" fmla="*/ 1891586 w 6710715"/>
                <a:gd name="connsiteY21" fmla="*/ 6858000 h 6858000"/>
                <a:gd name="connsiteX22" fmla="*/ 1848121 w 6710715"/>
                <a:gd name="connsiteY22" fmla="*/ 6858000 h 6858000"/>
                <a:gd name="connsiteX23" fmla="*/ 1675685 w 6710715"/>
                <a:gd name="connsiteY23" fmla="*/ 6858000 h 6858000"/>
                <a:gd name="connsiteX24" fmla="*/ 1385594 w 6710715"/>
                <a:gd name="connsiteY24" fmla="*/ 6858000 h 6858000"/>
                <a:gd name="connsiteX25" fmla="*/ 1213160 w 6710715"/>
                <a:gd name="connsiteY25" fmla="*/ 6858000 h 6858000"/>
                <a:gd name="connsiteX26" fmla="*/ 1169695 w 6710715"/>
                <a:gd name="connsiteY26" fmla="*/ 6858000 h 6858000"/>
                <a:gd name="connsiteX27" fmla="*/ 1086120 w 6710715"/>
                <a:gd name="connsiteY27" fmla="*/ 6858000 h 6858000"/>
                <a:gd name="connsiteX28" fmla="*/ 997259 w 6710715"/>
                <a:gd name="connsiteY28" fmla="*/ 6858000 h 6858000"/>
                <a:gd name="connsiteX29" fmla="*/ 913685 w 6710715"/>
                <a:gd name="connsiteY29" fmla="*/ 6858000 h 6858000"/>
                <a:gd name="connsiteX30" fmla="*/ 870219 w 6710715"/>
                <a:gd name="connsiteY30" fmla="*/ 6858000 h 6858000"/>
                <a:gd name="connsiteX31" fmla="*/ 697786 w 6710715"/>
                <a:gd name="connsiteY31" fmla="*/ 6858000 h 6858000"/>
                <a:gd name="connsiteX32" fmla="*/ 407694 w 6710715"/>
                <a:gd name="connsiteY32" fmla="*/ 6858000 h 6858000"/>
                <a:gd name="connsiteX33" fmla="*/ 235259 w 6710715"/>
                <a:gd name="connsiteY33" fmla="*/ 6858000 h 6858000"/>
                <a:gd name="connsiteX34" fmla="*/ 191793 w 6710715"/>
                <a:gd name="connsiteY34" fmla="*/ 6858000 h 6858000"/>
                <a:gd name="connsiteX35" fmla="*/ 19360 w 6710715"/>
                <a:gd name="connsiteY35" fmla="*/ 6858000 h 6858000"/>
                <a:gd name="connsiteX36" fmla="*/ 17996 w 6710715"/>
                <a:gd name="connsiteY36" fmla="*/ 6849955 h 6858000"/>
                <a:gd name="connsiteX37" fmla="*/ 524526 w 6710715"/>
                <a:gd name="connsiteY37" fmla="*/ 5157900 h 6858000"/>
                <a:gd name="connsiteX38" fmla="*/ 1050926 w 6710715"/>
                <a:gd name="connsiteY38" fmla="*/ 4776304 h 6858000"/>
                <a:gd name="connsiteX39" fmla="*/ 2107797 w 6710715"/>
                <a:gd name="connsiteY39" fmla="*/ 4089223 h 6858000"/>
                <a:gd name="connsiteX40" fmla="*/ 2123121 w 6710715"/>
                <a:gd name="connsiteY40" fmla="*/ 4070634 h 6858000"/>
                <a:gd name="connsiteX41" fmla="*/ 2123121 w 6710715"/>
                <a:gd name="connsiteY41" fmla="*/ 6023844 h 6858000"/>
                <a:gd name="connsiteX42" fmla="*/ 2347679 w 6710715"/>
                <a:gd name="connsiteY42" fmla="*/ 6248402 h 6858000"/>
                <a:gd name="connsiteX43" fmla="*/ 4160197 w 6710715"/>
                <a:gd name="connsiteY43" fmla="*/ 6248402 h 6858000"/>
                <a:gd name="connsiteX44" fmla="*/ 4384755 w 6710715"/>
                <a:gd name="connsiteY44" fmla="*/ 6023844 h 6858000"/>
                <a:gd name="connsiteX45" fmla="*/ 4384755 w 6710715"/>
                <a:gd name="connsiteY45" fmla="*/ 1706652 h 6858000"/>
                <a:gd name="connsiteX46" fmla="*/ 4160197 w 6710715"/>
                <a:gd name="connsiteY46" fmla="*/ 1482094 h 6858000"/>
                <a:gd name="connsiteX47" fmla="*/ 2683917 w 6710715"/>
                <a:gd name="connsiteY47" fmla="*/ 1482094 h 6858000"/>
                <a:gd name="connsiteX48" fmla="*/ 2684201 w 6710715"/>
                <a:gd name="connsiteY48" fmla="*/ 1471626 h 6858000"/>
                <a:gd name="connsiteX49" fmla="*/ 3070301 w 6710715"/>
                <a:gd name="connsiteY49" fmla="*/ 188711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6710715" h="6858000">
                  <a:moveTo>
                    <a:pt x="3196333" y="0"/>
                  </a:moveTo>
                  <a:lnTo>
                    <a:pt x="3368768" y="0"/>
                  </a:lnTo>
                  <a:lnTo>
                    <a:pt x="3412233" y="0"/>
                  </a:lnTo>
                  <a:lnTo>
                    <a:pt x="3584668" y="0"/>
                  </a:lnTo>
                  <a:lnTo>
                    <a:pt x="3874759" y="0"/>
                  </a:lnTo>
                  <a:lnTo>
                    <a:pt x="4047194" y="0"/>
                  </a:lnTo>
                  <a:lnTo>
                    <a:pt x="4090659" y="0"/>
                  </a:lnTo>
                  <a:lnTo>
                    <a:pt x="4174233" y="0"/>
                  </a:lnTo>
                  <a:lnTo>
                    <a:pt x="4263094" y="0"/>
                  </a:lnTo>
                  <a:lnTo>
                    <a:pt x="4346668" y="0"/>
                  </a:lnTo>
                  <a:lnTo>
                    <a:pt x="4390133" y="0"/>
                  </a:lnTo>
                  <a:lnTo>
                    <a:pt x="4562568" y="0"/>
                  </a:lnTo>
                  <a:lnTo>
                    <a:pt x="4852659" y="0"/>
                  </a:lnTo>
                  <a:lnTo>
                    <a:pt x="5025094" y="0"/>
                  </a:lnTo>
                  <a:lnTo>
                    <a:pt x="5068559" y="0"/>
                  </a:lnTo>
                  <a:lnTo>
                    <a:pt x="5240994" y="0"/>
                  </a:lnTo>
                  <a:lnTo>
                    <a:pt x="6032289" y="0"/>
                  </a:lnTo>
                  <a:lnTo>
                    <a:pt x="6710715" y="0"/>
                  </a:lnTo>
                  <a:lnTo>
                    <a:pt x="6710715" y="6858000"/>
                  </a:lnTo>
                  <a:lnTo>
                    <a:pt x="6032289" y="6858000"/>
                  </a:lnTo>
                  <a:lnTo>
                    <a:pt x="2064020" y="6858000"/>
                  </a:lnTo>
                  <a:lnTo>
                    <a:pt x="1891586" y="6858000"/>
                  </a:lnTo>
                  <a:lnTo>
                    <a:pt x="1848121" y="6858000"/>
                  </a:lnTo>
                  <a:lnTo>
                    <a:pt x="1675685" y="6858000"/>
                  </a:lnTo>
                  <a:lnTo>
                    <a:pt x="1385594" y="6858000"/>
                  </a:lnTo>
                  <a:lnTo>
                    <a:pt x="1213160" y="6858000"/>
                  </a:lnTo>
                  <a:lnTo>
                    <a:pt x="1169695" y="6858000"/>
                  </a:lnTo>
                  <a:lnTo>
                    <a:pt x="1086120" y="6858000"/>
                  </a:lnTo>
                  <a:lnTo>
                    <a:pt x="997259" y="6858000"/>
                  </a:lnTo>
                  <a:lnTo>
                    <a:pt x="913685" y="6858000"/>
                  </a:lnTo>
                  <a:lnTo>
                    <a:pt x="870219" y="6858000"/>
                  </a:lnTo>
                  <a:lnTo>
                    <a:pt x="697786" y="6858000"/>
                  </a:lnTo>
                  <a:lnTo>
                    <a:pt x="407694" y="6858000"/>
                  </a:lnTo>
                  <a:lnTo>
                    <a:pt x="235259" y="6858000"/>
                  </a:lnTo>
                  <a:lnTo>
                    <a:pt x="191793" y="6858000"/>
                  </a:lnTo>
                  <a:lnTo>
                    <a:pt x="19360" y="6858000"/>
                  </a:lnTo>
                  <a:lnTo>
                    <a:pt x="17996" y="6849955"/>
                  </a:lnTo>
                  <a:cubicBezTo>
                    <a:pt x="-59197" y="6243442"/>
                    <a:pt x="112361" y="5604070"/>
                    <a:pt x="524526" y="5157900"/>
                  </a:cubicBezTo>
                  <a:cubicBezTo>
                    <a:pt x="682566" y="4986819"/>
                    <a:pt x="861469" y="4859893"/>
                    <a:pt x="1050926" y="4776304"/>
                  </a:cubicBezTo>
                  <a:cubicBezTo>
                    <a:pt x="1510655" y="4560362"/>
                    <a:pt x="1856134" y="4362372"/>
                    <a:pt x="2107797" y="4089223"/>
                  </a:cubicBezTo>
                  <a:lnTo>
                    <a:pt x="2123121" y="4070634"/>
                  </a:lnTo>
                  <a:lnTo>
                    <a:pt x="2123121" y="6023844"/>
                  </a:lnTo>
                  <a:cubicBezTo>
                    <a:pt x="2123121" y="6147864"/>
                    <a:pt x="2223659" y="6248402"/>
                    <a:pt x="2347679" y="6248402"/>
                  </a:cubicBezTo>
                  <a:lnTo>
                    <a:pt x="4160197" y="6248402"/>
                  </a:lnTo>
                  <a:cubicBezTo>
                    <a:pt x="4284217" y="6248402"/>
                    <a:pt x="4384755" y="6147864"/>
                    <a:pt x="4384755" y="6023844"/>
                  </a:cubicBezTo>
                  <a:lnTo>
                    <a:pt x="4384755" y="1706652"/>
                  </a:lnTo>
                  <a:cubicBezTo>
                    <a:pt x="4384755" y="1582632"/>
                    <a:pt x="4284217" y="1482094"/>
                    <a:pt x="4160197" y="1482094"/>
                  </a:cubicBezTo>
                  <a:lnTo>
                    <a:pt x="2683917" y="1482094"/>
                  </a:lnTo>
                  <a:lnTo>
                    <a:pt x="2684201" y="1471626"/>
                  </a:lnTo>
                  <a:cubicBezTo>
                    <a:pt x="2711133" y="1018671"/>
                    <a:pt x="2840462" y="573586"/>
                    <a:pt x="3070301" y="188711"/>
                  </a:cubicBezTo>
                  <a:close/>
                </a:path>
              </a:pathLst>
            </a:custGeom>
            <a:solidFill>
              <a:srgbClr val="EAEA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</p:grpSp>
      <p:sp>
        <p:nvSpPr>
          <p:cNvPr id="235" name="!!_Titre_01_!!">
            <a:extLst>
              <a:ext uri="{FF2B5EF4-FFF2-40B4-BE49-F238E27FC236}">
                <a16:creationId xmlns:a16="http://schemas.microsoft.com/office/drawing/2014/main" id="{65D64196-9E47-BE2E-0CBC-7A9CF0D3C160}"/>
              </a:ext>
            </a:extLst>
          </p:cNvPr>
          <p:cNvSpPr txBox="1"/>
          <p:nvPr/>
        </p:nvSpPr>
        <p:spPr>
          <a:xfrm>
            <a:off x="1366684" y="7012126"/>
            <a:ext cx="3790753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 ExtraBold" panose="00000900000000000000" pitchFamily="2" charset="0"/>
                <a:ea typeface="+mn-ea"/>
                <a:cs typeface="+mn-cs"/>
              </a:rPr>
              <a:t>Scanner votre ordonn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avant de vous rend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à la pharmacie </a:t>
            </a:r>
          </a:p>
        </p:txBody>
      </p:sp>
      <p:sp>
        <p:nvSpPr>
          <p:cNvPr id="237" name="!!_Texte_01a_!!">
            <a:extLst>
              <a:ext uri="{FF2B5EF4-FFF2-40B4-BE49-F238E27FC236}">
                <a16:creationId xmlns:a16="http://schemas.microsoft.com/office/drawing/2014/main" id="{9C5FD052-E0DC-D161-41EB-C3E3F70ACE39}"/>
              </a:ext>
            </a:extLst>
          </p:cNvPr>
          <p:cNvSpPr txBox="1"/>
          <p:nvPr/>
        </p:nvSpPr>
        <p:spPr>
          <a:xfrm>
            <a:off x="1366684" y="7994568"/>
            <a:ext cx="282959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 SemiBold" panose="00000700000000000000" pitchFamily="2" charset="0"/>
                <a:ea typeface="+mn-ea"/>
                <a:cs typeface="+mn-cs"/>
              </a:rPr>
              <a:t>Sensibilisation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 sur le prix </a:t>
            </a:r>
            <a:b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</a:b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réel du traitement et son impact environnemental</a:t>
            </a:r>
          </a:p>
        </p:txBody>
      </p:sp>
      <p:sp>
        <p:nvSpPr>
          <p:cNvPr id="238" name="!!_Texte_01b_!!">
            <a:extLst>
              <a:ext uri="{FF2B5EF4-FFF2-40B4-BE49-F238E27FC236}">
                <a16:creationId xmlns:a16="http://schemas.microsoft.com/office/drawing/2014/main" id="{762C5C52-A6B2-23E1-C1CF-BF48BD8EE0C0}"/>
              </a:ext>
            </a:extLst>
          </p:cNvPr>
          <p:cNvSpPr txBox="1"/>
          <p:nvPr/>
        </p:nvSpPr>
        <p:spPr>
          <a:xfrm>
            <a:off x="1366684" y="8884677"/>
            <a:ext cx="354081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 SemiBold" panose="00000700000000000000" pitchFamily="2" charset="0"/>
                <a:ea typeface="+mn-ea"/>
                <a:cs typeface="+mn-cs"/>
              </a:rPr>
              <a:t>Ordonnance ajustée 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en fonc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du stock disponible à la maison,  </a:t>
            </a:r>
            <a:b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</a:b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afin d'éviter l'achat de médicaments déjà en votre en possession </a:t>
            </a:r>
          </a:p>
        </p:txBody>
      </p:sp>
      <p:sp>
        <p:nvSpPr>
          <p:cNvPr id="12" name="!!_Titre_02_!!">
            <a:extLst>
              <a:ext uri="{FF2B5EF4-FFF2-40B4-BE49-F238E27FC236}">
                <a16:creationId xmlns:a16="http://schemas.microsoft.com/office/drawing/2014/main" id="{5FEE6C7E-D6C4-D7DB-0AFD-2F9F219A4762}"/>
              </a:ext>
            </a:extLst>
          </p:cNvPr>
          <p:cNvSpPr txBox="1"/>
          <p:nvPr/>
        </p:nvSpPr>
        <p:spPr>
          <a:xfrm>
            <a:off x="1366684" y="3429000"/>
            <a:ext cx="2795545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 ExtraBold" panose="00000900000000000000" pitchFamily="2" charset="0"/>
                <a:ea typeface="+mn-ea"/>
                <a:cs typeface="+mn-cs"/>
              </a:rPr>
              <a:t>Scanner le QR code</a:t>
            </a:r>
            <a:b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 ExtraBold" panose="00000900000000000000" pitchFamily="2" charset="0"/>
                <a:ea typeface="+mn-ea"/>
                <a:cs typeface="+mn-cs"/>
              </a:rPr>
            </a:b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555D7D"/>
                </a:solidFill>
                <a:effectLst/>
                <a:uLnTx/>
                <a:uFillTx/>
                <a:latin typeface="Montserrat Alternates ExtraBold" panose="00000900000000000000" pitchFamily="2" charset="0"/>
                <a:ea typeface="+mn-ea"/>
                <a:cs typeface="+mn-cs"/>
              </a:rPr>
              <a:t>présent sur vos boîtes </a:t>
            </a:r>
            <a:b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555D7D"/>
                </a:solidFill>
                <a:effectLst/>
                <a:uLnTx/>
                <a:uFillTx/>
                <a:latin typeface="Montserrat Alternates ExtraBold" panose="00000900000000000000" pitchFamily="2" charset="0"/>
                <a:ea typeface="+mn-ea"/>
                <a:cs typeface="+mn-cs"/>
              </a:rPr>
            </a:b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555D7D"/>
                </a:solidFill>
                <a:effectLst/>
                <a:uLnTx/>
                <a:uFillTx/>
                <a:latin typeface="Montserrat Alternates ExtraBold" panose="00000900000000000000" pitchFamily="2" charset="0"/>
                <a:ea typeface="+mn-ea"/>
                <a:cs typeface="+mn-cs"/>
              </a:rPr>
              <a:t>de médicament</a:t>
            </a:r>
          </a:p>
        </p:txBody>
      </p:sp>
      <p:sp>
        <p:nvSpPr>
          <p:cNvPr id="13" name="!!_Texte_02a_!!">
            <a:extLst>
              <a:ext uri="{FF2B5EF4-FFF2-40B4-BE49-F238E27FC236}">
                <a16:creationId xmlns:a16="http://schemas.microsoft.com/office/drawing/2014/main" id="{2C7649AF-DD23-ADA8-D1A4-AEEA79003129}"/>
              </a:ext>
            </a:extLst>
          </p:cNvPr>
          <p:cNvSpPr txBox="1"/>
          <p:nvPr/>
        </p:nvSpPr>
        <p:spPr>
          <a:xfrm>
            <a:off x="1366684" y="4411442"/>
            <a:ext cx="231631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Gestionnaire d’officine </a:t>
            </a:r>
            <a:b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 SemiBold" panose="00000700000000000000" pitchFamily="2" charset="0"/>
                <a:ea typeface="+mn-ea"/>
                <a:cs typeface="+mn-cs"/>
              </a:rPr>
            </a:b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à portée de main</a:t>
            </a:r>
          </a:p>
        </p:txBody>
      </p:sp>
      <p:sp>
        <p:nvSpPr>
          <p:cNvPr id="14" name="!!_Texte_02b_!!">
            <a:extLst>
              <a:ext uri="{FF2B5EF4-FFF2-40B4-BE49-F238E27FC236}">
                <a16:creationId xmlns:a16="http://schemas.microsoft.com/office/drawing/2014/main" id="{A4AC2108-4DED-501C-A896-C1D8B67A0FEE}"/>
              </a:ext>
            </a:extLst>
          </p:cNvPr>
          <p:cNvSpPr txBox="1"/>
          <p:nvPr/>
        </p:nvSpPr>
        <p:spPr>
          <a:xfrm>
            <a:off x="1366684" y="5029320"/>
            <a:ext cx="315598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 SemiBold" panose="00000700000000000000" pitchFamily="2" charset="0"/>
                <a:ea typeface="+mn-ea"/>
                <a:cs typeface="+mn-cs"/>
              </a:rPr>
              <a:t>Accès</a:t>
            </a: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 à toutes les informations </a:t>
            </a:r>
            <a:b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</a:b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et les modalités de stockage </a:t>
            </a:r>
          </a:p>
        </p:txBody>
      </p:sp>
      <p:sp>
        <p:nvSpPr>
          <p:cNvPr id="25" name="!!_Texte_02c_!!">
            <a:extLst>
              <a:ext uri="{FF2B5EF4-FFF2-40B4-BE49-F238E27FC236}">
                <a16:creationId xmlns:a16="http://schemas.microsoft.com/office/drawing/2014/main" id="{054F7A8E-9A90-3F0E-5B4F-945FF047A3EA}"/>
              </a:ext>
            </a:extLst>
          </p:cNvPr>
          <p:cNvSpPr txBox="1"/>
          <p:nvPr/>
        </p:nvSpPr>
        <p:spPr>
          <a:xfrm>
            <a:off x="1366685" y="5647199"/>
            <a:ext cx="263381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Notification pour </a:t>
            </a: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prévenir </a:t>
            </a:r>
            <a:b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</a:b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sur la péremption</a:t>
            </a:r>
          </a:p>
        </p:txBody>
      </p:sp>
      <p:sp>
        <p:nvSpPr>
          <p:cNvPr id="269" name="Rectangle : avec coins arrondis en haut 268">
            <a:extLst>
              <a:ext uri="{FF2B5EF4-FFF2-40B4-BE49-F238E27FC236}">
                <a16:creationId xmlns:a16="http://schemas.microsoft.com/office/drawing/2014/main" id="{18D84A72-01CE-089B-2B02-29C8C538283F}"/>
              </a:ext>
            </a:extLst>
          </p:cNvPr>
          <p:cNvSpPr/>
          <p:nvPr/>
        </p:nvSpPr>
        <p:spPr>
          <a:xfrm>
            <a:off x="0" y="3501035"/>
            <a:ext cx="1253744" cy="3356964"/>
          </a:xfrm>
          <a:prstGeom prst="round2SameRect">
            <a:avLst>
              <a:gd name="adj1" fmla="val 14135"/>
              <a:gd name="adj2" fmla="val 0"/>
            </a:avLst>
          </a:prstGeom>
          <a:solidFill>
            <a:srgbClr val="F4F4F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Alternates"/>
              <a:ea typeface="+mn-ea"/>
              <a:cs typeface="+mn-cs"/>
            </a:endParaRPr>
          </a:p>
        </p:txBody>
      </p:sp>
      <p:sp>
        <p:nvSpPr>
          <p:cNvPr id="268" name="ZoneTexte 267">
            <a:extLst>
              <a:ext uri="{FF2B5EF4-FFF2-40B4-BE49-F238E27FC236}">
                <a16:creationId xmlns:a16="http://schemas.microsoft.com/office/drawing/2014/main" id="{442727AB-0A41-ED10-8AD4-FEE3A429A6DE}"/>
              </a:ext>
            </a:extLst>
          </p:cNvPr>
          <p:cNvSpPr txBox="1"/>
          <p:nvPr/>
        </p:nvSpPr>
        <p:spPr>
          <a:xfrm>
            <a:off x="908516" y="3865247"/>
            <a:ext cx="345228" cy="2321241"/>
          </a:xfrm>
          <a:prstGeom prst="roundRect">
            <a:avLst>
              <a:gd name="adj" fmla="val 50000"/>
            </a:avLst>
          </a:prstGeom>
          <a:solidFill>
            <a:srgbClr val="9097B3">
              <a:alpha val="30000"/>
            </a:srgbClr>
          </a:solidFill>
        </p:spPr>
        <p:txBody>
          <a:bodyPr wrap="non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Alternates ExtraBold" panose="00000900000000000000" pitchFamily="2" charset="0"/>
              <a:ea typeface="+mn-ea"/>
              <a:cs typeface="+mn-cs"/>
            </a:endParaRPr>
          </a:p>
        </p:txBody>
      </p:sp>
      <p:sp>
        <p:nvSpPr>
          <p:cNvPr id="15" name="!!_02_!!">
            <a:extLst>
              <a:ext uri="{FF2B5EF4-FFF2-40B4-BE49-F238E27FC236}">
                <a16:creationId xmlns:a16="http://schemas.microsoft.com/office/drawing/2014/main" id="{A51A97DE-3AEA-C888-3841-4CA945CD4000}"/>
              </a:ext>
            </a:extLst>
          </p:cNvPr>
          <p:cNvSpPr txBox="1"/>
          <p:nvPr/>
        </p:nvSpPr>
        <p:spPr>
          <a:xfrm>
            <a:off x="908516" y="3501035"/>
            <a:ext cx="345228" cy="686928"/>
          </a:xfrm>
          <a:prstGeom prst="roundRect">
            <a:avLst>
              <a:gd name="adj" fmla="val 50000"/>
            </a:avLst>
          </a:prstGeom>
          <a:solidFill>
            <a:srgbClr val="555D7D"/>
          </a:solidFill>
        </p:spPr>
        <p:txBody>
          <a:bodyPr wrap="non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Alternates ExtraBold" panose="00000900000000000000" pitchFamily="2" charset="0"/>
                <a:ea typeface="+mn-ea"/>
                <a:cs typeface="+mn-cs"/>
              </a:rPr>
              <a:t>2</a:t>
            </a:r>
          </a:p>
        </p:txBody>
      </p:sp>
      <p:grpSp>
        <p:nvGrpSpPr>
          <p:cNvPr id="229" name="!!_Picto_02b_!!">
            <a:extLst>
              <a:ext uri="{FF2B5EF4-FFF2-40B4-BE49-F238E27FC236}">
                <a16:creationId xmlns:a16="http://schemas.microsoft.com/office/drawing/2014/main" id="{4EC94078-561C-ABA6-2396-ACB4E3D039F5}"/>
              </a:ext>
            </a:extLst>
          </p:cNvPr>
          <p:cNvGrpSpPr>
            <a:grpSpLocks noChangeAspect="1"/>
          </p:cNvGrpSpPr>
          <p:nvPr/>
        </p:nvGrpSpPr>
        <p:grpSpPr>
          <a:xfrm>
            <a:off x="983838" y="5189114"/>
            <a:ext cx="194403" cy="194400"/>
            <a:chOff x="3033712" y="366712"/>
            <a:chExt cx="6121431" cy="6121336"/>
          </a:xfrm>
          <a:noFill/>
        </p:grpSpPr>
        <p:sp>
          <p:nvSpPr>
            <p:cNvPr id="230" name="Forme libre : forme 229">
              <a:extLst>
                <a:ext uri="{FF2B5EF4-FFF2-40B4-BE49-F238E27FC236}">
                  <a16:creationId xmlns:a16="http://schemas.microsoft.com/office/drawing/2014/main" id="{CFF71B62-0041-A025-AE57-86179FF22146}"/>
                </a:ext>
              </a:extLst>
            </p:cNvPr>
            <p:cNvSpPr/>
            <p:nvPr/>
          </p:nvSpPr>
          <p:spPr>
            <a:xfrm>
              <a:off x="3033712" y="366712"/>
              <a:ext cx="6121431" cy="6121336"/>
            </a:xfrm>
            <a:custGeom>
              <a:avLst/>
              <a:gdLst>
                <a:gd name="connsiteX0" fmla="*/ 6121432 w 6121431"/>
                <a:gd name="connsiteY0" fmla="*/ 3060668 h 6121336"/>
                <a:gd name="connsiteX1" fmla="*/ 3060764 w 6121431"/>
                <a:gd name="connsiteY1" fmla="*/ 6121336 h 6121336"/>
                <a:gd name="connsiteX2" fmla="*/ 0 w 6121431"/>
                <a:gd name="connsiteY2" fmla="*/ 3060668 h 6121336"/>
                <a:gd name="connsiteX3" fmla="*/ 3060668 w 6121431"/>
                <a:gd name="connsiteY3" fmla="*/ 0 h 6121336"/>
                <a:gd name="connsiteX4" fmla="*/ 6121336 w 6121431"/>
                <a:gd name="connsiteY4" fmla="*/ 3060668 h 6121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21431" h="6121336">
                  <a:moveTo>
                    <a:pt x="6121432" y="3060668"/>
                  </a:moveTo>
                  <a:cubicBezTo>
                    <a:pt x="6121432" y="4751070"/>
                    <a:pt x="4751070" y="6121336"/>
                    <a:pt x="3060764" y="6121336"/>
                  </a:cubicBezTo>
                  <a:cubicBezTo>
                    <a:pt x="1370457" y="6121336"/>
                    <a:pt x="0" y="4751070"/>
                    <a:pt x="0" y="3060668"/>
                  </a:cubicBezTo>
                  <a:cubicBezTo>
                    <a:pt x="0" y="1370267"/>
                    <a:pt x="1370362" y="0"/>
                    <a:pt x="3060668" y="0"/>
                  </a:cubicBezTo>
                  <a:cubicBezTo>
                    <a:pt x="4750975" y="0"/>
                    <a:pt x="6121336" y="1370362"/>
                    <a:pt x="6121336" y="3060668"/>
                  </a:cubicBezTo>
                  <a:close/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31" name="Forme libre : forme 230">
              <a:extLst>
                <a:ext uri="{FF2B5EF4-FFF2-40B4-BE49-F238E27FC236}">
                  <a16:creationId xmlns:a16="http://schemas.microsoft.com/office/drawing/2014/main" id="{3D4A4E4C-22F9-842C-0234-8B8031E90B63}"/>
                </a:ext>
              </a:extLst>
            </p:cNvPr>
            <p:cNvSpPr/>
            <p:nvPr/>
          </p:nvSpPr>
          <p:spPr>
            <a:xfrm>
              <a:off x="5402865" y="2976371"/>
              <a:ext cx="1433893" cy="2288952"/>
            </a:xfrm>
            <a:custGeom>
              <a:avLst/>
              <a:gdLst>
                <a:gd name="connsiteX0" fmla="*/ 1338072 w 1433893"/>
                <a:gd name="connsiteY0" fmla="*/ 1632394 h 2288952"/>
                <a:gd name="connsiteX1" fmla="*/ 1152906 w 1433893"/>
                <a:gd name="connsiteY1" fmla="*/ 1632394 h 2288952"/>
                <a:gd name="connsiteX2" fmla="*/ 1138714 w 1433893"/>
                <a:gd name="connsiteY2" fmla="*/ 1618202 h 2288952"/>
                <a:gd name="connsiteX3" fmla="*/ 1138714 w 1433893"/>
                <a:gd name="connsiteY3" fmla="*/ 95821 h 2288952"/>
                <a:gd name="connsiteX4" fmla="*/ 1042892 w 1433893"/>
                <a:gd name="connsiteY4" fmla="*/ 0 h 2288952"/>
                <a:gd name="connsiteX5" fmla="*/ 95821 w 1433893"/>
                <a:gd name="connsiteY5" fmla="*/ 0 h 2288952"/>
                <a:gd name="connsiteX6" fmla="*/ 0 w 1433893"/>
                <a:gd name="connsiteY6" fmla="*/ 95821 h 2288952"/>
                <a:gd name="connsiteX7" fmla="*/ 0 w 1433893"/>
                <a:gd name="connsiteY7" fmla="*/ 560737 h 2288952"/>
                <a:gd name="connsiteX8" fmla="*/ 95821 w 1433893"/>
                <a:gd name="connsiteY8" fmla="*/ 656558 h 2288952"/>
                <a:gd name="connsiteX9" fmla="*/ 281940 w 1433893"/>
                <a:gd name="connsiteY9" fmla="*/ 656558 h 2288952"/>
                <a:gd name="connsiteX10" fmla="*/ 296132 w 1433893"/>
                <a:gd name="connsiteY10" fmla="*/ 670750 h 2288952"/>
                <a:gd name="connsiteX11" fmla="*/ 296132 w 1433893"/>
                <a:gd name="connsiteY11" fmla="*/ 1618202 h 2288952"/>
                <a:gd name="connsiteX12" fmla="*/ 281940 w 1433893"/>
                <a:gd name="connsiteY12" fmla="*/ 1632394 h 2288952"/>
                <a:gd name="connsiteX13" fmla="*/ 95821 w 1433893"/>
                <a:gd name="connsiteY13" fmla="*/ 1632394 h 2288952"/>
                <a:gd name="connsiteX14" fmla="*/ 0 w 1433893"/>
                <a:gd name="connsiteY14" fmla="*/ 1728216 h 2288952"/>
                <a:gd name="connsiteX15" fmla="*/ 0 w 1433893"/>
                <a:gd name="connsiteY15" fmla="*/ 2193131 h 2288952"/>
                <a:gd name="connsiteX16" fmla="*/ 95821 w 1433893"/>
                <a:gd name="connsiteY16" fmla="*/ 2288953 h 2288952"/>
                <a:gd name="connsiteX17" fmla="*/ 1338072 w 1433893"/>
                <a:gd name="connsiteY17" fmla="*/ 2288953 h 2288952"/>
                <a:gd name="connsiteX18" fmla="*/ 1433893 w 1433893"/>
                <a:gd name="connsiteY18" fmla="*/ 2193131 h 2288952"/>
                <a:gd name="connsiteX19" fmla="*/ 1433893 w 1433893"/>
                <a:gd name="connsiteY19" fmla="*/ 1728216 h 2288952"/>
                <a:gd name="connsiteX20" fmla="*/ 1338072 w 1433893"/>
                <a:gd name="connsiteY20" fmla="*/ 1632394 h 2288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433893" h="2288952">
                  <a:moveTo>
                    <a:pt x="1338072" y="1632394"/>
                  </a:moveTo>
                  <a:lnTo>
                    <a:pt x="1152906" y="1632394"/>
                  </a:lnTo>
                  <a:cubicBezTo>
                    <a:pt x="1145096" y="1632394"/>
                    <a:pt x="1138714" y="1626013"/>
                    <a:pt x="1138714" y="1618202"/>
                  </a:cubicBezTo>
                  <a:lnTo>
                    <a:pt x="1138714" y="95821"/>
                  </a:lnTo>
                  <a:cubicBezTo>
                    <a:pt x="1138714" y="42863"/>
                    <a:pt x="1095756" y="0"/>
                    <a:pt x="1042892" y="0"/>
                  </a:cubicBezTo>
                  <a:lnTo>
                    <a:pt x="95821" y="0"/>
                  </a:lnTo>
                  <a:cubicBezTo>
                    <a:pt x="42863" y="0"/>
                    <a:pt x="0" y="42958"/>
                    <a:pt x="0" y="95821"/>
                  </a:cubicBezTo>
                  <a:lnTo>
                    <a:pt x="0" y="560737"/>
                  </a:lnTo>
                  <a:cubicBezTo>
                    <a:pt x="0" y="613696"/>
                    <a:pt x="42958" y="656558"/>
                    <a:pt x="95821" y="656558"/>
                  </a:cubicBezTo>
                  <a:lnTo>
                    <a:pt x="281940" y="656558"/>
                  </a:lnTo>
                  <a:cubicBezTo>
                    <a:pt x="289750" y="656558"/>
                    <a:pt x="296132" y="662940"/>
                    <a:pt x="296132" y="670750"/>
                  </a:cubicBezTo>
                  <a:lnTo>
                    <a:pt x="296132" y="1618202"/>
                  </a:lnTo>
                  <a:cubicBezTo>
                    <a:pt x="296132" y="1626013"/>
                    <a:pt x="289750" y="1632394"/>
                    <a:pt x="281940" y="1632394"/>
                  </a:cubicBezTo>
                  <a:lnTo>
                    <a:pt x="95821" y="1632394"/>
                  </a:lnTo>
                  <a:cubicBezTo>
                    <a:pt x="42863" y="1632394"/>
                    <a:pt x="0" y="1675352"/>
                    <a:pt x="0" y="1728216"/>
                  </a:cubicBezTo>
                  <a:lnTo>
                    <a:pt x="0" y="2193131"/>
                  </a:lnTo>
                  <a:cubicBezTo>
                    <a:pt x="0" y="2246090"/>
                    <a:pt x="42958" y="2288953"/>
                    <a:pt x="95821" y="2288953"/>
                  </a:cubicBezTo>
                  <a:lnTo>
                    <a:pt x="1338072" y="2288953"/>
                  </a:lnTo>
                  <a:cubicBezTo>
                    <a:pt x="1391031" y="2288953"/>
                    <a:pt x="1433893" y="2245995"/>
                    <a:pt x="1433893" y="2193131"/>
                  </a:cubicBezTo>
                  <a:lnTo>
                    <a:pt x="1433893" y="1728216"/>
                  </a:lnTo>
                  <a:cubicBezTo>
                    <a:pt x="1433893" y="1675257"/>
                    <a:pt x="1390936" y="1632394"/>
                    <a:pt x="1338072" y="1632394"/>
                  </a:cubicBezTo>
                  <a:close/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34" name="Forme libre : forme 233">
              <a:extLst>
                <a:ext uri="{FF2B5EF4-FFF2-40B4-BE49-F238E27FC236}">
                  <a16:creationId xmlns:a16="http://schemas.microsoft.com/office/drawing/2014/main" id="{2C44B5E2-BE6A-4723-948A-D7F85E9A02B2}"/>
                </a:ext>
              </a:extLst>
            </p:cNvPr>
            <p:cNvSpPr/>
            <p:nvPr/>
          </p:nvSpPr>
          <p:spPr>
            <a:xfrm>
              <a:off x="5695282" y="1589436"/>
              <a:ext cx="849058" cy="849058"/>
            </a:xfrm>
            <a:custGeom>
              <a:avLst/>
              <a:gdLst>
                <a:gd name="connsiteX0" fmla="*/ 849059 w 849058"/>
                <a:gd name="connsiteY0" fmla="*/ 424529 h 849058"/>
                <a:gd name="connsiteX1" fmla="*/ 424529 w 849058"/>
                <a:gd name="connsiteY1" fmla="*/ 849059 h 849058"/>
                <a:gd name="connsiteX2" fmla="*/ 0 w 849058"/>
                <a:gd name="connsiteY2" fmla="*/ 424529 h 849058"/>
                <a:gd name="connsiteX3" fmla="*/ 424529 w 849058"/>
                <a:gd name="connsiteY3" fmla="*/ 0 h 849058"/>
                <a:gd name="connsiteX4" fmla="*/ 849059 w 849058"/>
                <a:gd name="connsiteY4" fmla="*/ 424529 h 849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9058" h="849058">
                  <a:moveTo>
                    <a:pt x="849059" y="424529"/>
                  </a:moveTo>
                  <a:cubicBezTo>
                    <a:pt x="849059" y="658940"/>
                    <a:pt x="659035" y="849059"/>
                    <a:pt x="424529" y="849059"/>
                  </a:cubicBezTo>
                  <a:cubicBezTo>
                    <a:pt x="190024" y="849059"/>
                    <a:pt x="0" y="659035"/>
                    <a:pt x="0" y="424529"/>
                  </a:cubicBezTo>
                  <a:cubicBezTo>
                    <a:pt x="0" y="190024"/>
                    <a:pt x="190024" y="0"/>
                    <a:pt x="424529" y="0"/>
                  </a:cubicBezTo>
                  <a:cubicBezTo>
                    <a:pt x="659035" y="0"/>
                    <a:pt x="849059" y="190024"/>
                    <a:pt x="849059" y="424529"/>
                  </a:cubicBezTo>
                  <a:close/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</p:grpSp>
      <p:grpSp>
        <p:nvGrpSpPr>
          <p:cNvPr id="240" name="!!_Picto_02a_!!">
            <a:extLst>
              <a:ext uri="{FF2B5EF4-FFF2-40B4-BE49-F238E27FC236}">
                <a16:creationId xmlns:a16="http://schemas.microsoft.com/office/drawing/2014/main" id="{D2C5F6D5-9C6E-E64E-82E4-E7299007534B}"/>
              </a:ext>
            </a:extLst>
          </p:cNvPr>
          <p:cNvGrpSpPr>
            <a:grpSpLocks noChangeAspect="1"/>
          </p:cNvGrpSpPr>
          <p:nvPr/>
        </p:nvGrpSpPr>
        <p:grpSpPr>
          <a:xfrm>
            <a:off x="983838" y="4580936"/>
            <a:ext cx="194400" cy="194049"/>
            <a:chOff x="3847691" y="1185576"/>
            <a:chExt cx="4496494" cy="4488370"/>
          </a:xfrm>
          <a:noFill/>
        </p:grpSpPr>
        <p:sp>
          <p:nvSpPr>
            <p:cNvPr id="241" name="Forme libre : forme 240">
              <a:extLst>
                <a:ext uri="{FF2B5EF4-FFF2-40B4-BE49-F238E27FC236}">
                  <a16:creationId xmlns:a16="http://schemas.microsoft.com/office/drawing/2014/main" id="{1E8A6932-2D3F-E7EE-3D6E-43AE58FA4E17}"/>
                </a:ext>
              </a:extLst>
            </p:cNvPr>
            <p:cNvSpPr/>
            <p:nvPr/>
          </p:nvSpPr>
          <p:spPr>
            <a:xfrm>
              <a:off x="3847691" y="2894075"/>
              <a:ext cx="3047360" cy="2779871"/>
            </a:xfrm>
            <a:custGeom>
              <a:avLst/>
              <a:gdLst>
                <a:gd name="connsiteX0" fmla="*/ 1566128 w 3047360"/>
                <a:gd name="connsiteY0" fmla="*/ 2019110 h 2779871"/>
                <a:gd name="connsiteX1" fmla="*/ 2935919 w 3047360"/>
                <a:gd name="connsiteY1" fmla="*/ 649319 h 2779871"/>
                <a:gd name="connsiteX2" fmla="*/ 2935919 w 3047360"/>
                <a:gd name="connsiteY2" fmla="*/ 111442 h 2779871"/>
                <a:gd name="connsiteX3" fmla="*/ 2397946 w 3047360"/>
                <a:gd name="connsiteY3" fmla="*/ 111442 h 2779871"/>
                <a:gd name="connsiteX4" fmla="*/ 1860356 w 3047360"/>
                <a:gd name="connsiteY4" fmla="*/ 649034 h 2779871"/>
                <a:gd name="connsiteX5" fmla="*/ 918619 w 3047360"/>
                <a:gd name="connsiteY5" fmla="*/ 292608 h 2779871"/>
                <a:gd name="connsiteX6" fmla="*/ 514854 w 3047360"/>
                <a:gd name="connsiteY6" fmla="*/ 379476 h 2779871"/>
                <a:gd name="connsiteX7" fmla="*/ 434177 w 3047360"/>
                <a:gd name="connsiteY7" fmla="*/ 498443 h 2779871"/>
                <a:gd name="connsiteX8" fmla="*/ 30698 w 3047360"/>
                <a:gd name="connsiteY8" fmla="*/ 1439799 h 2779871"/>
                <a:gd name="connsiteX9" fmla="*/ 111375 w 3047360"/>
                <a:gd name="connsiteY9" fmla="*/ 1858709 h 2779871"/>
                <a:gd name="connsiteX10" fmla="*/ 918238 w 3047360"/>
                <a:gd name="connsiteY10" fmla="*/ 2665571 h 2779871"/>
                <a:gd name="connsiteX11" fmla="*/ 1186176 w 3047360"/>
                <a:gd name="connsiteY11" fmla="*/ 2777014 h 2779871"/>
                <a:gd name="connsiteX12" fmla="*/ 2290124 w 3047360"/>
                <a:gd name="connsiteY12" fmla="*/ 2779871 h 2779871"/>
                <a:gd name="connsiteX13" fmla="*/ 2670457 w 3047360"/>
                <a:gd name="connsiteY13" fmla="*/ 2399538 h 2779871"/>
                <a:gd name="connsiteX14" fmla="*/ 2290124 w 3047360"/>
                <a:gd name="connsiteY14" fmla="*/ 2019205 h 2779871"/>
                <a:gd name="connsiteX15" fmla="*/ 1565938 w 3047360"/>
                <a:gd name="connsiteY15" fmla="*/ 2019205 h 2779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47360" h="2779871">
                  <a:moveTo>
                    <a:pt x="1566128" y="2019110"/>
                  </a:moveTo>
                  <a:lnTo>
                    <a:pt x="2935919" y="649319"/>
                  </a:lnTo>
                  <a:cubicBezTo>
                    <a:pt x="3084509" y="500729"/>
                    <a:pt x="3084509" y="259937"/>
                    <a:pt x="2935919" y="111442"/>
                  </a:cubicBezTo>
                  <a:cubicBezTo>
                    <a:pt x="2787328" y="-37147"/>
                    <a:pt x="2546536" y="-37147"/>
                    <a:pt x="2397946" y="111442"/>
                  </a:cubicBezTo>
                  <a:lnTo>
                    <a:pt x="1860356" y="649034"/>
                  </a:lnTo>
                  <a:lnTo>
                    <a:pt x="918619" y="292608"/>
                  </a:lnTo>
                  <a:cubicBezTo>
                    <a:pt x="783078" y="241363"/>
                    <a:pt x="624010" y="270320"/>
                    <a:pt x="514854" y="379476"/>
                  </a:cubicBezTo>
                  <a:cubicBezTo>
                    <a:pt x="479611" y="414719"/>
                    <a:pt x="452656" y="455200"/>
                    <a:pt x="434177" y="498443"/>
                  </a:cubicBezTo>
                  <a:lnTo>
                    <a:pt x="30698" y="1439799"/>
                  </a:lnTo>
                  <a:cubicBezTo>
                    <a:pt x="-28738" y="1578578"/>
                    <a:pt x="-1877" y="1745456"/>
                    <a:pt x="111375" y="1858709"/>
                  </a:cubicBezTo>
                  <a:lnTo>
                    <a:pt x="918238" y="2665571"/>
                  </a:lnTo>
                  <a:cubicBezTo>
                    <a:pt x="992247" y="2739581"/>
                    <a:pt x="1089211" y="2776728"/>
                    <a:pt x="1186176" y="2777014"/>
                  </a:cubicBezTo>
                  <a:cubicBezTo>
                    <a:pt x="1186176" y="2777014"/>
                    <a:pt x="2289838" y="2779871"/>
                    <a:pt x="2290124" y="2779871"/>
                  </a:cubicBezTo>
                  <a:cubicBezTo>
                    <a:pt x="2500150" y="2779871"/>
                    <a:pt x="2670457" y="2609564"/>
                    <a:pt x="2670457" y="2399538"/>
                  </a:cubicBezTo>
                  <a:cubicBezTo>
                    <a:pt x="2670457" y="2189512"/>
                    <a:pt x="2500150" y="2019205"/>
                    <a:pt x="2290124" y="2019205"/>
                  </a:cubicBezTo>
                  <a:lnTo>
                    <a:pt x="1565938" y="2019205"/>
                  </a:lnTo>
                  <a:close/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42" name="Forme libre : forme 241">
              <a:extLst>
                <a:ext uri="{FF2B5EF4-FFF2-40B4-BE49-F238E27FC236}">
                  <a16:creationId xmlns:a16="http://schemas.microsoft.com/office/drawing/2014/main" id="{5D4B5574-CA4B-87FC-19AB-49BA286B5917}"/>
                </a:ext>
              </a:extLst>
            </p:cNvPr>
            <p:cNvSpPr/>
            <p:nvPr/>
          </p:nvSpPr>
          <p:spPr>
            <a:xfrm>
              <a:off x="5757576" y="1185576"/>
              <a:ext cx="2586608" cy="4488370"/>
            </a:xfrm>
            <a:custGeom>
              <a:avLst/>
              <a:gdLst>
                <a:gd name="connsiteX0" fmla="*/ 1445514 w 2586608"/>
                <a:gd name="connsiteY0" fmla="*/ 4488371 h 4488370"/>
                <a:gd name="connsiteX1" fmla="*/ 1825847 w 2586608"/>
                <a:gd name="connsiteY1" fmla="*/ 4488371 h 4488370"/>
                <a:gd name="connsiteX2" fmla="*/ 2586609 w 2586608"/>
                <a:gd name="connsiteY2" fmla="*/ 3727609 h 4488370"/>
                <a:gd name="connsiteX3" fmla="*/ 2586609 w 2586608"/>
                <a:gd name="connsiteY3" fmla="*/ 760762 h 4488370"/>
                <a:gd name="connsiteX4" fmla="*/ 1825847 w 2586608"/>
                <a:gd name="connsiteY4" fmla="*/ 0 h 4488370"/>
                <a:gd name="connsiteX5" fmla="*/ 760762 w 2586608"/>
                <a:gd name="connsiteY5" fmla="*/ 0 h 4488370"/>
                <a:gd name="connsiteX6" fmla="*/ 0 w 2586608"/>
                <a:gd name="connsiteY6" fmla="*/ 760762 h 4488370"/>
                <a:gd name="connsiteX7" fmla="*/ 0 w 2586608"/>
                <a:gd name="connsiteY7" fmla="*/ 1235202 h 4488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6608" h="4488370">
                  <a:moveTo>
                    <a:pt x="1445514" y="4488371"/>
                  </a:moveTo>
                  <a:lnTo>
                    <a:pt x="1825847" y="4488371"/>
                  </a:lnTo>
                  <a:cubicBezTo>
                    <a:pt x="2245995" y="4488371"/>
                    <a:pt x="2586609" y="4147757"/>
                    <a:pt x="2586609" y="3727609"/>
                  </a:cubicBezTo>
                  <a:lnTo>
                    <a:pt x="2586609" y="760762"/>
                  </a:lnTo>
                  <a:cubicBezTo>
                    <a:pt x="2586609" y="340614"/>
                    <a:pt x="2245995" y="0"/>
                    <a:pt x="1825847" y="0"/>
                  </a:cubicBezTo>
                  <a:lnTo>
                    <a:pt x="760762" y="0"/>
                  </a:lnTo>
                  <a:cubicBezTo>
                    <a:pt x="340614" y="0"/>
                    <a:pt x="0" y="340614"/>
                    <a:pt x="0" y="760762"/>
                  </a:cubicBezTo>
                  <a:lnTo>
                    <a:pt x="0" y="1235202"/>
                  </a:ln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44" name="Forme libre : forme 243">
              <a:extLst>
                <a:ext uri="{FF2B5EF4-FFF2-40B4-BE49-F238E27FC236}">
                  <a16:creationId xmlns:a16="http://schemas.microsoft.com/office/drawing/2014/main" id="{B597987E-5C4B-7DB5-2228-004C402D3040}"/>
                </a:ext>
              </a:extLst>
            </p:cNvPr>
            <p:cNvSpPr/>
            <p:nvPr/>
          </p:nvSpPr>
          <p:spPr>
            <a:xfrm>
              <a:off x="6898767" y="1946338"/>
              <a:ext cx="304323" cy="9525"/>
            </a:xfrm>
            <a:custGeom>
              <a:avLst/>
              <a:gdLst>
                <a:gd name="connsiteX0" fmla="*/ 304324 w 304323"/>
                <a:gd name="connsiteY0" fmla="*/ 0 h 9525"/>
                <a:gd name="connsiteX1" fmla="*/ 0 w 30432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4323" h="9525">
                  <a:moveTo>
                    <a:pt x="304324" y="0"/>
                  </a:move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</p:grpSp>
      <p:grpSp>
        <p:nvGrpSpPr>
          <p:cNvPr id="257" name="!!_Picto_02c_!!">
            <a:extLst>
              <a:ext uri="{FF2B5EF4-FFF2-40B4-BE49-F238E27FC236}">
                <a16:creationId xmlns:a16="http://schemas.microsoft.com/office/drawing/2014/main" id="{D80A1165-37C9-3546-B4F6-2297E9A1DF34}"/>
              </a:ext>
            </a:extLst>
          </p:cNvPr>
          <p:cNvGrpSpPr>
            <a:grpSpLocks noChangeAspect="1"/>
          </p:cNvGrpSpPr>
          <p:nvPr/>
        </p:nvGrpSpPr>
        <p:grpSpPr>
          <a:xfrm>
            <a:off x="983930" y="5791760"/>
            <a:ext cx="194400" cy="234098"/>
            <a:chOff x="3606831" y="430243"/>
            <a:chExt cx="4977860" cy="5994368"/>
          </a:xfrm>
          <a:noFill/>
        </p:grpSpPr>
        <p:sp>
          <p:nvSpPr>
            <p:cNvPr id="258" name="Forme libre : forme 257">
              <a:extLst>
                <a:ext uri="{FF2B5EF4-FFF2-40B4-BE49-F238E27FC236}">
                  <a16:creationId xmlns:a16="http://schemas.microsoft.com/office/drawing/2014/main" id="{CEB381DE-1212-030D-088B-AA6692BA11D8}"/>
                </a:ext>
              </a:extLst>
            </p:cNvPr>
            <p:cNvSpPr/>
            <p:nvPr/>
          </p:nvSpPr>
          <p:spPr>
            <a:xfrm>
              <a:off x="3606831" y="430243"/>
              <a:ext cx="966596" cy="1523999"/>
            </a:xfrm>
            <a:custGeom>
              <a:avLst/>
              <a:gdLst>
                <a:gd name="connsiteX0" fmla="*/ 0 w 966596"/>
                <a:gd name="connsiteY0" fmla="*/ 1524000 h 1523999"/>
                <a:gd name="connsiteX1" fmla="*/ 966597 w 966596"/>
                <a:gd name="connsiteY1" fmla="*/ 0 h 152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6596" h="1523999">
                  <a:moveTo>
                    <a:pt x="0" y="1524000"/>
                  </a:moveTo>
                  <a:cubicBezTo>
                    <a:pt x="126206" y="904685"/>
                    <a:pt x="478536" y="366617"/>
                    <a:pt x="966597" y="0"/>
                  </a:cubicBez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59" name="Forme libre : forme 258">
              <a:extLst>
                <a:ext uri="{FF2B5EF4-FFF2-40B4-BE49-F238E27FC236}">
                  <a16:creationId xmlns:a16="http://schemas.microsoft.com/office/drawing/2014/main" id="{A84C18DA-6552-7874-CFF4-0DF9F7246496}"/>
                </a:ext>
              </a:extLst>
            </p:cNvPr>
            <p:cNvSpPr/>
            <p:nvPr/>
          </p:nvSpPr>
          <p:spPr>
            <a:xfrm>
              <a:off x="4063841" y="938212"/>
              <a:ext cx="4063936" cy="3962400"/>
            </a:xfrm>
            <a:custGeom>
              <a:avLst/>
              <a:gdLst>
                <a:gd name="connsiteX0" fmla="*/ 3555968 w 4063936"/>
                <a:gd name="connsiteY0" fmla="*/ 2576989 h 3962400"/>
                <a:gd name="connsiteX1" fmla="*/ 3555968 w 4063936"/>
                <a:gd name="connsiteY1" fmla="*/ 1524000 h 3962400"/>
                <a:gd name="connsiteX2" fmla="*/ 2031968 w 4063936"/>
                <a:gd name="connsiteY2" fmla="*/ 0 h 3962400"/>
                <a:gd name="connsiteX3" fmla="*/ 507968 w 4063936"/>
                <a:gd name="connsiteY3" fmla="*/ 1524000 h 3962400"/>
                <a:gd name="connsiteX4" fmla="*/ 507968 w 4063936"/>
                <a:gd name="connsiteY4" fmla="*/ 2576989 h 3962400"/>
                <a:gd name="connsiteX5" fmla="*/ 271748 w 4063936"/>
                <a:gd name="connsiteY5" fmla="*/ 3004566 h 3962400"/>
                <a:gd name="connsiteX6" fmla="*/ 0 w 4063936"/>
                <a:gd name="connsiteY6" fmla="*/ 3454432 h 3962400"/>
                <a:gd name="connsiteX7" fmla="*/ 507968 w 4063936"/>
                <a:gd name="connsiteY7" fmla="*/ 3962400 h 3962400"/>
                <a:gd name="connsiteX8" fmla="*/ 3555968 w 4063936"/>
                <a:gd name="connsiteY8" fmla="*/ 3962400 h 3962400"/>
                <a:gd name="connsiteX9" fmla="*/ 4063937 w 4063936"/>
                <a:gd name="connsiteY9" fmla="*/ 3454432 h 3962400"/>
                <a:gd name="connsiteX10" fmla="*/ 3792188 w 4063936"/>
                <a:gd name="connsiteY10" fmla="*/ 3004566 h 3962400"/>
                <a:gd name="connsiteX11" fmla="*/ 3555968 w 4063936"/>
                <a:gd name="connsiteY11" fmla="*/ 2576989 h 396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63936" h="3962400">
                  <a:moveTo>
                    <a:pt x="3555968" y="2576989"/>
                  </a:moveTo>
                  <a:lnTo>
                    <a:pt x="3555968" y="1524000"/>
                  </a:lnTo>
                  <a:cubicBezTo>
                    <a:pt x="3555968" y="682276"/>
                    <a:pt x="2873693" y="0"/>
                    <a:pt x="2031968" y="0"/>
                  </a:cubicBezTo>
                  <a:cubicBezTo>
                    <a:pt x="1190244" y="0"/>
                    <a:pt x="507968" y="682276"/>
                    <a:pt x="507968" y="1524000"/>
                  </a:cubicBezTo>
                  <a:lnTo>
                    <a:pt x="507968" y="2576989"/>
                  </a:lnTo>
                  <a:cubicBezTo>
                    <a:pt x="507968" y="2750725"/>
                    <a:pt x="425577" y="2923604"/>
                    <a:pt x="271748" y="3004566"/>
                  </a:cubicBezTo>
                  <a:cubicBezTo>
                    <a:pt x="110109" y="3089624"/>
                    <a:pt x="0" y="3259170"/>
                    <a:pt x="0" y="3454432"/>
                  </a:cubicBezTo>
                  <a:cubicBezTo>
                    <a:pt x="0" y="3734943"/>
                    <a:pt x="227457" y="3962400"/>
                    <a:pt x="507968" y="3962400"/>
                  </a:cubicBezTo>
                  <a:lnTo>
                    <a:pt x="3555968" y="3962400"/>
                  </a:lnTo>
                  <a:cubicBezTo>
                    <a:pt x="3836575" y="3962400"/>
                    <a:pt x="4063937" y="3734943"/>
                    <a:pt x="4063937" y="3454432"/>
                  </a:cubicBezTo>
                  <a:cubicBezTo>
                    <a:pt x="4063937" y="3259170"/>
                    <a:pt x="3953732" y="3089624"/>
                    <a:pt x="3792188" y="3004566"/>
                  </a:cubicBezTo>
                  <a:cubicBezTo>
                    <a:pt x="3638360" y="2923604"/>
                    <a:pt x="3555968" y="2750725"/>
                    <a:pt x="3555968" y="2576989"/>
                  </a:cubicBezTo>
                  <a:close/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60" name="Forme libre : forme 259">
              <a:extLst>
                <a:ext uri="{FF2B5EF4-FFF2-40B4-BE49-F238E27FC236}">
                  <a16:creationId xmlns:a16="http://schemas.microsoft.com/office/drawing/2014/main" id="{529D665F-4A54-407D-650A-DE633D0D5092}"/>
                </a:ext>
              </a:extLst>
            </p:cNvPr>
            <p:cNvSpPr/>
            <p:nvPr/>
          </p:nvSpPr>
          <p:spPr>
            <a:xfrm>
              <a:off x="5587841" y="5916643"/>
              <a:ext cx="1015936" cy="507968"/>
            </a:xfrm>
            <a:custGeom>
              <a:avLst/>
              <a:gdLst>
                <a:gd name="connsiteX0" fmla="*/ 1015937 w 1015936"/>
                <a:gd name="connsiteY0" fmla="*/ 0 h 507968"/>
                <a:gd name="connsiteX1" fmla="*/ 507968 w 1015936"/>
                <a:gd name="connsiteY1" fmla="*/ 507968 h 507968"/>
                <a:gd name="connsiteX2" fmla="*/ 0 w 1015936"/>
                <a:gd name="connsiteY2" fmla="*/ 0 h 50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5936" h="507968">
                  <a:moveTo>
                    <a:pt x="1015937" y="0"/>
                  </a:moveTo>
                  <a:cubicBezTo>
                    <a:pt x="1015937" y="280511"/>
                    <a:pt x="788480" y="507968"/>
                    <a:pt x="507968" y="507968"/>
                  </a:cubicBezTo>
                  <a:cubicBezTo>
                    <a:pt x="227457" y="507968"/>
                    <a:pt x="0" y="280511"/>
                    <a:pt x="0" y="0"/>
                  </a:cubicBez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61" name="Forme libre : forme 260">
              <a:extLst>
                <a:ext uri="{FF2B5EF4-FFF2-40B4-BE49-F238E27FC236}">
                  <a16:creationId xmlns:a16="http://schemas.microsoft.com/office/drawing/2014/main" id="{C70D348E-5372-D709-9382-BAFFF8EEDD9B}"/>
                </a:ext>
              </a:extLst>
            </p:cNvPr>
            <p:cNvSpPr/>
            <p:nvPr/>
          </p:nvSpPr>
          <p:spPr>
            <a:xfrm>
              <a:off x="7618094" y="430243"/>
              <a:ext cx="966597" cy="1523999"/>
            </a:xfrm>
            <a:custGeom>
              <a:avLst/>
              <a:gdLst>
                <a:gd name="connsiteX0" fmla="*/ 966597 w 966597"/>
                <a:gd name="connsiteY0" fmla="*/ 1524000 h 1523999"/>
                <a:gd name="connsiteX1" fmla="*/ 0 w 966597"/>
                <a:gd name="connsiteY1" fmla="*/ 0 h 152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6597" h="1523999">
                  <a:moveTo>
                    <a:pt x="966597" y="1524000"/>
                  </a:moveTo>
                  <a:cubicBezTo>
                    <a:pt x="840391" y="904685"/>
                    <a:pt x="488061" y="366617"/>
                    <a:pt x="0" y="0"/>
                  </a:cubicBez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62" name="Forme libre : forme 261">
              <a:extLst>
                <a:ext uri="{FF2B5EF4-FFF2-40B4-BE49-F238E27FC236}">
                  <a16:creationId xmlns:a16="http://schemas.microsoft.com/office/drawing/2014/main" id="{ADC4DCAC-4C88-BF88-BDFF-6AC454B0A995}"/>
                </a:ext>
              </a:extLst>
            </p:cNvPr>
            <p:cNvSpPr/>
            <p:nvPr/>
          </p:nvSpPr>
          <p:spPr>
            <a:xfrm>
              <a:off x="6095809" y="430243"/>
              <a:ext cx="9525" cy="507968"/>
            </a:xfrm>
            <a:custGeom>
              <a:avLst/>
              <a:gdLst>
                <a:gd name="connsiteX0" fmla="*/ 0 w 9525"/>
                <a:gd name="connsiteY0" fmla="*/ 0 h 507968"/>
                <a:gd name="connsiteX1" fmla="*/ 0 w 9525"/>
                <a:gd name="connsiteY1" fmla="*/ 507968 h 50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07968">
                  <a:moveTo>
                    <a:pt x="0" y="0"/>
                  </a:moveTo>
                  <a:lnTo>
                    <a:pt x="0" y="507968"/>
                  </a:ln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</p:grpSp>
      <p:sp>
        <p:nvSpPr>
          <p:cNvPr id="263" name="!!_Titre_03_!!">
            <a:extLst>
              <a:ext uri="{FF2B5EF4-FFF2-40B4-BE49-F238E27FC236}">
                <a16:creationId xmlns:a16="http://schemas.microsoft.com/office/drawing/2014/main" id="{D9D99D14-60E0-D403-931D-928A48CF0C44}"/>
              </a:ext>
            </a:extLst>
          </p:cNvPr>
          <p:cNvSpPr txBox="1"/>
          <p:nvPr/>
        </p:nvSpPr>
        <p:spPr>
          <a:xfrm>
            <a:off x="1366684" y="542211"/>
            <a:ext cx="3858513" cy="58477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 ExtraBold" panose="00000900000000000000" pitchFamily="2" charset="0"/>
                <a:ea typeface="+mn-ea"/>
                <a:cs typeface="+mn-cs"/>
              </a:rPr>
              <a:t>Fournir des information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555D7D"/>
                </a:solidFill>
                <a:effectLst/>
                <a:uLnTx/>
                <a:uFillTx/>
                <a:latin typeface="Montserrat Alternates ExtraBold" panose="00000900000000000000" pitchFamily="2" charset="0"/>
                <a:ea typeface="+mn-ea"/>
                <a:cs typeface="+mn-cs"/>
              </a:rPr>
              <a:t>sur la gestion de votre traitement </a:t>
            </a:r>
          </a:p>
        </p:txBody>
      </p:sp>
      <p:sp>
        <p:nvSpPr>
          <p:cNvPr id="264" name="!!_Texte_03a_!!">
            <a:extLst>
              <a:ext uri="{FF2B5EF4-FFF2-40B4-BE49-F238E27FC236}">
                <a16:creationId xmlns:a16="http://schemas.microsoft.com/office/drawing/2014/main" id="{90B4585C-2D78-9E27-FF18-F9F15C5578B8}"/>
              </a:ext>
            </a:extLst>
          </p:cNvPr>
          <p:cNvSpPr txBox="1"/>
          <p:nvPr/>
        </p:nvSpPr>
        <p:spPr>
          <a:xfrm>
            <a:off x="1366684" y="1401542"/>
            <a:ext cx="376886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Pilulier </a:t>
            </a: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automatique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 &amp; </a:t>
            </a: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intelligent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 </a:t>
            </a:r>
          </a:p>
        </p:txBody>
      </p:sp>
      <p:sp>
        <p:nvSpPr>
          <p:cNvPr id="270" name="!!_Texte_03c_!!">
            <a:extLst>
              <a:ext uri="{FF2B5EF4-FFF2-40B4-BE49-F238E27FC236}">
                <a16:creationId xmlns:a16="http://schemas.microsoft.com/office/drawing/2014/main" id="{64F0B861-1071-5374-E157-C70ABB551B0F}"/>
              </a:ext>
            </a:extLst>
          </p:cNvPr>
          <p:cNvSpPr txBox="1"/>
          <p:nvPr/>
        </p:nvSpPr>
        <p:spPr>
          <a:xfrm>
            <a:off x="1366685" y="2701377"/>
            <a:ext cx="394236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Stock actualisé </a:t>
            </a: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en temps réel </a:t>
            </a:r>
          </a:p>
        </p:txBody>
      </p:sp>
      <p:sp>
        <p:nvSpPr>
          <p:cNvPr id="271" name="!!_03_!!">
            <a:extLst>
              <a:ext uri="{FF2B5EF4-FFF2-40B4-BE49-F238E27FC236}">
                <a16:creationId xmlns:a16="http://schemas.microsoft.com/office/drawing/2014/main" id="{76319CF0-D1BA-1454-1589-BA03236BD535}"/>
              </a:ext>
            </a:extLst>
          </p:cNvPr>
          <p:cNvSpPr txBox="1"/>
          <p:nvPr/>
        </p:nvSpPr>
        <p:spPr>
          <a:xfrm>
            <a:off x="908516" y="491135"/>
            <a:ext cx="345228" cy="686928"/>
          </a:xfrm>
          <a:prstGeom prst="roundRect">
            <a:avLst>
              <a:gd name="adj" fmla="val 50000"/>
            </a:avLst>
          </a:prstGeom>
          <a:solidFill>
            <a:srgbClr val="555D7D"/>
          </a:solidFill>
        </p:spPr>
        <p:txBody>
          <a:bodyPr wrap="non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Alternates ExtraBold" panose="00000900000000000000" pitchFamily="2" charset="0"/>
                <a:ea typeface="+mn-ea"/>
                <a:cs typeface="+mn-cs"/>
              </a:rPr>
              <a:t>3</a:t>
            </a:r>
          </a:p>
        </p:txBody>
      </p:sp>
      <p:grpSp>
        <p:nvGrpSpPr>
          <p:cNvPr id="273" name="!!_Picto_03b_!!">
            <a:extLst>
              <a:ext uri="{FF2B5EF4-FFF2-40B4-BE49-F238E27FC236}">
                <a16:creationId xmlns:a16="http://schemas.microsoft.com/office/drawing/2014/main" id="{FCC7B290-223A-DC67-0AC7-C83A041408FC}"/>
              </a:ext>
            </a:extLst>
          </p:cNvPr>
          <p:cNvGrpSpPr>
            <a:grpSpLocks noChangeAspect="1"/>
          </p:cNvGrpSpPr>
          <p:nvPr/>
        </p:nvGrpSpPr>
        <p:grpSpPr>
          <a:xfrm>
            <a:off x="983930" y="2088299"/>
            <a:ext cx="194400" cy="234098"/>
            <a:chOff x="3606831" y="430243"/>
            <a:chExt cx="4977860" cy="5994368"/>
          </a:xfrm>
          <a:noFill/>
        </p:grpSpPr>
        <p:sp>
          <p:nvSpPr>
            <p:cNvPr id="274" name="Forme libre : forme 273">
              <a:extLst>
                <a:ext uri="{FF2B5EF4-FFF2-40B4-BE49-F238E27FC236}">
                  <a16:creationId xmlns:a16="http://schemas.microsoft.com/office/drawing/2014/main" id="{8D101C24-39D5-E286-08BE-14BC66DEBDBE}"/>
                </a:ext>
              </a:extLst>
            </p:cNvPr>
            <p:cNvSpPr/>
            <p:nvPr/>
          </p:nvSpPr>
          <p:spPr>
            <a:xfrm>
              <a:off x="3606831" y="430243"/>
              <a:ext cx="966596" cy="1523999"/>
            </a:xfrm>
            <a:custGeom>
              <a:avLst/>
              <a:gdLst>
                <a:gd name="connsiteX0" fmla="*/ 0 w 966596"/>
                <a:gd name="connsiteY0" fmla="*/ 1524000 h 1523999"/>
                <a:gd name="connsiteX1" fmla="*/ 966597 w 966596"/>
                <a:gd name="connsiteY1" fmla="*/ 0 h 152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6596" h="1523999">
                  <a:moveTo>
                    <a:pt x="0" y="1524000"/>
                  </a:moveTo>
                  <a:cubicBezTo>
                    <a:pt x="126206" y="904685"/>
                    <a:pt x="478536" y="366617"/>
                    <a:pt x="966597" y="0"/>
                  </a:cubicBez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B273F391-C907-01CD-447C-B081BEEE6BAB}"/>
                </a:ext>
              </a:extLst>
            </p:cNvPr>
            <p:cNvSpPr/>
            <p:nvPr/>
          </p:nvSpPr>
          <p:spPr>
            <a:xfrm>
              <a:off x="4063841" y="938212"/>
              <a:ext cx="4063936" cy="3962400"/>
            </a:xfrm>
            <a:custGeom>
              <a:avLst/>
              <a:gdLst>
                <a:gd name="connsiteX0" fmla="*/ 3555968 w 4063936"/>
                <a:gd name="connsiteY0" fmla="*/ 2576989 h 3962400"/>
                <a:gd name="connsiteX1" fmla="*/ 3555968 w 4063936"/>
                <a:gd name="connsiteY1" fmla="*/ 1524000 h 3962400"/>
                <a:gd name="connsiteX2" fmla="*/ 2031968 w 4063936"/>
                <a:gd name="connsiteY2" fmla="*/ 0 h 3962400"/>
                <a:gd name="connsiteX3" fmla="*/ 507968 w 4063936"/>
                <a:gd name="connsiteY3" fmla="*/ 1524000 h 3962400"/>
                <a:gd name="connsiteX4" fmla="*/ 507968 w 4063936"/>
                <a:gd name="connsiteY4" fmla="*/ 2576989 h 3962400"/>
                <a:gd name="connsiteX5" fmla="*/ 271748 w 4063936"/>
                <a:gd name="connsiteY5" fmla="*/ 3004566 h 3962400"/>
                <a:gd name="connsiteX6" fmla="*/ 0 w 4063936"/>
                <a:gd name="connsiteY6" fmla="*/ 3454432 h 3962400"/>
                <a:gd name="connsiteX7" fmla="*/ 507968 w 4063936"/>
                <a:gd name="connsiteY7" fmla="*/ 3962400 h 3962400"/>
                <a:gd name="connsiteX8" fmla="*/ 3555968 w 4063936"/>
                <a:gd name="connsiteY8" fmla="*/ 3962400 h 3962400"/>
                <a:gd name="connsiteX9" fmla="*/ 4063937 w 4063936"/>
                <a:gd name="connsiteY9" fmla="*/ 3454432 h 3962400"/>
                <a:gd name="connsiteX10" fmla="*/ 3792188 w 4063936"/>
                <a:gd name="connsiteY10" fmla="*/ 3004566 h 3962400"/>
                <a:gd name="connsiteX11" fmla="*/ 3555968 w 4063936"/>
                <a:gd name="connsiteY11" fmla="*/ 2576989 h 396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63936" h="3962400">
                  <a:moveTo>
                    <a:pt x="3555968" y="2576989"/>
                  </a:moveTo>
                  <a:lnTo>
                    <a:pt x="3555968" y="1524000"/>
                  </a:lnTo>
                  <a:cubicBezTo>
                    <a:pt x="3555968" y="682276"/>
                    <a:pt x="2873693" y="0"/>
                    <a:pt x="2031968" y="0"/>
                  </a:cubicBezTo>
                  <a:cubicBezTo>
                    <a:pt x="1190244" y="0"/>
                    <a:pt x="507968" y="682276"/>
                    <a:pt x="507968" y="1524000"/>
                  </a:cubicBezTo>
                  <a:lnTo>
                    <a:pt x="507968" y="2576989"/>
                  </a:lnTo>
                  <a:cubicBezTo>
                    <a:pt x="507968" y="2750725"/>
                    <a:pt x="425577" y="2923604"/>
                    <a:pt x="271748" y="3004566"/>
                  </a:cubicBezTo>
                  <a:cubicBezTo>
                    <a:pt x="110109" y="3089624"/>
                    <a:pt x="0" y="3259170"/>
                    <a:pt x="0" y="3454432"/>
                  </a:cubicBezTo>
                  <a:cubicBezTo>
                    <a:pt x="0" y="3734943"/>
                    <a:pt x="227457" y="3962400"/>
                    <a:pt x="507968" y="3962400"/>
                  </a:cubicBezTo>
                  <a:lnTo>
                    <a:pt x="3555968" y="3962400"/>
                  </a:lnTo>
                  <a:cubicBezTo>
                    <a:pt x="3836575" y="3962400"/>
                    <a:pt x="4063937" y="3734943"/>
                    <a:pt x="4063937" y="3454432"/>
                  </a:cubicBezTo>
                  <a:cubicBezTo>
                    <a:pt x="4063937" y="3259170"/>
                    <a:pt x="3953732" y="3089624"/>
                    <a:pt x="3792188" y="3004566"/>
                  </a:cubicBezTo>
                  <a:cubicBezTo>
                    <a:pt x="3638360" y="2923604"/>
                    <a:pt x="3555968" y="2750725"/>
                    <a:pt x="3555968" y="2576989"/>
                  </a:cubicBezTo>
                  <a:close/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CE142FDD-DCD3-6D2A-A0C8-8E60E4D38C95}"/>
                </a:ext>
              </a:extLst>
            </p:cNvPr>
            <p:cNvSpPr/>
            <p:nvPr/>
          </p:nvSpPr>
          <p:spPr>
            <a:xfrm>
              <a:off x="5587841" y="5916643"/>
              <a:ext cx="1015936" cy="507968"/>
            </a:xfrm>
            <a:custGeom>
              <a:avLst/>
              <a:gdLst>
                <a:gd name="connsiteX0" fmla="*/ 1015937 w 1015936"/>
                <a:gd name="connsiteY0" fmla="*/ 0 h 507968"/>
                <a:gd name="connsiteX1" fmla="*/ 507968 w 1015936"/>
                <a:gd name="connsiteY1" fmla="*/ 507968 h 507968"/>
                <a:gd name="connsiteX2" fmla="*/ 0 w 1015936"/>
                <a:gd name="connsiteY2" fmla="*/ 0 h 50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5936" h="507968">
                  <a:moveTo>
                    <a:pt x="1015937" y="0"/>
                  </a:moveTo>
                  <a:cubicBezTo>
                    <a:pt x="1015937" y="280511"/>
                    <a:pt x="788480" y="507968"/>
                    <a:pt x="507968" y="507968"/>
                  </a:cubicBezTo>
                  <a:cubicBezTo>
                    <a:pt x="227457" y="507968"/>
                    <a:pt x="0" y="280511"/>
                    <a:pt x="0" y="0"/>
                  </a:cubicBez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29E9ABEC-F6FF-119B-E8AA-608B741F13DB}"/>
                </a:ext>
              </a:extLst>
            </p:cNvPr>
            <p:cNvSpPr/>
            <p:nvPr/>
          </p:nvSpPr>
          <p:spPr>
            <a:xfrm>
              <a:off x="7618094" y="430243"/>
              <a:ext cx="966597" cy="1523999"/>
            </a:xfrm>
            <a:custGeom>
              <a:avLst/>
              <a:gdLst>
                <a:gd name="connsiteX0" fmla="*/ 966597 w 966597"/>
                <a:gd name="connsiteY0" fmla="*/ 1524000 h 1523999"/>
                <a:gd name="connsiteX1" fmla="*/ 0 w 966597"/>
                <a:gd name="connsiteY1" fmla="*/ 0 h 152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6597" h="1523999">
                  <a:moveTo>
                    <a:pt x="966597" y="1524000"/>
                  </a:moveTo>
                  <a:cubicBezTo>
                    <a:pt x="840391" y="904685"/>
                    <a:pt x="488061" y="366617"/>
                    <a:pt x="0" y="0"/>
                  </a:cubicBez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78" name="Forme libre : forme 277">
              <a:extLst>
                <a:ext uri="{FF2B5EF4-FFF2-40B4-BE49-F238E27FC236}">
                  <a16:creationId xmlns:a16="http://schemas.microsoft.com/office/drawing/2014/main" id="{99993E11-58B7-CFEF-818E-474AB47D8991}"/>
                </a:ext>
              </a:extLst>
            </p:cNvPr>
            <p:cNvSpPr/>
            <p:nvPr/>
          </p:nvSpPr>
          <p:spPr>
            <a:xfrm>
              <a:off x="6095809" y="430243"/>
              <a:ext cx="9525" cy="507968"/>
            </a:xfrm>
            <a:custGeom>
              <a:avLst/>
              <a:gdLst>
                <a:gd name="connsiteX0" fmla="*/ 0 w 9525"/>
                <a:gd name="connsiteY0" fmla="*/ 0 h 507968"/>
                <a:gd name="connsiteX1" fmla="*/ 0 w 9525"/>
                <a:gd name="connsiteY1" fmla="*/ 507968 h 50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07968">
                  <a:moveTo>
                    <a:pt x="0" y="0"/>
                  </a:moveTo>
                  <a:lnTo>
                    <a:pt x="0" y="507968"/>
                  </a:ln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</p:grpSp>
      <p:sp>
        <p:nvSpPr>
          <p:cNvPr id="279" name="!!_Texte_03b_!!">
            <a:extLst>
              <a:ext uri="{FF2B5EF4-FFF2-40B4-BE49-F238E27FC236}">
                <a16:creationId xmlns:a16="http://schemas.microsoft.com/office/drawing/2014/main" id="{E90B3029-6D55-B879-595E-2CFEA562BE73}"/>
              </a:ext>
            </a:extLst>
          </p:cNvPr>
          <p:cNvSpPr txBox="1"/>
          <p:nvPr/>
        </p:nvSpPr>
        <p:spPr>
          <a:xfrm>
            <a:off x="1366684" y="1943738"/>
            <a:ext cx="315598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 SemiBold" panose="00000700000000000000" pitchFamily="2" charset="0"/>
                <a:ea typeface="+mn-ea"/>
                <a:cs typeface="+mn-cs"/>
              </a:rPr>
              <a:t>Notification 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pour faciliter </a:t>
            </a:r>
            <a:b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</a:b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la prise du traitement </a:t>
            </a:r>
          </a:p>
        </p:txBody>
      </p:sp>
      <p:grpSp>
        <p:nvGrpSpPr>
          <p:cNvPr id="280" name="!!_Picto_03a_!!">
            <a:extLst>
              <a:ext uri="{FF2B5EF4-FFF2-40B4-BE49-F238E27FC236}">
                <a16:creationId xmlns:a16="http://schemas.microsoft.com/office/drawing/2014/main" id="{C7117761-ED9C-D172-3501-386B251E9E6B}"/>
              </a:ext>
            </a:extLst>
          </p:cNvPr>
          <p:cNvGrpSpPr>
            <a:grpSpLocks noChangeAspect="1"/>
          </p:cNvGrpSpPr>
          <p:nvPr/>
        </p:nvGrpSpPr>
        <p:grpSpPr>
          <a:xfrm>
            <a:off x="983930" y="1453884"/>
            <a:ext cx="194400" cy="210551"/>
            <a:chOff x="3271741" y="366712"/>
            <a:chExt cx="5651944" cy="6121526"/>
          </a:xfrm>
        </p:grpSpPr>
        <p:sp>
          <p:nvSpPr>
            <p:cNvPr id="281" name="Forme libre : forme 280">
              <a:extLst>
                <a:ext uri="{FF2B5EF4-FFF2-40B4-BE49-F238E27FC236}">
                  <a16:creationId xmlns:a16="http://schemas.microsoft.com/office/drawing/2014/main" id="{F7175AAE-D00F-971A-F7E8-6723406F3EAA}"/>
                </a:ext>
              </a:extLst>
            </p:cNvPr>
            <p:cNvSpPr/>
            <p:nvPr/>
          </p:nvSpPr>
          <p:spPr>
            <a:xfrm>
              <a:off x="3271741" y="366712"/>
              <a:ext cx="3060763" cy="6121526"/>
            </a:xfrm>
            <a:custGeom>
              <a:avLst/>
              <a:gdLst>
                <a:gd name="connsiteX0" fmla="*/ 3060763 w 3060763"/>
                <a:gd name="connsiteY0" fmla="*/ 1530382 h 6121526"/>
                <a:gd name="connsiteX1" fmla="*/ 3060763 w 3060763"/>
                <a:gd name="connsiteY1" fmla="*/ 2941606 h 6121526"/>
                <a:gd name="connsiteX2" fmla="*/ 2888456 w 3060763"/>
                <a:gd name="connsiteY2" fmla="*/ 3060764 h 6121526"/>
                <a:gd name="connsiteX3" fmla="*/ 2233994 w 3060763"/>
                <a:gd name="connsiteY3" fmla="*/ 4405694 h 6121526"/>
                <a:gd name="connsiteX4" fmla="*/ 2699671 w 3060763"/>
                <a:gd name="connsiteY4" fmla="*/ 5578317 h 6121526"/>
                <a:gd name="connsiteX5" fmla="*/ 1530382 w 3060763"/>
                <a:gd name="connsiteY5" fmla="*/ 6121527 h 6121526"/>
                <a:gd name="connsiteX6" fmla="*/ 0 w 3060763"/>
                <a:gd name="connsiteY6" fmla="*/ 4591146 h 6121526"/>
                <a:gd name="connsiteX7" fmla="*/ 0 w 3060763"/>
                <a:gd name="connsiteY7" fmla="*/ 1530382 h 6121526"/>
                <a:gd name="connsiteX8" fmla="*/ 1530477 w 3060763"/>
                <a:gd name="connsiteY8" fmla="*/ 0 h 6121526"/>
                <a:gd name="connsiteX9" fmla="*/ 2612612 w 3060763"/>
                <a:gd name="connsiteY9" fmla="*/ 448151 h 6121526"/>
                <a:gd name="connsiteX10" fmla="*/ 3060763 w 3060763"/>
                <a:gd name="connsiteY10" fmla="*/ 1530287 h 6121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60763" h="6121526">
                  <a:moveTo>
                    <a:pt x="3060763" y="1530382"/>
                  </a:moveTo>
                  <a:lnTo>
                    <a:pt x="3060763" y="2941606"/>
                  </a:lnTo>
                  <a:cubicBezTo>
                    <a:pt x="3000851" y="2977801"/>
                    <a:pt x="2943320" y="3017711"/>
                    <a:pt x="2888456" y="3060764"/>
                  </a:cubicBezTo>
                  <a:cubicBezTo>
                    <a:pt x="2489930" y="3373660"/>
                    <a:pt x="2233994" y="3859816"/>
                    <a:pt x="2233994" y="4405694"/>
                  </a:cubicBezTo>
                  <a:cubicBezTo>
                    <a:pt x="2233994" y="4859751"/>
                    <a:pt x="2411063" y="5272183"/>
                    <a:pt x="2699671" y="5578317"/>
                  </a:cubicBezTo>
                  <a:cubicBezTo>
                    <a:pt x="2419160" y="5910549"/>
                    <a:pt x="1999393" y="6121527"/>
                    <a:pt x="1530382" y="6121527"/>
                  </a:cubicBezTo>
                  <a:cubicBezTo>
                    <a:pt x="685038" y="6121527"/>
                    <a:pt x="0" y="5436394"/>
                    <a:pt x="0" y="4591146"/>
                  </a:cubicBezTo>
                  <a:lnTo>
                    <a:pt x="0" y="1530382"/>
                  </a:lnTo>
                  <a:cubicBezTo>
                    <a:pt x="95" y="685133"/>
                    <a:pt x="685133" y="0"/>
                    <a:pt x="1530477" y="0"/>
                  </a:cubicBezTo>
                  <a:cubicBezTo>
                    <a:pt x="1953006" y="0"/>
                    <a:pt x="2335625" y="171355"/>
                    <a:pt x="2612612" y="448151"/>
                  </a:cubicBezTo>
                  <a:cubicBezTo>
                    <a:pt x="2889504" y="725138"/>
                    <a:pt x="3060763" y="1107662"/>
                    <a:pt x="3060763" y="1530287"/>
                  </a:cubicBezTo>
                  <a:close/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82" name="Forme libre : forme 281">
              <a:extLst>
                <a:ext uri="{FF2B5EF4-FFF2-40B4-BE49-F238E27FC236}">
                  <a16:creationId xmlns:a16="http://schemas.microsoft.com/office/drawing/2014/main" id="{6D7DE2BD-4C38-41F6-995A-BA441774A30C}"/>
                </a:ext>
              </a:extLst>
            </p:cNvPr>
            <p:cNvSpPr/>
            <p:nvPr/>
          </p:nvSpPr>
          <p:spPr>
            <a:xfrm>
              <a:off x="3271837" y="3427380"/>
              <a:ext cx="2888360" cy="9525"/>
            </a:xfrm>
            <a:custGeom>
              <a:avLst/>
              <a:gdLst>
                <a:gd name="connsiteX0" fmla="*/ 2888361 w 2888360"/>
                <a:gd name="connsiteY0" fmla="*/ 0 h 9525"/>
                <a:gd name="connsiteX1" fmla="*/ 0 w 288836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88360" h="9525">
                  <a:moveTo>
                    <a:pt x="2888361" y="0"/>
                  </a:move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83" name="Forme libre : forme 282">
              <a:extLst>
                <a:ext uri="{FF2B5EF4-FFF2-40B4-BE49-F238E27FC236}">
                  <a16:creationId xmlns:a16="http://schemas.microsoft.com/office/drawing/2014/main" id="{FFDB5476-F6A7-9FCF-0F7E-A360302D3FA1}"/>
                </a:ext>
              </a:extLst>
            </p:cNvPr>
            <p:cNvSpPr/>
            <p:nvPr/>
          </p:nvSpPr>
          <p:spPr>
            <a:xfrm>
              <a:off x="5505830" y="3063144"/>
              <a:ext cx="3417760" cy="3418046"/>
            </a:xfrm>
            <a:custGeom>
              <a:avLst/>
              <a:gdLst>
                <a:gd name="connsiteX0" fmla="*/ 3417761 w 3417760"/>
                <a:gd name="connsiteY0" fmla="*/ 1709166 h 3418046"/>
                <a:gd name="connsiteX1" fmla="*/ 1708880 w 3417760"/>
                <a:gd name="connsiteY1" fmla="*/ 3418046 h 3418046"/>
                <a:gd name="connsiteX2" fmla="*/ 465677 w 3417760"/>
                <a:gd name="connsiteY2" fmla="*/ 2881694 h 3418046"/>
                <a:gd name="connsiteX3" fmla="*/ 0 w 3417760"/>
                <a:gd name="connsiteY3" fmla="*/ 1709071 h 3418046"/>
                <a:gd name="connsiteX4" fmla="*/ 654463 w 3417760"/>
                <a:gd name="connsiteY4" fmla="*/ 364141 h 3418046"/>
                <a:gd name="connsiteX5" fmla="*/ 826770 w 3417760"/>
                <a:gd name="connsiteY5" fmla="*/ 244983 h 3418046"/>
                <a:gd name="connsiteX6" fmla="*/ 1708880 w 3417760"/>
                <a:gd name="connsiteY6" fmla="*/ 0 h 3418046"/>
                <a:gd name="connsiteX7" fmla="*/ 3417761 w 3417760"/>
                <a:gd name="connsiteY7" fmla="*/ 1709071 h 3418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17760" h="3418046">
                  <a:moveTo>
                    <a:pt x="3417761" y="1709166"/>
                  </a:moveTo>
                  <a:cubicBezTo>
                    <a:pt x="3417761" y="2652903"/>
                    <a:pt x="2652712" y="3418046"/>
                    <a:pt x="1708880" y="3418046"/>
                  </a:cubicBezTo>
                  <a:cubicBezTo>
                    <a:pt x="1219010" y="3418046"/>
                    <a:pt x="777335" y="3211925"/>
                    <a:pt x="465677" y="2881694"/>
                  </a:cubicBezTo>
                  <a:cubicBezTo>
                    <a:pt x="176975" y="2575655"/>
                    <a:pt x="0" y="2163128"/>
                    <a:pt x="0" y="1709071"/>
                  </a:cubicBezTo>
                  <a:cubicBezTo>
                    <a:pt x="0" y="1163193"/>
                    <a:pt x="255937" y="677037"/>
                    <a:pt x="654463" y="364141"/>
                  </a:cubicBezTo>
                  <a:cubicBezTo>
                    <a:pt x="709327" y="321088"/>
                    <a:pt x="766858" y="281178"/>
                    <a:pt x="826770" y="244983"/>
                  </a:cubicBezTo>
                  <a:cubicBezTo>
                    <a:pt x="1084326" y="89535"/>
                    <a:pt x="1386173" y="0"/>
                    <a:pt x="1708880" y="0"/>
                  </a:cubicBezTo>
                  <a:cubicBezTo>
                    <a:pt x="2652712" y="0"/>
                    <a:pt x="3417761" y="765143"/>
                    <a:pt x="3417761" y="1709071"/>
                  </a:cubicBezTo>
                  <a:close/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84" name="Forme libre : forme 283">
              <a:extLst>
                <a:ext uri="{FF2B5EF4-FFF2-40B4-BE49-F238E27FC236}">
                  <a16:creationId xmlns:a16="http://schemas.microsoft.com/office/drawing/2014/main" id="{C0039E5F-5265-313D-CD12-3C1E34DD7953}"/>
                </a:ext>
              </a:extLst>
            </p:cNvPr>
            <p:cNvSpPr/>
            <p:nvPr/>
          </p:nvSpPr>
          <p:spPr>
            <a:xfrm>
              <a:off x="5505830" y="4772310"/>
              <a:ext cx="3417855" cy="9525"/>
            </a:xfrm>
            <a:custGeom>
              <a:avLst/>
              <a:gdLst>
                <a:gd name="connsiteX0" fmla="*/ 0 w 3417855"/>
                <a:gd name="connsiteY0" fmla="*/ 0 h 9525"/>
                <a:gd name="connsiteX1" fmla="*/ 3417856 w 3417855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17855" h="9525">
                  <a:moveTo>
                    <a:pt x="0" y="0"/>
                  </a:moveTo>
                  <a:lnTo>
                    <a:pt x="3417856" y="0"/>
                  </a:ln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</p:grpSp>
      <p:grpSp>
        <p:nvGrpSpPr>
          <p:cNvPr id="285" name="!!_Picto_03c_!!">
            <a:extLst>
              <a:ext uri="{FF2B5EF4-FFF2-40B4-BE49-F238E27FC236}">
                <a16:creationId xmlns:a16="http://schemas.microsoft.com/office/drawing/2014/main" id="{498DE2DF-2EFC-04C8-4F56-06154F628565}"/>
              </a:ext>
            </a:extLst>
          </p:cNvPr>
          <p:cNvGrpSpPr>
            <a:grpSpLocks noChangeAspect="1"/>
          </p:cNvGrpSpPr>
          <p:nvPr/>
        </p:nvGrpSpPr>
        <p:grpSpPr>
          <a:xfrm>
            <a:off x="983930" y="2760579"/>
            <a:ext cx="194400" cy="194400"/>
            <a:chOff x="3800475" y="1133475"/>
            <a:chExt cx="4591050" cy="4591050"/>
          </a:xfrm>
        </p:grpSpPr>
        <p:grpSp>
          <p:nvGrpSpPr>
            <p:cNvPr id="286" name="Graphique 279">
              <a:extLst>
                <a:ext uri="{FF2B5EF4-FFF2-40B4-BE49-F238E27FC236}">
                  <a16:creationId xmlns:a16="http://schemas.microsoft.com/office/drawing/2014/main" id="{DA912EA4-3B23-1029-5004-D06992E5DA9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800475" y="1133475"/>
              <a:ext cx="3257550" cy="4591050"/>
              <a:chOff x="3800475" y="1133475"/>
              <a:chExt cx="3257550" cy="4591050"/>
            </a:xfrm>
            <a:noFill/>
          </p:grpSpPr>
          <p:sp>
            <p:nvSpPr>
              <p:cNvPr id="288" name="Forme libre : forme 287">
                <a:extLst>
                  <a:ext uri="{FF2B5EF4-FFF2-40B4-BE49-F238E27FC236}">
                    <a16:creationId xmlns:a16="http://schemas.microsoft.com/office/drawing/2014/main" id="{54621E9E-FEFF-B7BE-9FD0-C6078ECE26CF}"/>
                  </a:ext>
                </a:extLst>
              </p:cNvPr>
              <p:cNvSpPr/>
              <p:nvPr/>
            </p:nvSpPr>
            <p:spPr>
              <a:xfrm>
                <a:off x="6296025" y="1133475"/>
                <a:ext cx="762000" cy="952500"/>
              </a:xfrm>
              <a:custGeom>
                <a:avLst/>
                <a:gdLst>
                  <a:gd name="connsiteX0" fmla="*/ 762000 w 762000"/>
                  <a:gd name="connsiteY0" fmla="*/ 0 h 952500"/>
                  <a:gd name="connsiteX1" fmla="*/ 762000 w 762000"/>
                  <a:gd name="connsiteY1" fmla="*/ 952500 h 952500"/>
                  <a:gd name="connsiteX2" fmla="*/ 0 w 762000"/>
                  <a:gd name="connsiteY2" fmla="*/ 952500 h 952500"/>
                  <a:gd name="connsiteX3" fmla="*/ 0 w 762000"/>
                  <a:gd name="connsiteY3" fmla="*/ 0 h 952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0" h="952500">
                    <a:moveTo>
                      <a:pt x="762000" y="0"/>
                    </a:moveTo>
                    <a:lnTo>
                      <a:pt x="762000" y="952500"/>
                    </a:lnTo>
                    <a:lnTo>
                      <a:pt x="0" y="952500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rnd">
                <a:solidFill>
                  <a:srgbClr val="555D7D"/>
                </a:solidFill>
                <a:prstDash val="solid"/>
                <a:rou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4E9664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endParaRPr>
              </a:p>
            </p:txBody>
          </p:sp>
          <p:sp>
            <p:nvSpPr>
              <p:cNvPr id="289" name="Forme libre : forme 288">
                <a:extLst>
                  <a:ext uri="{FF2B5EF4-FFF2-40B4-BE49-F238E27FC236}">
                    <a16:creationId xmlns:a16="http://schemas.microsoft.com/office/drawing/2014/main" id="{72D5C4B2-57D3-7CAE-D73F-455DAB52C96C}"/>
                  </a:ext>
                </a:extLst>
              </p:cNvPr>
              <p:cNvSpPr/>
              <p:nvPr/>
            </p:nvSpPr>
            <p:spPr>
              <a:xfrm>
                <a:off x="3800475" y="3057525"/>
                <a:ext cx="2667000" cy="2667000"/>
              </a:xfrm>
              <a:custGeom>
                <a:avLst/>
                <a:gdLst>
                  <a:gd name="connsiteX0" fmla="*/ 2667000 w 2667000"/>
                  <a:gd name="connsiteY0" fmla="*/ 1333500 h 2667000"/>
                  <a:gd name="connsiteX1" fmla="*/ 1333500 w 2667000"/>
                  <a:gd name="connsiteY1" fmla="*/ 2667000 h 2667000"/>
                  <a:gd name="connsiteX2" fmla="*/ 0 w 2667000"/>
                  <a:gd name="connsiteY2" fmla="*/ 1333500 h 2667000"/>
                  <a:gd name="connsiteX3" fmla="*/ 1333500 w 2667000"/>
                  <a:gd name="connsiteY3" fmla="*/ 0 h 2667000"/>
                  <a:gd name="connsiteX4" fmla="*/ 2667000 w 2667000"/>
                  <a:gd name="connsiteY4" fmla="*/ 1333500 h 2667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67000" h="2667000">
                    <a:moveTo>
                      <a:pt x="2667000" y="1333500"/>
                    </a:moveTo>
                    <a:cubicBezTo>
                      <a:pt x="2667000" y="2069972"/>
                      <a:pt x="2069972" y="2667000"/>
                      <a:pt x="1333500" y="2667000"/>
                    </a:cubicBezTo>
                    <a:cubicBezTo>
                      <a:pt x="597028" y="2667000"/>
                      <a:pt x="0" y="2069972"/>
                      <a:pt x="0" y="1333500"/>
                    </a:cubicBezTo>
                    <a:cubicBezTo>
                      <a:pt x="0" y="597028"/>
                      <a:pt x="597028" y="0"/>
                      <a:pt x="1333500" y="0"/>
                    </a:cubicBezTo>
                    <a:cubicBezTo>
                      <a:pt x="2069972" y="0"/>
                      <a:pt x="2667000" y="597028"/>
                      <a:pt x="2667000" y="1333500"/>
                    </a:cubicBezTo>
                    <a:close/>
                  </a:path>
                </a:pathLst>
              </a:custGeom>
              <a:noFill/>
              <a:ln w="12700" cap="rnd">
                <a:solidFill>
                  <a:srgbClr val="555D7D"/>
                </a:solidFill>
                <a:prstDash val="solid"/>
                <a:rou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4E9664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endParaRPr>
              </a:p>
            </p:txBody>
          </p:sp>
          <p:sp>
            <p:nvSpPr>
              <p:cNvPr id="290" name="Forme libre : forme 289">
                <a:extLst>
                  <a:ext uri="{FF2B5EF4-FFF2-40B4-BE49-F238E27FC236}">
                    <a16:creationId xmlns:a16="http://schemas.microsoft.com/office/drawing/2014/main" id="{D2E02CA6-53E9-E647-BB14-6679B136FCF7}"/>
                  </a:ext>
                </a:extLst>
              </p:cNvPr>
              <p:cNvSpPr/>
              <p:nvPr/>
            </p:nvSpPr>
            <p:spPr>
              <a:xfrm>
                <a:off x="5133975" y="3914775"/>
                <a:ext cx="9525" cy="476250"/>
              </a:xfrm>
              <a:custGeom>
                <a:avLst/>
                <a:gdLst>
                  <a:gd name="connsiteX0" fmla="*/ 0 w 9525"/>
                  <a:gd name="connsiteY0" fmla="*/ 476250 h 476250"/>
                  <a:gd name="connsiteX1" fmla="*/ 0 w 9525"/>
                  <a:gd name="connsiteY1" fmla="*/ 0 h 476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476250">
                    <a:moveTo>
                      <a:pt x="0" y="476250"/>
                    </a:moveTo>
                    <a:lnTo>
                      <a:pt x="0" y="0"/>
                    </a:lnTo>
                  </a:path>
                </a:pathLst>
              </a:custGeom>
              <a:noFill/>
              <a:ln w="12700" cap="rnd">
                <a:solidFill>
                  <a:srgbClr val="555D7D"/>
                </a:solidFill>
                <a:prstDash val="solid"/>
                <a:rou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4E9664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endParaRPr>
              </a:p>
            </p:txBody>
          </p:sp>
          <p:sp>
            <p:nvSpPr>
              <p:cNvPr id="291" name="Forme libre : forme 290">
                <a:extLst>
                  <a:ext uri="{FF2B5EF4-FFF2-40B4-BE49-F238E27FC236}">
                    <a16:creationId xmlns:a16="http://schemas.microsoft.com/office/drawing/2014/main" id="{4EACE821-EA69-582C-0689-54FBE5303F54}"/>
                  </a:ext>
                </a:extLst>
              </p:cNvPr>
              <p:cNvSpPr/>
              <p:nvPr/>
            </p:nvSpPr>
            <p:spPr>
              <a:xfrm>
                <a:off x="4657725" y="4391025"/>
                <a:ext cx="476250" cy="9525"/>
              </a:xfrm>
              <a:custGeom>
                <a:avLst/>
                <a:gdLst>
                  <a:gd name="connsiteX0" fmla="*/ 476250 w 476250"/>
                  <a:gd name="connsiteY0" fmla="*/ 0 h 9525"/>
                  <a:gd name="connsiteX1" fmla="*/ 0 w 47625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50" h="9525">
                    <a:moveTo>
                      <a:pt x="476250" y="0"/>
                    </a:moveTo>
                    <a:lnTo>
                      <a:pt x="0" y="0"/>
                    </a:lnTo>
                  </a:path>
                </a:pathLst>
              </a:custGeom>
              <a:noFill/>
              <a:ln w="12700" cap="rnd">
                <a:solidFill>
                  <a:srgbClr val="555D7D"/>
                </a:solidFill>
                <a:prstDash val="solid"/>
                <a:rou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4E9664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endParaRPr>
              </a:p>
            </p:txBody>
          </p:sp>
          <p:sp>
            <p:nvSpPr>
              <p:cNvPr id="292" name="Forme libre : forme 291">
                <a:extLst>
                  <a:ext uri="{FF2B5EF4-FFF2-40B4-BE49-F238E27FC236}">
                    <a16:creationId xmlns:a16="http://schemas.microsoft.com/office/drawing/2014/main" id="{CE6E54CF-AA9B-A768-162B-3596C114ECAD}"/>
                  </a:ext>
                </a:extLst>
              </p:cNvPr>
              <p:cNvSpPr/>
              <p:nvPr/>
            </p:nvSpPr>
            <p:spPr>
              <a:xfrm>
                <a:off x="6181725" y="4391025"/>
                <a:ext cx="285750" cy="9525"/>
              </a:xfrm>
              <a:custGeom>
                <a:avLst/>
                <a:gdLst>
                  <a:gd name="connsiteX0" fmla="*/ 285750 w 285750"/>
                  <a:gd name="connsiteY0" fmla="*/ 0 h 9525"/>
                  <a:gd name="connsiteX1" fmla="*/ 0 w 28575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0" h="9525">
                    <a:moveTo>
                      <a:pt x="285750" y="0"/>
                    </a:moveTo>
                    <a:lnTo>
                      <a:pt x="0" y="0"/>
                    </a:lnTo>
                  </a:path>
                </a:pathLst>
              </a:custGeom>
              <a:noFill/>
              <a:ln w="12700" cap="rnd">
                <a:solidFill>
                  <a:srgbClr val="555D7D"/>
                </a:solidFill>
                <a:prstDash val="solid"/>
                <a:rou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4E9664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endParaRPr>
              </a:p>
            </p:txBody>
          </p:sp>
          <p:sp>
            <p:nvSpPr>
              <p:cNvPr id="293" name="Forme libre : forme 292">
                <a:extLst>
                  <a:ext uri="{FF2B5EF4-FFF2-40B4-BE49-F238E27FC236}">
                    <a16:creationId xmlns:a16="http://schemas.microsoft.com/office/drawing/2014/main" id="{80C8170B-4C33-4EB8-B878-C900F86DFF8E}"/>
                  </a:ext>
                </a:extLst>
              </p:cNvPr>
              <p:cNvSpPr/>
              <p:nvPr/>
            </p:nvSpPr>
            <p:spPr>
              <a:xfrm>
                <a:off x="3800475" y="4391025"/>
                <a:ext cx="285750" cy="9525"/>
              </a:xfrm>
              <a:custGeom>
                <a:avLst/>
                <a:gdLst>
                  <a:gd name="connsiteX0" fmla="*/ 285750 w 285750"/>
                  <a:gd name="connsiteY0" fmla="*/ 0 h 9525"/>
                  <a:gd name="connsiteX1" fmla="*/ 0 w 28575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0" h="9525">
                    <a:moveTo>
                      <a:pt x="285750" y="0"/>
                    </a:moveTo>
                    <a:lnTo>
                      <a:pt x="0" y="0"/>
                    </a:lnTo>
                  </a:path>
                </a:pathLst>
              </a:custGeom>
              <a:noFill/>
              <a:ln w="12700" cap="rnd">
                <a:solidFill>
                  <a:srgbClr val="555D7D"/>
                </a:solidFill>
                <a:prstDash val="solid"/>
                <a:rou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4E9664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endParaRPr>
              </a:p>
            </p:txBody>
          </p:sp>
          <p:sp>
            <p:nvSpPr>
              <p:cNvPr id="294" name="Forme libre : forme 293">
                <a:extLst>
                  <a:ext uri="{FF2B5EF4-FFF2-40B4-BE49-F238E27FC236}">
                    <a16:creationId xmlns:a16="http://schemas.microsoft.com/office/drawing/2014/main" id="{FF3DB670-5919-5BA1-977B-8FBC5204BE0C}"/>
                  </a:ext>
                </a:extLst>
              </p:cNvPr>
              <p:cNvSpPr/>
              <p:nvPr/>
            </p:nvSpPr>
            <p:spPr>
              <a:xfrm>
                <a:off x="5133975" y="3057525"/>
                <a:ext cx="9525" cy="285750"/>
              </a:xfrm>
              <a:custGeom>
                <a:avLst/>
                <a:gdLst>
                  <a:gd name="connsiteX0" fmla="*/ 0 w 9525"/>
                  <a:gd name="connsiteY0" fmla="*/ 0 h 285750"/>
                  <a:gd name="connsiteX1" fmla="*/ 0 w 9525"/>
                  <a:gd name="connsiteY1" fmla="*/ 285750 h 285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85750">
                    <a:moveTo>
                      <a:pt x="0" y="0"/>
                    </a:moveTo>
                    <a:lnTo>
                      <a:pt x="0" y="285750"/>
                    </a:lnTo>
                  </a:path>
                </a:pathLst>
              </a:custGeom>
              <a:noFill/>
              <a:ln w="12700" cap="rnd">
                <a:solidFill>
                  <a:srgbClr val="555D7D"/>
                </a:solidFill>
                <a:prstDash val="solid"/>
                <a:rou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4E9664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endParaRPr>
              </a:p>
            </p:txBody>
          </p:sp>
          <p:sp>
            <p:nvSpPr>
              <p:cNvPr id="295" name="Forme libre : forme 294">
                <a:extLst>
                  <a:ext uri="{FF2B5EF4-FFF2-40B4-BE49-F238E27FC236}">
                    <a16:creationId xmlns:a16="http://schemas.microsoft.com/office/drawing/2014/main" id="{E4B669F6-E43C-C03C-D6AA-177AC68A6527}"/>
                  </a:ext>
                </a:extLst>
              </p:cNvPr>
              <p:cNvSpPr/>
              <p:nvPr/>
            </p:nvSpPr>
            <p:spPr>
              <a:xfrm>
                <a:off x="5133975" y="5438775"/>
                <a:ext cx="9525" cy="285750"/>
              </a:xfrm>
              <a:custGeom>
                <a:avLst/>
                <a:gdLst>
                  <a:gd name="connsiteX0" fmla="*/ 0 w 9525"/>
                  <a:gd name="connsiteY0" fmla="*/ 0 h 285750"/>
                  <a:gd name="connsiteX1" fmla="*/ 0 w 9525"/>
                  <a:gd name="connsiteY1" fmla="*/ 285750 h 285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85750">
                    <a:moveTo>
                      <a:pt x="0" y="0"/>
                    </a:moveTo>
                    <a:lnTo>
                      <a:pt x="0" y="285750"/>
                    </a:lnTo>
                  </a:path>
                </a:pathLst>
              </a:custGeom>
              <a:noFill/>
              <a:ln w="12700" cap="rnd">
                <a:solidFill>
                  <a:srgbClr val="555D7D"/>
                </a:solidFill>
                <a:prstDash val="solid"/>
                <a:rou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4E9664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endParaRPr>
              </a:p>
            </p:txBody>
          </p:sp>
        </p:grpSp>
        <p:sp>
          <p:nvSpPr>
            <p:cNvPr id="287" name="Forme libre : forme 286">
              <a:extLst>
                <a:ext uri="{FF2B5EF4-FFF2-40B4-BE49-F238E27FC236}">
                  <a16:creationId xmlns:a16="http://schemas.microsoft.com/office/drawing/2014/main" id="{A58BB57C-ADA6-415A-CED1-BD18A1AB859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962525" y="1133475"/>
              <a:ext cx="3429000" cy="3429000"/>
            </a:xfrm>
            <a:custGeom>
              <a:avLst/>
              <a:gdLst>
                <a:gd name="connsiteX0" fmla="*/ 1493996 w 3429000"/>
                <a:gd name="connsiteY0" fmla="*/ 3429000 h 3429000"/>
                <a:gd name="connsiteX1" fmla="*/ 3429000 w 3429000"/>
                <a:gd name="connsiteY1" fmla="*/ 3429000 h 3429000"/>
                <a:gd name="connsiteX2" fmla="*/ 3429000 w 3429000"/>
                <a:gd name="connsiteY2" fmla="*/ 0 h 3429000"/>
                <a:gd name="connsiteX3" fmla="*/ 0 w 3429000"/>
                <a:gd name="connsiteY3" fmla="*/ 0 h 3429000"/>
                <a:gd name="connsiteX4" fmla="*/ 0 w 3429000"/>
                <a:gd name="connsiteY4" fmla="*/ 1935004 h 342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9000" h="3429000">
                  <a:moveTo>
                    <a:pt x="1493996" y="3429000"/>
                  </a:moveTo>
                  <a:lnTo>
                    <a:pt x="3429000" y="3429000"/>
                  </a:lnTo>
                  <a:lnTo>
                    <a:pt x="3429000" y="0"/>
                  </a:lnTo>
                  <a:lnTo>
                    <a:pt x="0" y="0"/>
                  </a:lnTo>
                  <a:lnTo>
                    <a:pt x="0" y="1935004"/>
                  </a:ln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</p:grpSp>
      <p:sp>
        <p:nvSpPr>
          <p:cNvPr id="233" name="!!_01_!!">
            <a:extLst>
              <a:ext uri="{FF2B5EF4-FFF2-40B4-BE49-F238E27FC236}">
                <a16:creationId xmlns:a16="http://schemas.microsoft.com/office/drawing/2014/main" id="{E9A1A113-A15B-23B4-BE62-1342873E4306}"/>
              </a:ext>
            </a:extLst>
          </p:cNvPr>
          <p:cNvSpPr txBox="1"/>
          <p:nvPr/>
        </p:nvSpPr>
        <p:spPr>
          <a:xfrm>
            <a:off x="908516" y="7084161"/>
            <a:ext cx="345228" cy="686928"/>
          </a:xfrm>
          <a:prstGeom prst="roundRect">
            <a:avLst>
              <a:gd name="adj" fmla="val 50000"/>
            </a:avLst>
          </a:prstGeom>
          <a:solidFill>
            <a:srgbClr val="555D7D"/>
          </a:solidFill>
        </p:spPr>
        <p:txBody>
          <a:bodyPr wrap="non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Alternates ExtraBold" panose="00000900000000000000" pitchFamily="2" charset="0"/>
                <a:ea typeface="+mn-ea"/>
                <a:cs typeface="+mn-cs"/>
              </a:rPr>
              <a:t>1</a:t>
            </a:r>
          </a:p>
        </p:txBody>
      </p:sp>
      <p:grpSp>
        <p:nvGrpSpPr>
          <p:cNvPr id="246" name="!!_Picto_01a_!!">
            <a:extLst>
              <a:ext uri="{FF2B5EF4-FFF2-40B4-BE49-F238E27FC236}">
                <a16:creationId xmlns:a16="http://schemas.microsoft.com/office/drawing/2014/main" id="{3CC26DBA-939B-235E-B736-ADF0374C0CD6}"/>
              </a:ext>
            </a:extLst>
          </p:cNvPr>
          <p:cNvGrpSpPr/>
          <p:nvPr/>
        </p:nvGrpSpPr>
        <p:grpSpPr>
          <a:xfrm>
            <a:off x="983838" y="8245614"/>
            <a:ext cx="193352" cy="193352"/>
            <a:chOff x="3097148" y="430243"/>
            <a:chExt cx="5994463" cy="5994463"/>
          </a:xfrm>
          <a:noFill/>
        </p:grpSpPr>
        <p:sp>
          <p:nvSpPr>
            <p:cNvPr id="247" name="Forme libre : forme 246">
              <a:extLst>
                <a:ext uri="{FF2B5EF4-FFF2-40B4-BE49-F238E27FC236}">
                  <a16:creationId xmlns:a16="http://schemas.microsoft.com/office/drawing/2014/main" id="{7B35184A-332F-D6E5-61C9-F16C2796D62E}"/>
                </a:ext>
              </a:extLst>
            </p:cNvPr>
            <p:cNvSpPr/>
            <p:nvPr/>
          </p:nvSpPr>
          <p:spPr>
            <a:xfrm>
              <a:off x="3097148" y="430243"/>
              <a:ext cx="5994463" cy="5994463"/>
            </a:xfrm>
            <a:custGeom>
              <a:avLst/>
              <a:gdLst>
                <a:gd name="connsiteX0" fmla="*/ 2997232 w 5994463"/>
                <a:gd name="connsiteY0" fmla="*/ 0 h 5994463"/>
                <a:gd name="connsiteX1" fmla="*/ 5994464 w 5994463"/>
                <a:gd name="connsiteY1" fmla="*/ 2997232 h 5994463"/>
                <a:gd name="connsiteX2" fmla="*/ 5524786 w 5994463"/>
                <a:gd name="connsiteY2" fmla="*/ 4608767 h 5994463"/>
                <a:gd name="connsiteX3" fmla="*/ 5994464 w 5994463"/>
                <a:gd name="connsiteY3" fmla="*/ 5994464 h 5994463"/>
                <a:gd name="connsiteX4" fmla="*/ 4608767 w 5994463"/>
                <a:gd name="connsiteY4" fmla="*/ 5524786 h 5994463"/>
                <a:gd name="connsiteX5" fmla="*/ 2997232 w 5994463"/>
                <a:gd name="connsiteY5" fmla="*/ 5994464 h 5994463"/>
                <a:gd name="connsiteX6" fmla="*/ 0 w 5994463"/>
                <a:gd name="connsiteY6" fmla="*/ 2997232 h 5994463"/>
                <a:gd name="connsiteX7" fmla="*/ 2997232 w 5994463"/>
                <a:gd name="connsiteY7" fmla="*/ 0 h 5994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94463" h="5994463">
                  <a:moveTo>
                    <a:pt x="2997232" y="0"/>
                  </a:moveTo>
                  <a:cubicBezTo>
                    <a:pt x="4652582" y="0"/>
                    <a:pt x="5994464" y="1341882"/>
                    <a:pt x="5994464" y="2997232"/>
                  </a:cubicBezTo>
                  <a:cubicBezTo>
                    <a:pt x="5994464" y="3590449"/>
                    <a:pt x="5822061" y="4143375"/>
                    <a:pt x="5524786" y="4608767"/>
                  </a:cubicBezTo>
                  <a:lnTo>
                    <a:pt x="5994464" y="5994464"/>
                  </a:lnTo>
                  <a:lnTo>
                    <a:pt x="4608767" y="5524786"/>
                  </a:lnTo>
                  <a:cubicBezTo>
                    <a:pt x="4143375" y="5822156"/>
                    <a:pt x="3590449" y="5994464"/>
                    <a:pt x="2997232" y="5994464"/>
                  </a:cubicBezTo>
                  <a:cubicBezTo>
                    <a:pt x="1341882" y="5994464"/>
                    <a:pt x="0" y="4652582"/>
                    <a:pt x="0" y="2997232"/>
                  </a:cubicBezTo>
                  <a:cubicBezTo>
                    <a:pt x="0" y="1341882"/>
                    <a:pt x="1341977" y="0"/>
                    <a:pt x="2997232" y="0"/>
                  </a:cubicBezTo>
                  <a:close/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48" name="Forme libre : forme 247">
              <a:extLst>
                <a:ext uri="{FF2B5EF4-FFF2-40B4-BE49-F238E27FC236}">
                  <a16:creationId xmlns:a16="http://schemas.microsoft.com/office/drawing/2014/main" id="{5AE3898F-C12B-9F63-4F4D-8D54227C7F7B}"/>
                </a:ext>
              </a:extLst>
            </p:cNvPr>
            <p:cNvSpPr/>
            <p:nvPr/>
          </p:nvSpPr>
          <p:spPr>
            <a:xfrm>
              <a:off x="6094380" y="4900612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49" name="Forme libre : forme 248">
              <a:extLst>
                <a:ext uri="{FF2B5EF4-FFF2-40B4-BE49-F238E27FC236}">
                  <a16:creationId xmlns:a16="http://schemas.microsoft.com/office/drawing/2014/main" id="{B17013A9-BB9F-5C4D-D1B5-3BC0AF46F3E0}"/>
                </a:ext>
              </a:extLst>
            </p:cNvPr>
            <p:cNvSpPr/>
            <p:nvPr/>
          </p:nvSpPr>
          <p:spPr>
            <a:xfrm>
              <a:off x="6094380" y="1954243"/>
              <a:ext cx="9525" cy="1930431"/>
            </a:xfrm>
            <a:custGeom>
              <a:avLst/>
              <a:gdLst>
                <a:gd name="connsiteX0" fmla="*/ 0 w 9525"/>
                <a:gd name="connsiteY0" fmla="*/ 0 h 1930431"/>
                <a:gd name="connsiteX1" fmla="*/ 0 w 9525"/>
                <a:gd name="connsiteY1" fmla="*/ 1930432 h 1930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930431">
                  <a:moveTo>
                    <a:pt x="0" y="0"/>
                  </a:moveTo>
                  <a:lnTo>
                    <a:pt x="0" y="1930432"/>
                  </a:ln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</p:grpSp>
      <p:grpSp>
        <p:nvGrpSpPr>
          <p:cNvPr id="265" name="!!_Picto_01b_!!">
            <a:extLst>
              <a:ext uri="{FF2B5EF4-FFF2-40B4-BE49-F238E27FC236}">
                <a16:creationId xmlns:a16="http://schemas.microsoft.com/office/drawing/2014/main" id="{EF4F92C2-8472-28EC-0202-10C30CCA808C}"/>
              </a:ext>
            </a:extLst>
          </p:cNvPr>
          <p:cNvGrpSpPr>
            <a:grpSpLocks noChangeAspect="1"/>
          </p:cNvGrpSpPr>
          <p:nvPr/>
        </p:nvGrpSpPr>
        <p:grpSpPr>
          <a:xfrm>
            <a:off x="984332" y="9264603"/>
            <a:ext cx="194258" cy="194254"/>
            <a:chOff x="3033712" y="366712"/>
            <a:chExt cx="6121431" cy="6121336"/>
          </a:xfrm>
          <a:noFill/>
        </p:grpSpPr>
        <p:sp>
          <p:nvSpPr>
            <p:cNvPr id="266" name="Forme libre : forme 265">
              <a:extLst>
                <a:ext uri="{FF2B5EF4-FFF2-40B4-BE49-F238E27FC236}">
                  <a16:creationId xmlns:a16="http://schemas.microsoft.com/office/drawing/2014/main" id="{05C01F85-185A-7305-1C31-BCDD87E937CE}"/>
                </a:ext>
              </a:extLst>
            </p:cNvPr>
            <p:cNvSpPr/>
            <p:nvPr/>
          </p:nvSpPr>
          <p:spPr>
            <a:xfrm>
              <a:off x="4176807" y="1509712"/>
              <a:ext cx="3835336" cy="3835336"/>
            </a:xfrm>
            <a:custGeom>
              <a:avLst/>
              <a:gdLst>
                <a:gd name="connsiteX0" fmla="*/ 3835337 w 3835336"/>
                <a:gd name="connsiteY0" fmla="*/ 1215390 h 3835336"/>
                <a:gd name="connsiteX1" fmla="*/ 2619947 w 3835336"/>
                <a:gd name="connsiteY1" fmla="*/ 1215390 h 3835336"/>
                <a:gd name="connsiteX2" fmla="*/ 2619947 w 3835336"/>
                <a:gd name="connsiteY2" fmla="*/ 0 h 3835336"/>
                <a:gd name="connsiteX3" fmla="*/ 1215390 w 3835336"/>
                <a:gd name="connsiteY3" fmla="*/ 0 h 3835336"/>
                <a:gd name="connsiteX4" fmla="*/ 1215390 w 3835336"/>
                <a:gd name="connsiteY4" fmla="*/ 1215390 h 3835336"/>
                <a:gd name="connsiteX5" fmla="*/ 0 w 3835336"/>
                <a:gd name="connsiteY5" fmla="*/ 1215390 h 3835336"/>
                <a:gd name="connsiteX6" fmla="*/ 0 w 3835336"/>
                <a:gd name="connsiteY6" fmla="*/ 2619947 h 3835336"/>
                <a:gd name="connsiteX7" fmla="*/ 1215390 w 3835336"/>
                <a:gd name="connsiteY7" fmla="*/ 2619947 h 3835336"/>
                <a:gd name="connsiteX8" fmla="*/ 1215390 w 3835336"/>
                <a:gd name="connsiteY8" fmla="*/ 3835336 h 3835336"/>
                <a:gd name="connsiteX9" fmla="*/ 2619947 w 3835336"/>
                <a:gd name="connsiteY9" fmla="*/ 3835336 h 3835336"/>
                <a:gd name="connsiteX10" fmla="*/ 2619947 w 3835336"/>
                <a:gd name="connsiteY10" fmla="*/ 2619947 h 3835336"/>
                <a:gd name="connsiteX11" fmla="*/ 3835337 w 3835336"/>
                <a:gd name="connsiteY11" fmla="*/ 2619947 h 3835336"/>
                <a:gd name="connsiteX12" fmla="*/ 3835337 w 3835336"/>
                <a:gd name="connsiteY12" fmla="*/ 1215390 h 3835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35336" h="3835336">
                  <a:moveTo>
                    <a:pt x="3835337" y="1215390"/>
                  </a:moveTo>
                  <a:lnTo>
                    <a:pt x="2619947" y="1215390"/>
                  </a:lnTo>
                  <a:lnTo>
                    <a:pt x="2619947" y="0"/>
                  </a:lnTo>
                  <a:lnTo>
                    <a:pt x="1215390" y="0"/>
                  </a:lnTo>
                  <a:lnTo>
                    <a:pt x="1215390" y="1215390"/>
                  </a:lnTo>
                  <a:lnTo>
                    <a:pt x="0" y="1215390"/>
                  </a:lnTo>
                  <a:lnTo>
                    <a:pt x="0" y="2619947"/>
                  </a:lnTo>
                  <a:lnTo>
                    <a:pt x="1215390" y="2619947"/>
                  </a:lnTo>
                  <a:lnTo>
                    <a:pt x="1215390" y="3835336"/>
                  </a:lnTo>
                  <a:lnTo>
                    <a:pt x="2619947" y="3835336"/>
                  </a:lnTo>
                  <a:lnTo>
                    <a:pt x="2619947" y="2619947"/>
                  </a:lnTo>
                  <a:lnTo>
                    <a:pt x="3835337" y="2619947"/>
                  </a:lnTo>
                  <a:lnTo>
                    <a:pt x="3835337" y="1215390"/>
                  </a:lnTo>
                  <a:close/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67" name="Forme libre : forme 266">
              <a:extLst>
                <a:ext uri="{FF2B5EF4-FFF2-40B4-BE49-F238E27FC236}">
                  <a16:creationId xmlns:a16="http://schemas.microsoft.com/office/drawing/2014/main" id="{30634E27-843D-0694-EC71-A6926A6BA765}"/>
                </a:ext>
              </a:extLst>
            </p:cNvPr>
            <p:cNvSpPr/>
            <p:nvPr/>
          </p:nvSpPr>
          <p:spPr>
            <a:xfrm>
              <a:off x="3033712" y="366712"/>
              <a:ext cx="6121431" cy="6121336"/>
            </a:xfrm>
            <a:custGeom>
              <a:avLst/>
              <a:gdLst>
                <a:gd name="connsiteX0" fmla="*/ 6121432 w 6121431"/>
                <a:gd name="connsiteY0" fmla="*/ 3060668 h 6121336"/>
                <a:gd name="connsiteX1" fmla="*/ 3060764 w 6121431"/>
                <a:gd name="connsiteY1" fmla="*/ 6121336 h 6121336"/>
                <a:gd name="connsiteX2" fmla="*/ 0 w 6121431"/>
                <a:gd name="connsiteY2" fmla="*/ 3060668 h 6121336"/>
                <a:gd name="connsiteX3" fmla="*/ 3060668 w 6121431"/>
                <a:gd name="connsiteY3" fmla="*/ 0 h 6121336"/>
                <a:gd name="connsiteX4" fmla="*/ 6121336 w 6121431"/>
                <a:gd name="connsiteY4" fmla="*/ 3060668 h 6121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21431" h="6121336">
                  <a:moveTo>
                    <a:pt x="6121432" y="3060668"/>
                  </a:moveTo>
                  <a:cubicBezTo>
                    <a:pt x="6121432" y="4751070"/>
                    <a:pt x="4751070" y="6121336"/>
                    <a:pt x="3060764" y="6121336"/>
                  </a:cubicBezTo>
                  <a:cubicBezTo>
                    <a:pt x="1370457" y="6121336"/>
                    <a:pt x="0" y="4751070"/>
                    <a:pt x="0" y="3060668"/>
                  </a:cubicBezTo>
                  <a:cubicBezTo>
                    <a:pt x="0" y="1370267"/>
                    <a:pt x="1370362" y="0"/>
                    <a:pt x="3060668" y="0"/>
                  </a:cubicBezTo>
                  <a:cubicBezTo>
                    <a:pt x="4750975" y="0"/>
                    <a:pt x="6121336" y="1370362"/>
                    <a:pt x="6121336" y="3060668"/>
                  </a:cubicBezTo>
                  <a:close/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</p:grpSp>
      <p:sp>
        <p:nvSpPr>
          <p:cNvPr id="21" name="Cache02">
            <a:extLst>
              <a:ext uri="{FF2B5EF4-FFF2-40B4-BE49-F238E27FC236}">
                <a16:creationId xmlns:a16="http://schemas.microsoft.com/office/drawing/2014/main" id="{CF0E12EA-29DA-8C35-AF9B-9D970545E9C8}"/>
              </a:ext>
            </a:extLst>
          </p:cNvPr>
          <p:cNvSpPr/>
          <p:nvPr/>
        </p:nvSpPr>
        <p:spPr>
          <a:xfrm flipV="1">
            <a:off x="1" y="5946715"/>
            <a:ext cx="1323141" cy="911285"/>
          </a:xfrm>
          <a:custGeom>
            <a:avLst/>
            <a:gdLst>
              <a:gd name="connsiteX0" fmla="*/ 0 w 1323141"/>
              <a:gd name="connsiteY0" fmla="*/ 911285 h 911285"/>
              <a:gd name="connsiteX1" fmla="*/ 908516 w 1323141"/>
              <a:gd name="connsiteY1" fmla="*/ 911285 h 911285"/>
              <a:gd name="connsiteX2" fmla="*/ 908516 w 1323141"/>
              <a:gd name="connsiteY2" fmla="*/ 854764 h 911285"/>
              <a:gd name="connsiteX3" fmla="*/ 1081130 w 1323141"/>
              <a:gd name="connsiteY3" fmla="*/ 682150 h 911285"/>
              <a:gd name="connsiteX4" fmla="*/ 1253744 w 1323141"/>
              <a:gd name="connsiteY4" fmla="*/ 854764 h 911285"/>
              <a:gd name="connsiteX5" fmla="*/ 1253744 w 1323141"/>
              <a:gd name="connsiteY5" fmla="*/ 911285 h 911285"/>
              <a:gd name="connsiteX6" fmla="*/ 1314397 w 1323141"/>
              <a:gd name="connsiteY6" fmla="*/ 911285 h 911285"/>
              <a:gd name="connsiteX7" fmla="*/ 1314397 w 1323141"/>
              <a:gd name="connsiteY7" fmla="*/ 519401 h 911285"/>
              <a:gd name="connsiteX8" fmla="*/ 1323141 w 1323141"/>
              <a:gd name="connsiteY8" fmla="*/ 519401 h 911285"/>
              <a:gd name="connsiteX9" fmla="*/ 1323141 w 1323141"/>
              <a:gd name="connsiteY9" fmla="*/ 0 h 911285"/>
              <a:gd name="connsiteX10" fmla="*/ 0 w 1323141"/>
              <a:gd name="connsiteY10" fmla="*/ 0 h 911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323141" h="911285">
                <a:moveTo>
                  <a:pt x="0" y="911285"/>
                </a:moveTo>
                <a:lnTo>
                  <a:pt x="908516" y="911285"/>
                </a:lnTo>
                <a:lnTo>
                  <a:pt x="908516" y="854764"/>
                </a:lnTo>
                <a:cubicBezTo>
                  <a:pt x="908516" y="759432"/>
                  <a:pt x="985798" y="682150"/>
                  <a:pt x="1081130" y="682150"/>
                </a:cubicBezTo>
                <a:cubicBezTo>
                  <a:pt x="1176462" y="682150"/>
                  <a:pt x="1253744" y="759432"/>
                  <a:pt x="1253744" y="854764"/>
                </a:cubicBezTo>
                <a:lnTo>
                  <a:pt x="1253744" y="911285"/>
                </a:lnTo>
                <a:lnTo>
                  <a:pt x="1314397" y="911285"/>
                </a:lnTo>
                <a:lnTo>
                  <a:pt x="1314397" y="519401"/>
                </a:lnTo>
                <a:lnTo>
                  <a:pt x="1323141" y="519401"/>
                </a:lnTo>
                <a:lnTo>
                  <a:pt x="1323141" y="0"/>
                </a:lnTo>
                <a:lnTo>
                  <a:pt x="0" y="0"/>
                </a:lnTo>
                <a:close/>
              </a:path>
            </a:pathLst>
          </a:custGeom>
          <a:solidFill>
            <a:srgbClr val="F4F4F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Alternates"/>
              <a:ea typeface="+mn-ea"/>
              <a:cs typeface="+mn-cs"/>
            </a:endParaRPr>
          </a:p>
        </p:txBody>
      </p:sp>
      <p:pic>
        <p:nvPicPr>
          <p:cNvPr id="243" name="Image 242" descr="Une image contenant capture d’écran, Rectangle, smartphone&#10;&#10;Le contenu généré par l’IA peut être incorrect.">
            <a:extLst>
              <a:ext uri="{FF2B5EF4-FFF2-40B4-BE49-F238E27FC236}">
                <a16:creationId xmlns:a16="http://schemas.microsoft.com/office/drawing/2014/main" id="{1B6D6F5F-C536-6BEF-DD4E-23078ED0442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12216" y="1130300"/>
            <a:ext cx="3046013" cy="5473700"/>
          </a:xfrm>
          <a:prstGeom prst="rect">
            <a:avLst/>
          </a:prstGeom>
        </p:spPr>
      </p:pic>
      <p:sp>
        <p:nvSpPr>
          <p:cNvPr id="16" name="Cache01">
            <a:extLst>
              <a:ext uri="{FF2B5EF4-FFF2-40B4-BE49-F238E27FC236}">
                <a16:creationId xmlns:a16="http://schemas.microsoft.com/office/drawing/2014/main" id="{3549D017-F7C2-3473-7AB0-2B101B4DFECA}"/>
              </a:ext>
            </a:extLst>
          </p:cNvPr>
          <p:cNvSpPr/>
          <p:nvPr/>
        </p:nvSpPr>
        <p:spPr>
          <a:xfrm>
            <a:off x="0" y="-1"/>
            <a:ext cx="6096000" cy="3730171"/>
          </a:xfrm>
          <a:custGeom>
            <a:avLst/>
            <a:gdLst>
              <a:gd name="connsiteX0" fmla="*/ 0 w 6096000"/>
              <a:gd name="connsiteY0" fmla="*/ 0 h 3730171"/>
              <a:gd name="connsiteX1" fmla="*/ 6096000 w 6096000"/>
              <a:gd name="connsiteY1" fmla="*/ 0 h 3730171"/>
              <a:gd name="connsiteX2" fmla="*/ 6096000 w 6096000"/>
              <a:gd name="connsiteY2" fmla="*/ 3338287 h 3730171"/>
              <a:gd name="connsiteX3" fmla="*/ 1314397 w 6096000"/>
              <a:gd name="connsiteY3" fmla="*/ 3338287 h 3730171"/>
              <a:gd name="connsiteX4" fmla="*/ 1314397 w 6096000"/>
              <a:gd name="connsiteY4" fmla="*/ 3730171 h 3730171"/>
              <a:gd name="connsiteX5" fmla="*/ 1253744 w 6096000"/>
              <a:gd name="connsiteY5" fmla="*/ 3730171 h 3730171"/>
              <a:gd name="connsiteX6" fmla="*/ 1253744 w 6096000"/>
              <a:gd name="connsiteY6" fmla="*/ 3673650 h 3730171"/>
              <a:gd name="connsiteX7" fmla="*/ 1081130 w 6096000"/>
              <a:gd name="connsiteY7" fmla="*/ 3501036 h 3730171"/>
              <a:gd name="connsiteX8" fmla="*/ 908516 w 6096000"/>
              <a:gd name="connsiteY8" fmla="*/ 3673650 h 3730171"/>
              <a:gd name="connsiteX9" fmla="*/ 908516 w 6096000"/>
              <a:gd name="connsiteY9" fmla="*/ 3730171 h 3730171"/>
              <a:gd name="connsiteX10" fmla="*/ 0 w 6096000"/>
              <a:gd name="connsiteY10" fmla="*/ 3730171 h 3730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096000" h="3730171">
                <a:moveTo>
                  <a:pt x="0" y="0"/>
                </a:moveTo>
                <a:lnTo>
                  <a:pt x="6096000" y="0"/>
                </a:lnTo>
                <a:lnTo>
                  <a:pt x="6096000" y="3338287"/>
                </a:lnTo>
                <a:lnTo>
                  <a:pt x="1314397" y="3338287"/>
                </a:lnTo>
                <a:lnTo>
                  <a:pt x="1314397" y="3730171"/>
                </a:lnTo>
                <a:lnTo>
                  <a:pt x="1253744" y="3730171"/>
                </a:lnTo>
                <a:lnTo>
                  <a:pt x="1253744" y="3673650"/>
                </a:lnTo>
                <a:cubicBezTo>
                  <a:pt x="1253744" y="3578318"/>
                  <a:pt x="1176462" y="3501036"/>
                  <a:pt x="1081130" y="3501036"/>
                </a:cubicBezTo>
                <a:cubicBezTo>
                  <a:pt x="985798" y="3501036"/>
                  <a:pt x="908516" y="3578318"/>
                  <a:pt x="908516" y="3673650"/>
                </a:cubicBezTo>
                <a:lnTo>
                  <a:pt x="908516" y="3730171"/>
                </a:lnTo>
                <a:lnTo>
                  <a:pt x="0" y="3730171"/>
                </a:lnTo>
                <a:close/>
              </a:path>
            </a:pathLst>
          </a:custGeom>
          <a:solidFill>
            <a:srgbClr val="F4F4F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Alternates"/>
              <a:ea typeface="+mn-ea"/>
              <a:cs typeface="+mn-cs"/>
            </a:endParaRPr>
          </a:p>
        </p:txBody>
      </p:sp>
      <p:sp>
        <p:nvSpPr>
          <p:cNvPr id="226" name="ZoneTexte 225">
            <a:extLst>
              <a:ext uri="{FF2B5EF4-FFF2-40B4-BE49-F238E27FC236}">
                <a16:creationId xmlns:a16="http://schemas.microsoft.com/office/drawing/2014/main" id="{B35D7E61-B345-5ABE-C998-9D0092D1F891}"/>
              </a:ext>
            </a:extLst>
          </p:cNvPr>
          <p:cNvSpPr txBox="1"/>
          <p:nvPr/>
        </p:nvSpPr>
        <p:spPr>
          <a:xfrm>
            <a:off x="880861" y="1267783"/>
            <a:ext cx="4254691" cy="67710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800" b="1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Quicksand"/>
                <a:ea typeface="+mn-ea"/>
                <a:cs typeface="+mn-cs"/>
              </a:rPr>
              <a:t>UN OUTIL SIMPLE</a:t>
            </a:r>
            <a:endParaRPr kumimoji="0" lang="fr-FR" sz="3800" b="0" i="0" u="none" strike="noStrike" kern="1200" cap="none" spc="0" normalizeH="0" baseline="0" noProof="0">
              <a:ln>
                <a:noFill/>
              </a:ln>
              <a:solidFill>
                <a:srgbClr val="9097B3"/>
              </a:solidFill>
              <a:effectLst/>
              <a:uLnTx/>
              <a:uFillTx/>
              <a:latin typeface="Montserrat Alternates SemiBold" panose="00000700000000000000" pitchFamily="2" charset="0"/>
              <a:ea typeface="+mn-ea"/>
              <a:cs typeface="+mn-cs"/>
            </a:endParaRPr>
          </a:p>
        </p:txBody>
      </p:sp>
      <p:sp>
        <p:nvSpPr>
          <p:cNvPr id="227" name="ZoneTexte 226">
            <a:extLst>
              <a:ext uri="{FF2B5EF4-FFF2-40B4-BE49-F238E27FC236}">
                <a16:creationId xmlns:a16="http://schemas.microsoft.com/office/drawing/2014/main" id="{48A49B28-2172-B088-33E1-1D6666C863D5}"/>
              </a:ext>
            </a:extLst>
          </p:cNvPr>
          <p:cNvSpPr txBox="1"/>
          <p:nvPr/>
        </p:nvSpPr>
        <p:spPr>
          <a:xfrm>
            <a:off x="899912" y="1746732"/>
            <a:ext cx="4230645" cy="63094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5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 SemiBold" panose="00000700000000000000" pitchFamily="2" charset="0"/>
                <a:ea typeface="+mn-ea"/>
                <a:cs typeface="+mn-cs"/>
              </a:rPr>
              <a:t>dans votre poche</a:t>
            </a:r>
          </a:p>
        </p:txBody>
      </p:sp>
      <p:sp>
        <p:nvSpPr>
          <p:cNvPr id="228" name="ZoneTexte 227">
            <a:extLst>
              <a:ext uri="{FF2B5EF4-FFF2-40B4-BE49-F238E27FC236}">
                <a16:creationId xmlns:a16="http://schemas.microsoft.com/office/drawing/2014/main" id="{102FC9D8-9488-9EC3-9FFF-4EE9A24A2B3A}"/>
              </a:ext>
            </a:extLst>
          </p:cNvPr>
          <p:cNvSpPr txBox="1"/>
          <p:nvPr/>
        </p:nvSpPr>
        <p:spPr>
          <a:xfrm>
            <a:off x="893562" y="2224009"/>
            <a:ext cx="4331635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76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pour des fonctionnalités vertueuses</a:t>
            </a:r>
          </a:p>
        </p:txBody>
      </p:sp>
      <p:sp>
        <p:nvSpPr>
          <p:cNvPr id="232" name="ZoneTexte 231">
            <a:extLst>
              <a:ext uri="{FF2B5EF4-FFF2-40B4-BE49-F238E27FC236}">
                <a16:creationId xmlns:a16="http://schemas.microsoft.com/office/drawing/2014/main" id="{0C0A2689-AF8F-32C4-2AF1-5B9194DE9C4D}"/>
              </a:ext>
            </a:extLst>
          </p:cNvPr>
          <p:cNvSpPr txBox="1"/>
          <p:nvPr/>
        </p:nvSpPr>
        <p:spPr>
          <a:xfrm>
            <a:off x="902166" y="2609095"/>
            <a:ext cx="4249881" cy="333708"/>
          </a:xfrm>
          <a:prstGeom prst="roundRect">
            <a:avLst/>
          </a:prstGeom>
          <a:solidFill>
            <a:srgbClr val="4E9664"/>
          </a:solidFill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36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Chaque geste compte pour sauver la planète </a:t>
            </a:r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36F43B24-8F9D-0B43-D21A-EAD03529D323}"/>
              </a:ext>
            </a:extLst>
          </p:cNvPr>
          <p:cNvGrpSpPr/>
          <p:nvPr/>
        </p:nvGrpSpPr>
        <p:grpSpPr>
          <a:xfrm>
            <a:off x="572667" y="487521"/>
            <a:ext cx="364153" cy="284070"/>
            <a:chOff x="1148496" y="1062130"/>
            <a:chExt cx="364153" cy="284070"/>
          </a:xfrm>
        </p:grpSpPr>
        <p:sp>
          <p:nvSpPr>
            <p:cNvPr id="3" name="Forme libre : forme 2">
              <a:extLst>
                <a:ext uri="{FF2B5EF4-FFF2-40B4-BE49-F238E27FC236}">
                  <a16:creationId xmlns:a16="http://schemas.microsoft.com/office/drawing/2014/main" id="{49FFCEA3-4370-1CEC-E3C8-C838BAF3A10F}"/>
                </a:ext>
              </a:extLst>
            </p:cNvPr>
            <p:cNvSpPr/>
            <p:nvPr/>
          </p:nvSpPr>
          <p:spPr>
            <a:xfrm>
              <a:off x="1148496" y="1062130"/>
              <a:ext cx="284156" cy="284070"/>
            </a:xfrm>
            <a:custGeom>
              <a:avLst/>
              <a:gdLst>
                <a:gd name="connsiteX0" fmla="*/ 1927193 w 3012185"/>
                <a:gd name="connsiteY0" fmla="*/ 3011281 h 3011281"/>
                <a:gd name="connsiteX1" fmla="*/ 1159955 w 3012185"/>
                <a:gd name="connsiteY1" fmla="*/ 2694003 h 3011281"/>
                <a:gd name="connsiteX2" fmla="*/ 317754 w 3012185"/>
                <a:gd name="connsiteY2" fmla="*/ 1851803 h 3011281"/>
                <a:gd name="connsiteX3" fmla="*/ 0 w 3012185"/>
                <a:gd name="connsiteY3" fmla="*/ 1084564 h 3011281"/>
                <a:gd name="connsiteX4" fmla="*/ 317754 w 3012185"/>
                <a:gd name="connsiteY4" fmla="*/ 317325 h 3011281"/>
                <a:gd name="connsiteX5" fmla="*/ 1852232 w 3012185"/>
                <a:gd name="connsiteY5" fmla="*/ 317325 h 3011281"/>
                <a:gd name="connsiteX6" fmla="*/ 2694432 w 3012185"/>
                <a:gd name="connsiteY6" fmla="*/ 1159526 h 3011281"/>
                <a:gd name="connsiteX7" fmla="*/ 3012186 w 3012185"/>
                <a:gd name="connsiteY7" fmla="*/ 1926765 h 3011281"/>
                <a:gd name="connsiteX8" fmla="*/ 2694432 w 3012185"/>
                <a:gd name="connsiteY8" fmla="*/ 2694003 h 3011281"/>
                <a:gd name="connsiteX9" fmla="*/ 1927193 w 3012185"/>
                <a:gd name="connsiteY9" fmla="*/ 3011281 h 3011281"/>
                <a:gd name="connsiteX10" fmla="*/ 1084993 w 3012185"/>
                <a:gd name="connsiteY10" fmla="*/ 480012 h 3011281"/>
                <a:gd name="connsiteX11" fmla="*/ 657320 w 3012185"/>
                <a:gd name="connsiteY11" fmla="*/ 656892 h 3011281"/>
                <a:gd name="connsiteX12" fmla="*/ 480155 w 3012185"/>
                <a:gd name="connsiteY12" fmla="*/ 1084564 h 3011281"/>
                <a:gd name="connsiteX13" fmla="*/ 657320 w 3012185"/>
                <a:gd name="connsiteY13" fmla="*/ 1512237 h 3011281"/>
                <a:gd name="connsiteX14" fmla="*/ 1499521 w 3012185"/>
                <a:gd name="connsiteY14" fmla="*/ 2354437 h 3011281"/>
                <a:gd name="connsiteX15" fmla="*/ 2354961 w 3012185"/>
                <a:gd name="connsiteY15" fmla="*/ 2354437 h 3011281"/>
                <a:gd name="connsiteX16" fmla="*/ 2532126 w 3012185"/>
                <a:gd name="connsiteY16" fmla="*/ 1926765 h 3011281"/>
                <a:gd name="connsiteX17" fmla="*/ 2354961 w 3012185"/>
                <a:gd name="connsiteY17" fmla="*/ 1499092 h 3011281"/>
                <a:gd name="connsiteX18" fmla="*/ 1512761 w 3012185"/>
                <a:gd name="connsiteY18" fmla="*/ 656892 h 3011281"/>
                <a:gd name="connsiteX19" fmla="*/ 1084993 w 3012185"/>
                <a:gd name="connsiteY19" fmla="*/ 480012 h 301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12185" h="3011281">
                  <a:moveTo>
                    <a:pt x="1927193" y="3011281"/>
                  </a:moveTo>
                  <a:cubicBezTo>
                    <a:pt x="1649349" y="3011281"/>
                    <a:pt x="1371505" y="2905554"/>
                    <a:pt x="1159955" y="2694003"/>
                  </a:cubicBezTo>
                  <a:lnTo>
                    <a:pt x="317754" y="1851803"/>
                  </a:lnTo>
                  <a:cubicBezTo>
                    <a:pt x="112871" y="1646825"/>
                    <a:pt x="0" y="1374410"/>
                    <a:pt x="0" y="1084564"/>
                  </a:cubicBezTo>
                  <a:cubicBezTo>
                    <a:pt x="0" y="794718"/>
                    <a:pt x="112871" y="522303"/>
                    <a:pt x="317754" y="317325"/>
                  </a:cubicBezTo>
                  <a:cubicBezTo>
                    <a:pt x="740855" y="-105775"/>
                    <a:pt x="1429131" y="-105775"/>
                    <a:pt x="1852232" y="317325"/>
                  </a:cubicBezTo>
                  <a:lnTo>
                    <a:pt x="2694432" y="1159526"/>
                  </a:lnTo>
                  <a:cubicBezTo>
                    <a:pt x="2899410" y="1364504"/>
                    <a:pt x="3012186" y="1636919"/>
                    <a:pt x="3012186" y="1926765"/>
                  </a:cubicBezTo>
                  <a:cubicBezTo>
                    <a:pt x="3012186" y="2216611"/>
                    <a:pt x="2899315" y="2489025"/>
                    <a:pt x="2694432" y="2694003"/>
                  </a:cubicBezTo>
                  <a:cubicBezTo>
                    <a:pt x="2489549" y="2898982"/>
                    <a:pt x="2205038" y="3011281"/>
                    <a:pt x="1927193" y="3011281"/>
                  </a:cubicBezTo>
                  <a:close/>
                  <a:moveTo>
                    <a:pt x="1084993" y="480012"/>
                  </a:moveTo>
                  <a:cubicBezTo>
                    <a:pt x="930116" y="480012"/>
                    <a:pt x="775240" y="538972"/>
                    <a:pt x="657320" y="656892"/>
                  </a:cubicBezTo>
                  <a:cubicBezTo>
                    <a:pt x="543116" y="771096"/>
                    <a:pt x="480155" y="923020"/>
                    <a:pt x="480155" y="1084564"/>
                  </a:cubicBezTo>
                  <a:cubicBezTo>
                    <a:pt x="480155" y="1246108"/>
                    <a:pt x="543020" y="1398032"/>
                    <a:pt x="657320" y="1512237"/>
                  </a:cubicBezTo>
                  <a:lnTo>
                    <a:pt x="1499521" y="2354437"/>
                  </a:lnTo>
                  <a:cubicBezTo>
                    <a:pt x="1735360" y="2590276"/>
                    <a:pt x="2119122" y="2590276"/>
                    <a:pt x="2354961" y="2354437"/>
                  </a:cubicBezTo>
                  <a:cubicBezTo>
                    <a:pt x="2469166" y="2240233"/>
                    <a:pt x="2532126" y="2088309"/>
                    <a:pt x="2532126" y="1926765"/>
                  </a:cubicBezTo>
                  <a:cubicBezTo>
                    <a:pt x="2532126" y="1765221"/>
                    <a:pt x="2469261" y="1613297"/>
                    <a:pt x="2354961" y="1499092"/>
                  </a:cubicBezTo>
                  <a:lnTo>
                    <a:pt x="1512761" y="656892"/>
                  </a:lnTo>
                  <a:cubicBezTo>
                    <a:pt x="1394841" y="538972"/>
                    <a:pt x="1239964" y="480012"/>
                    <a:pt x="1084993" y="480012"/>
                  </a:cubicBezTo>
                  <a:close/>
                </a:path>
              </a:pathLst>
            </a:custGeom>
            <a:solidFill>
              <a:srgbClr val="9097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4" name="Forme libre : forme 3">
              <a:extLst>
                <a:ext uri="{FF2B5EF4-FFF2-40B4-BE49-F238E27FC236}">
                  <a16:creationId xmlns:a16="http://schemas.microsoft.com/office/drawing/2014/main" id="{4E80BF4C-0ECF-203A-B5A3-0A2808F6CF08}"/>
                </a:ext>
              </a:extLst>
            </p:cNvPr>
            <p:cNvSpPr/>
            <p:nvPr/>
          </p:nvSpPr>
          <p:spPr>
            <a:xfrm>
              <a:off x="1228502" y="1062130"/>
              <a:ext cx="284147" cy="284070"/>
            </a:xfrm>
            <a:custGeom>
              <a:avLst/>
              <a:gdLst>
                <a:gd name="connsiteX0" fmla="*/ 1084993 w 3012090"/>
                <a:gd name="connsiteY0" fmla="*/ 3011281 h 3011281"/>
                <a:gd name="connsiteX1" fmla="*/ 317754 w 3012090"/>
                <a:gd name="connsiteY1" fmla="*/ 2694003 h 3011281"/>
                <a:gd name="connsiteX2" fmla="*/ 0 w 3012090"/>
                <a:gd name="connsiteY2" fmla="*/ 1926765 h 3011281"/>
                <a:gd name="connsiteX3" fmla="*/ 317754 w 3012090"/>
                <a:gd name="connsiteY3" fmla="*/ 1159526 h 3011281"/>
                <a:gd name="connsiteX4" fmla="*/ 1159955 w 3012090"/>
                <a:gd name="connsiteY4" fmla="*/ 317325 h 3011281"/>
                <a:gd name="connsiteX5" fmla="*/ 2694337 w 3012090"/>
                <a:gd name="connsiteY5" fmla="*/ 317325 h 3011281"/>
                <a:gd name="connsiteX6" fmla="*/ 3012091 w 3012090"/>
                <a:gd name="connsiteY6" fmla="*/ 1084564 h 3011281"/>
                <a:gd name="connsiteX7" fmla="*/ 2694337 w 3012090"/>
                <a:gd name="connsiteY7" fmla="*/ 1851803 h 3011281"/>
                <a:gd name="connsiteX8" fmla="*/ 1852136 w 3012090"/>
                <a:gd name="connsiteY8" fmla="*/ 2694003 h 3011281"/>
                <a:gd name="connsiteX9" fmla="*/ 1084898 w 3012090"/>
                <a:gd name="connsiteY9" fmla="*/ 3011281 h 3011281"/>
                <a:gd name="connsiteX10" fmla="*/ 1927098 w 3012090"/>
                <a:gd name="connsiteY10" fmla="*/ 480012 h 3011281"/>
                <a:gd name="connsiteX11" fmla="*/ 1499426 w 3012090"/>
                <a:gd name="connsiteY11" fmla="*/ 656892 h 3011281"/>
                <a:gd name="connsiteX12" fmla="*/ 657225 w 3012090"/>
                <a:gd name="connsiteY12" fmla="*/ 1499092 h 3011281"/>
                <a:gd name="connsiteX13" fmla="*/ 480060 w 3012090"/>
                <a:gd name="connsiteY13" fmla="*/ 1926765 h 3011281"/>
                <a:gd name="connsiteX14" fmla="*/ 657225 w 3012090"/>
                <a:gd name="connsiteY14" fmla="*/ 2354437 h 3011281"/>
                <a:gd name="connsiteX15" fmla="*/ 1512570 w 3012090"/>
                <a:gd name="connsiteY15" fmla="*/ 2354437 h 3011281"/>
                <a:gd name="connsiteX16" fmla="*/ 2354771 w 3012090"/>
                <a:gd name="connsiteY16" fmla="*/ 1512237 h 3011281"/>
                <a:gd name="connsiteX17" fmla="*/ 2531935 w 3012090"/>
                <a:gd name="connsiteY17" fmla="*/ 1084564 h 3011281"/>
                <a:gd name="connsiteX18" fmla="*/ 2354771 w 3012090"/>
                <a:gd name="connsiteY18" fmla="*/ 656892 h 3011281"/>
                <a:gd name="connsiteX19" fmla="*/ 1927098 w 3012090"/>
                <a:gd name="connsiteY19" fmla="*/ 480012 h 301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12090" h="3011281">
                  <a:moveTo>
                    <a:pt x="1084993" y="3011281"/>
                  </a:moveTo>
                  <a:cubicBezTo>
                    <a:pt x="807149" y="3011281"/>
                    <a:pt x="529304" y="2905554"/>
                    <a:pt x="317754" y="2694003"/>
                  </a:cubicBezTo>
                  <a:cubicBezTo>
                    <a:pt x="106204" y="2482453"/>
                    <a:pt x="0" y="2216611"/>
                    <a:pt x="0" y="1926765"/>
                  </a:cubicBezTo>
                  <a:cubicBezTo>
                    <a:pt x="0" y="1636919"/>
                    <a:pt x="112871" y="1364504"/>
                    <a:pt x="317754" y="1159526"/>
                  </a:cubicBezTo>
                  <a:lnTo>
                    <a:pt x="1159955" y="317325"/>
                  </a:lnTo>
                  <a:cubicBezTo>
                    <a:pt x="1582960" y="-105775"/>
                    <a:pt x="2271332" y="-105775"/>
                    <a:pt x="2694337" y="317325"/>
                  </a:cubicBezTo>
                  <a:cubicBezTo>
                    <a:pt x="2899315" y="522303"/>
                    <a:pt x="3012091" y="794718"/>
                    <a:pt x="3012091" y="1084564"/>
                  </a:cubicBezTo>
                  <a:cubicBezTo>
                    <a:pt x="3012091" y="1374410"/>
                    <a:pt x="2899220" y="1646825"/>
                    <a:pt x="2694337" y="1851803"/>
                  </a:cubicBezTo>
                  <a:lnTo>
                    <a:pt x="1852136" y="2694003"/>
                  </a:lnTo>
                  <a:cubicBezTo>
                    <a:pt x="1640586" y="2905554"/>
                    <a:pt x="1362742" y="3011281"/>
                    <a:pt x="1084898" y="3011281"/>
                  </a:cubicBezTo>
                  <a:close/>
                  <a:moveTo>
                    <a:pt x="1927098" y="480012"/>
                  </a:moveTo>
                  <a:cubicBezTo>
                    <a:pt x="1772222" y="480012"/>
                    <a:pt x="1617345" y="538972"/>
                    <a:pt x="1499426" y="656892"/>
                  </a:cubicBezTo>
                  <a:lnTo>
                    <a:pt x="657225" y="1499092"/>
                  </a:lnTo>
                  <a:cubicBezTo>
                    <a:pt x="543020" y="1613297"/>
                    <a:pt x="480060" y="1765221"/>
                    <a:pt x="480060" y="1926765"/>
                  </a:cubicBezTo>
                  <a:cubicBezTo>
                    <a:pt x="480060" y="2088309"/>
                    <a:pt x="542925" y="2240233"/>
                    <a:pt x="657225" y="2354437"/>
                  </a:cubicBezTo>
                  <a:cubicBezTo>
                    <a:pt x="893064" y="2590276"/>
                    <a:pt x="1276731" y="2590276"/>
                    <a:pt x="1512570" y="2354437"/>
                  </a:cubicBezTo>
                  <a:lnTo>
                    <a:pt x="2354771" y="1512237"/>
                  </a:lnTo>
                  <a:cubicBezTo>
                    <a:pt x="2468975" y="1398032"/>
                    <a:pt x="2531935" y="1246108"/>
                    <a:pt x="2531935" y="1084564"/>
                  </a:cubicBezTo>
                  <a:cubicBezTo>
                    <a:pt x="2531935" y="923020"/>
                    <a:pt x="2469071" y="771096"/>
                    <a:pt x="2354771" y="656892"/>
                  </a:cubicBezTo>
                  <a:cubicBezTo>
                    <a:pt x="2236851" y="538972"/>
                    <a:pt x="2081975" y="480012"/>
                    <a:pt x="1927098" y="480012"/>
                  </a:cubicBezTo>
                  <a:close/>
                </a:path>
              </a:pathLst>
            </a:custGeom>
            <a:solidFill>
              <a:srgbClr val="4E966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1ACEACE5-31D1-BB34-0F2E-F26E352B9928}"/>
              </a:ext>
            </a:extLst>
          </p:cNvPr>
          <p:cNvGrpSpPr/>
          <p:nvPr/>
        </p:nvGrpSpPr>
        <p:grpSpPr>
          <a:xfrm>
            <a:off x="1253744" y="449942"/>
            <a:ext cx="10444847" cy="359228"/>
            <a:chOff x="1253744" y="406400"/>
            <a:chExt cx="10444847" cy="359228"/>
          </a:xfrm>
        </p:grpSpPr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E6F7CD86-DCA8-B736-0CB7-74AC20783A4C}"/>
                </a:ext>
              </a:extLst>
            </p:cNvPr>
            <p:cNvSpPr/>
            <p:nvPr/>
          </p:nvSpPr>
          <p:spPr>
            <a:xfrm>
              <a:off x="1253744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>
                  <a:ln>
                    <a:noFill/>
                  </a:ln>
                  <a:solidFill>
                    <a:srgbClr val="C4C7D6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rPr>
                <a:t>Enjeu</a:t>
              </a:r>
            </a:p>
          </p:txBody>
        </p:sp>
        <p:sp>
          <p:nvSpPr>
            <p:cNvPr id="7" name="Rectangle : coins arrondis 6">
              <a:extLst>
                <a:ext uri="{FF2B5EF4-FFF2-40B4-BE49-F238E27FC236}">
                  <a16:creationId xmlns:a16="http://schemas.microsoft.com/office/drawing/2014/main" id="{C60CBC62-6940-59CF-C7A8-83756C9A5E23}"/>
                </a:ext>
              </a:extLst>
            </p:cNvPr>
            <p:cNvSpPr/>
            <p:nvPr/>
          </p:nvSpPr>
          <p:spPr>
            <a:xfrm>
              <a:off x="3047725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>
                  <a:ln>
                    <a:noFill/>
                  </a:ln>
                  <a:solidFill>
                    <a:srgbClr val="C4C7D6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rPr>
                <a:t>Mission</a:t>
              </a:r>
            </a:p>
          </p:txBody>
        </p:sp>
        <p:sp>
          <p:nvSpPr>
            <p:cNvPr id="8" name="Rectangle : coins arrondis 7">
              <a:extLst>
                <a:ext uri="{FF2B5EF4-FFF2-40B4-BE49-F238E27FC236}">
                  <a16:creationId xmlns:a16="http://schemas.microsoft.com/office/drawing/2014/main" id="{CF4E4095-773F-FF14-8990-6A9E1A6EFD01}"/>
                </a:ext>
              </a:extLst>
            </p:cNvPr>
            <p:cNvSpPr/>
            <p:nvPr/>
          </p:nvSpPr>
          <p:spPr>
            <a:xfrm>
              <a:off x="6624871" y="406400"/>
              <a:ext cx="1496574" cy="359228"/>
            </a:xfrm>
            <a:prstGeom prst="roundRect">
              <a:avLst>
                <a:gd name="adj" fmla="val 50000"/>
              </a:avLst>
            </a:prstGeom>
            <a:solidFill>
              <a:srgbClr val="4E966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 Alternates SemiBold" panose="00000700000000000000" pitchFamily="2" charset="0"/>
                  <a:ea typeface="+mn-ea"/>
                  <a:cs typeface="+mn-cs"/>
                </a:rPr>
                <a:t>Fonctionnement</a:t>
              </a:r>
            </a:p>
          </p:txBody>
        </p:sp>
        <p:sp>
          <p:nvSpPr>
            <p:cNvPr id="9" name="Rectangle : coins arrondis 8">
              <a:extLst>
                <a:ext uri="{FF2B5EF4-FFF2-40B4-BE49-F238E27FC236}">
                  <a16:creationId xmlns:a16="http://schemas.microsoft.com/office/drawing/2014/main" id="{14C3B543-CBA1-86E0-C90B-A86AE7A07B14}"/>
                </a:ext>
              </a:extLst>
            </p:cNvPr>
            <p:cNvSpPr/>
            <p:nvPr/>
          </p:nvSpPr>
          <p:spPr>
            <a:xfrm>
              <a:off x="8429668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>
                  <a:ln>
                    <a:noFill/>
                  </a:ln>
                  <a:solidFill>
                    <a:srgbClr val="C4C7D6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rPr>
                <a:t>Offre</a:t>
              </a:r>
            </a:p>
          </p:txBody>
        </p:sp>
        <p:sp>
          <p:nvSpPr>
            <p:cNvPr id="10" name="Rectangle : coins arrondis 9">
              <a:extLst>
                <a:ext uri="{FF2B5EF4-FFF2-40B4-BE49-F238E27FC236}">
                  <a16:creationId xmlns:a16="http://schemas.microsoft.com/office/drawing/2014/main" id="{111691EC-C5F4-D12B-CFA0-AB8707ED5C6C}"/>
                </a:ext>
              </a:extLst>
            </p:cNvPr>
            <p:cNvSpPr/>
            <p:nvPr/>
          </p:nvSpPr>
          <p:spPr>
            <a:xfrm>
              <a:off x="4841706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>
                  <a:ln>
                    <a:noFill/>
                  </a:ln>
                  <a:solidFill>
                    <a:srgbClr val="C4C7D6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rPr>
                <a:t>Solution</a:t>
              </a:r>
            </a:p>
          </p:txBody>
        </p:sp>
        <p:sp>
          <p:nvSpPr>
            <p:cNvPr id="11" name="Rectangle : coins arrondis 10">
              <a:extLst>
                <a:ext uri="{FF2B5EF4-FFF2-40B4-BE49-F238E27FC236}">
                  <a16:creationId xmlns:a16="http://schemas.microsoft.com/office/drawing/2014/main" id="{99EA91F3-A430-B344-A0EC-945FBEC0D8B9}"/>
                </a:ext>
              </a:extLst>
            </p:cNvPr>
            <p:cNvSpPr/>
            <p:nvPr/>
          </p:nvSpPr>
          <p:spPr>
            <a:xfrm>
              <a:off x="10223649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>
                  <a:ln>
                    <a:noFill/>
                  </a:ln>
                  <a:solidFill>
                    <a:srgbClr val="C4C7D6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rPr>
                <a:t>Fondateur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6250590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3" grpId="0"/>
      <p:bldP spid="264" grpId="0"/>
      <p:bldP spid="270" grpId="0"/>
      <p:bldP spid="271" grpId="0" animBg="1"/>
      <p:bldP spid="27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097B3">
            <a:alpha val="10000"/>
          </a:srgb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F908161-7CEF-323B-2330-223A0AD513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Forme libre : forme 271">
            <a:extLst>
              <a:ext uri="{FF2B5EF4-FFF2-40B4-BE49-F238E27FC236}">
                <a16:creationId xmlns:a16="http://schemas.microsoft.com/office/drawing/2014/main" id="{0398C774-2AD5-3AED-1E76-F7649705639E}"/>
              </a:ext>
            </a:extLst>
          </p:cNvPr>
          <p:cNvSpPr>
            <a:spLocks/>
          </p:cNvSpPr>
          <p:nvPr/>
        </p:nvSpPr>
        <p:spPr>
          <a:xfrm>
            <a:off x="5481285" y="-1"/>
            <a:ext cx="6710715" cy="6858000"/>
          </a:xfrm>
          <a:custGeom>
            <a:avLst/>
            <a:gdLst>
              <a:gd name="connsiteX0" fmla="*/ 3196333 w 6710715"/>
              <a:gd name="connsiteY0" fmla="*/ 0 h 6858000"/>
              <a:gd name="connsiteX1" fmla="*/ 3368768 w 6710715"/>
              <a:gd name="connsiteY1" fmla="*/ 0 h 6858000"/>
              <a:gd name="connsiteX2" fmla="*/ 3412233 w 6710715"/>
              <a:gd name="connsiteY2" fmla="*/ 0 h 6858000"/>
              <a:gd name="connsiteX3" fmla="*/ 3584668 w 6710715"/>
              <a:gd name="connsiteY3" fmla="*/ 0 h 6858000"/>
              <a:gd name="connsiteX4" fmla="*/ 3874759 w 6710715"/>
              <a:gd name="connsiteY4" fmla="*/ 0 h 6858000"/>
              <a:gd name="connsiteX5" fmla="*/ 4047194 w 6710715"/>
              <a:gd name="connsiteY5" fmla="*/ 0 h 6858000"/>
              <a:gd name="connsiteX6" fmla="*/ 4090659 w 6710715"/>
              <a:gd name="connsiteY6" fmla="*/ 0 h 6858000"/>
              <a:gd name="connsiteX7" fmla="*/ 4174233 w 6710715"/>
              <a:gd name="connsiteY7" fmla="*/ 0 h 6858000"/>
              <a:gd name="connsiteX8" fmla="*/ 4263094 w 6710715"/>
              <a:gd name="connsiteY8" fmla="*/ 0 h 6858000"/>
              <a:gd name="connsiteX9" fmla="*/ 4346668 w 6710715"/>
              <a:gd name="connsiteY9" fmla="*/ 0 h 6858000"/>
              <a:gd name="connsiteX10" fmla="*/ 4390133 w 6710715"/>
              <a:gd name="connsiteY10" fmla="*/ 0 h 6858000"/>
              <a:gd name="connsiteX11" fmla="*/ 4562568 w 6710715"/>
              <a:gd name="connsiteY11" fmla="*/ 0 h 6858000"/>
              <a:gd name="connsiteX12" fmla="*/ 4852659 w 6710715"/>
              <a:gd name="connsiteY12" fmla="*/ 0 h 6858000"/>
              <a:gd name="connsiteX13" fmla="*/ 5025094 w 6710715"/>
              <a:gd name="connsiteY13" fmla="*/ 0 h 6858000"/>
              <a:gd name="connsiteX14" fmla="*/ 5068559 w 6710715"/>
              <a:gd name="connsiteY14" fmla="*/ 0 h 6858000"/>
              <a:gd name="connsiteX15" fmla="*/ 5240994 w 6710715"/>
              <a:gd name="connsiteY15" fmla="*/ 0 h 6858000"/>
              <a:gd name="connsiteX16" fmla="*/ 6032289 w 6710715"/>
              <a:gd name="connsiteY16" fmla="*/ 0 h 6858000"/>
              <a:gd name="connsiteX17" fmla="*/ 6710715 w 6710715"/>
              <a:gd name="connsiteY17" fmla="*/ 0 h 6858000"/>
              <a:gd name="connsiteX18" fmla="*/ 6710715 w 6710715"/>
              <a:gd name="connsiteY18" fmla="*/ 6858000 h 6858000"/>
              <a:gd name="connsiteX19" fmla="*/ 6032289 w 6710715"/>
              <a:gd name="connsiteY19" fmla="*/ 6858000 h 6858000"/>
              <a:gd name="connsiteX20" fmla="*/ 2064020 w 6710715"/>
              <a:gd name="connsiteY20" fmla="*/ 6858000 h 6858000"/>
              <a:gd name="connsiteX21" fmla="*/ 1891586 w 6710715"/>
              <a:gd name="connsiteY21" fmla="*/ 6858000 h 6858000"/>
              <a:gd name="connsiteX22" fmla="*/ 1848121 w 6710715"/>
              <a:gd name="connsiteY22" fmla="*/ 6858000 h 6858000"/>
              <a:gd name="connsiteX23" fmla="*/ 1675685 w 6710715"/>
              <a:gd name="connsiteY23" fmla="*/ 6858000 h 6858000"/>
              <a:gd name="connsiteX24" fmla="*/ 1385594 w 6710715"/>
              <a:gd name="connsiteY24" fmla="*/ 6858000 h 6858000"/>
              <a:gd name="connsiteX25" fmla="*/ 1213160 w 6710715"/>
              <a:gd name="connsiteY25" fmla="*/ 6858000 h 6858000"/>
              <a:gd name="connsiteX26" fmla="*/ 1169695 w 6710715"/>
              <a:gd name="connsiteY26" fmla="*/ 6858000 h 6858000"/>
              <a:gd name="connsiteX27" fmla="*/ 1086120 w 6710715"/>
              <a:gd name="connsiteY27" fmla="*/ 6858000 h 6858000"/>
              <a:gd name="connsiteX28" fmla="*/ 997259 w 6710715"/>
              <a:gd name="connsiteY28" fmla="*/ 6858000 h 6858000"/>
              <a:gd name="connsiteX29" fmla="*/ 913685 w 6710715"/>
              <a:gd name="connsiteY29" fmla="*/ 6858000 h 6858000"/>
              <a:gd name="connsiteX30" fmla="*/ 870219 w 6710715"/>
              <a:gd name="connsiteY30" fmla="*/ 6858000 h 6858000"/>
              <a:gd name="connsiteX31" fmla="*/ 697786 w 6710715"/>
              <a:gd name="connsiteY31" fmla="*/ 6858000 h 6858000"/>
              <a:gd name="connsiteX32" fmla="*/ 407694 w 6710715"/>
              <a:gd name="connsiteY32" fmla="*/ 6858000 h 6858000"/>
              <a:gd name="connsiteX33" fmla="*/ 235259 w 6710715"/>
              <a:gd name="connsiteY33" fmla="*/ 6858000 h 6858000"/>
              <a:gd name="connsiteX34" fmla="*/ 191793 w 6710715"/>
              <a:gd name="connsiteY34" fmla="*/ 6858000 h 6858000"/>
              <a:gd name="connsiteX35" fmla="*/ 19360 w 6710715"/>
              <a:gd name="connsiteY35" fmla="*/ 6858000 h 6858000"/>
              <a:gd name="connsiteX36" fmla="*/ 17996 w 6710715"/>
              <a:gd name="connsiteY36" fmla="*/ 6849955 h 6858000"/>
              <a:gd name="connsiteX37" fmla="*/ 524526 w 6710715"/>
              <a:gd name="connsiteY37" fmla="*/ 5157900 h 6858000"/>
              <a:gd name="connsiteX38" fmla="*/ 1050926 w 6710715"/>
              <a:gd name="connsiteY38" fmla="*/ 4776304 h 6858000"/>
              <a:gd name="connsiteX39" fmla="*/ 2678933 w 6710715"/>
              <a:gd name="connsiteY39" fmla="*/ 1666078 h 6858000"/>
              <a:gd name="connsiteX40" fmla="*/ 3070301 w 6710715"/>
              <a:gd name="connsiteY40" fmla="*/ 18871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710715" h="6858000">
                <a:moveTo>
                  <a:pt x="3196333" y="0"/>
                </a:moveTo>
                <a:lnTo>
                  <a:pt x="3368768" y="0"/>
                </a:lnTo>
                <a:lnTo>
                  <a:pt x="3412233" y="0"/>
                </a:lnTo>
                <a:lnTo>
                  <a:pt x="3584668" y="0"/>
                </a:lnTo>
                <a:lnTo>
                  <a:pt x="3874759" y="0"/>
                </a:lnTo>
                <a:lnTo>
                  <a:pt x="4047194" y="0"/>
                </a:lnTo>
                <a:lnTo>
                  <a:pt x="4090659" y="0"/>
                </a:lnTo>
                <a:lnTo>
                  <a:pt x="4174233" y="0"/>
                </a:lnTo>
                <a:lnTo>
                  <a:pt x="4263094" y="0"/>
                </a:lnTo>
                <a:lnTo>
                  <a:pt x="4346668" y="0"/>
                </a:lnTo>
                <a:lnTo>
                  <a:pt x="4390133" y="0"/>
                </a:lnTo>
                <a:lnTo>
                  <a:pt x="4562568" y="0"/>
                </a:lnTo>
                <a:lnTo>
                  <a:pt x="4852659" y="0"/>
                </a:lnTo>
                <a:lnTo>
                  <a:pt x="5025094" y="0"/>
                </a:lnTo>
                <a:lnTo>
                  <a:pt x="5068559" y="0"/>
                </a:lnTo>
                <a:lnTo>
                  <a:pt x="5240994" y="0"/>
                </a:lnTo>
                <a:lnTo>
                  <a:pt x="6032289" y="0"/>
                </a:lnTo>
                <a:lnTo>
                  <a:pt x="6710715" y="0"/>
                </a:lnTo>
                <a:lnTo>
                  <a:pt x="6710715" y="6858000"/>
                </a:lnTo>
                <a:lnTo>
                  <a:pt x="6032289" y="6858000"/>
                </a:lnTo>
                <a:lnTo>
                  <a:pt x="2064020" y="6858000"/>
                </a:lnTo>
                <a:lnTo>
                  <a:pt x="1891586" y="6858000"/>
                </a:lnTo>
                <a:lnTo>
                  <a:pt x="1848121" y="6858000"/>
                </a:lnTo>
                <a:lnTo>
                  <a:pt x="1675685" y="6858000"/>
                </a:lnTo>
                <a:lnTo>
                  <a:pt x="1385594" y="6858000"/>
                </a:lnTo>
                <a:lnTo>
                  <a:pt x="1213160" y="6858000"/>
                </a:lnTo>
                <a:lnTo>
                  <a:pt x="1169695" y="6858000"/>
                </a:lnTo>
                <a:lnTo>
                  <a:pt x="1086120" y="6858000"/>
                </a:lnTo>
                <a:lnTo>
                  <a:pt x="997259" y="6858000"/>
                </a:lnTo>
                <a:lnTo>
                  <a:pt x="913685" y="6858000"/>
                </a:lnTo>
                <a:lnTo>
                  <a:pt x="870219" y="6858000"/>
                </a:lnTo>
                <a:lnTo>
                  <a:pt x="697786" y="6858000"/>
                </a:lnTo>
                <a:lnTo>
                  <a:pt x="407694" y="6858000"/>
                </a:lnTo>
                <a:lnTo>
                  <a:pt x="235259" y="6858000"/>
                </a:lnTo>
                <a:lnTo>
                  <a:pt x="191793" y="6858000"/>
                </a:lnTo>
                <a:lnTo>
                  <a:pt x="19360" y="6858000"/>
                </a:lnTo>
                <a:lnTo>
                  <a:pt x="17996" y="6849955"/>
                </a:lnTo>
                <a:cubicBezTo>
                  <a:pt x="-59197" y="6243442"/>
                  <a:pt x="112361" y="5604070"/>
                  <a:pt x="524526" y="5157900"/>
                </a:cubicBezTo>
                <a:cubicBezTo>
                  <a:pt x="682566" y="4986819"/>
                  <a:pt x="861469" y="4859893"/>
                  <a:pt x="1050926" y="4776304"/>
                </a:cubicBezTo>
                <a:cubicBezTo>
                  <a:pt x="2276869" y="4200459"/>
                  <a:pt x="2690367" y="3752272"/>
                  <a:pt x="2678933" y="1666078"/>
                </a:cubicBezTo>
                <a:cubicBezTo>
                  <a:pt x="2676233" y="1147067"/>
                  <a:pt x="2807627" y="628568"/>
                  <a:pt x="3070301" y="188711"/>
                </a:cubicBezTo>
                <a:close/>
              </a:path>
            </a:pathLst>
          </a:custGeom>
          <a:solidFill>
            <a:srgbClr val="EAEA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Alternates"/>
              <a:ea typeface="+mn-ea"/>
              <a:cs typeface="+mn-cs"/>
            </a:endParaRPr>
          </a:p>
        </p:txBody>
      </p:sp>
      <p:sp>
        <p:nvSpPr>
          <p:cNvPr id="224" name="!_SCREENSHOT02_!!">
            <a:extLst>
              <a:ext uri="{FF2B5EF4-FFF2-40B4-BE49-F238E27FC236}">
                <a16:creationId xmlns:a16="http://schemas.microsoft.com/office/drawing/2014/main" id="{26E40A24-9D58-0218-E910-FC54B87C1E1A}"/>
              </a:ext>
            </a:extLst>
          </p:cNvPr>
          <p:cNvSpPr/>
          <p:nvPr/>
        </p:nvSpPr>
        <p:spPr>
          <a:xfrm>
            <a:off x="7604406" y="6248401"/>
            <a:ext cx="2261634" cy="4766308"/>
          </a:xfrm>
          <a:prstGeom prst="roundRect">
            <a:avLst>
              <a:gd name="adj" fmla="val 0"/>
            </a:avLst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srgbClr val="DBDDE6">
                  <a:lumMod val="10000"/>
                </a:srgbClr>
              </a:solidFill>
              <a:effectLst/>
              <a:uLnTx/>
              <a:uFillTx/>
              <a:latin typeface="Quicksand"/>
              <a:ea typeface="+mn-ea"/>
              <a:cs typeface="+mn-cs"/>
            </a:endParaRPr>
          </a:p>
        </p:txBody>
      </p:sp>
      <p:sp>
        <p:nvSpPr>
          <p:cNvPr id="225" name="!_SCREENSHOT03_!!">
            <a:extLst>
              <a:ext uri="{FF2B5EF4-FFF2-40B4-BE49-F238E27FC236}">
                <a16:creationId xmlns:a16="http://schemas.microsoft.com/office/drawing/2014/main" id="{B7FEB801-FF7B-0435-4A1B-509AC81E3C06}"/>
              </a:ext>
            </a:extLst>
          </p:cNvPr>
          <p:cNvSpPr/>
          <p:nvPr/>
        </p:nvSpPr>
        <p:spPr>
          <a:xfrm>
            <a:off x="7604406" y="1482093"/>
            <a:ext cx="2261634" cy="4766308"/>
          </a:xfrm>
          <a:prstGeom prst="roundRect">
            <a:avLst>
              <a:gd name="adj" fmla="val 0"/>
            </a:avLst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srgbClr val="DBDDE6">
                  <a:lumMod val="10000"/>
                </a:srgbClr>
              </a:solidFill>
              <a:effectLst/>
              <a:uLnTx/>
              <a:uFillTx/>
              <a:latin typeface="Quicksand"/>
              <a:ea typeface="+mn-ea"/>
              <a:cs typeface="+mn-cs"/>
            </a:endParaRPr>
          </a:p>
        </p:txBody>
      </p:sp>
      <p:grpSp>
        <p:nvGrpSpPr>
          <p:cNvPr id="28" name="Cache-droite">
            <a:extLst>
              <a:ext uri="{FF2B5EF4-FFF2-40B4-BE49-F238E27FC236}">
                <a16:creationId xmlns:a16="http://schemas.microsoft.com/office/drawing/2014/main" id="{EC42F9E2-35BB-D004-606A-F97C5145EAC0}"/>
              </a:ext>
            </a:extLst>
          </p:cNvPr>
          <p:cNvGrpSpPr/>
          <p:nvPr/>
        </p:nvGrpSpPr>
        <p:grpSpPr>
          <a:xfrm>
            <a:off x="5481285" y="0"/>
            <a:ext cx="6710715" cy="6858000"/>
            <a:chOff x="5633685" y="152399"/>
            <a:chExt cx="6710715" cy="6858000"/>
          </a:xfrm>
        </p:grpSpPr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AF83BB17-D59C-0BC7-A285-406683412945}"/>
                </a:ext>
              </a:extLst>
            </p:cNvPr>
            <p:cNvSpPr/>
            <p:nvPr/>
          </p:nvSpPr>
          <p:spPr>
            <a:xfrm>
              <a:off x="6248400" y="152400"/>
              <a:ext cx="4000500" cy="6857999"/>
            </a:xfrm>
            <a:custGeom>
              <a:avLst/>
              <a:gdLst>
                <a:gd name="connsiteX0" fmla="*/ 1732964 w 4000500"/>
                <a:gd name="connsiteY0" fmla="*/ 1482093 h 6857999"/>
                <a:gd name="connsiteX1" fmla="*/ 1508406 w 4000500"/>
                <a:gd name="connsiteY1" fmla="*/ 1706651 h 6857999"/>
                <a:gd name="connsiteX2" fmla="*/ 1508406 w 4000500"/>
                <a:gd name="connsiteY2" fmla="*/ 6023843 h 6857999"/>
                <a:gd name="connsiteX3" fmla="*/ 1732964 w 4000500"/>
                <a:gd name="connsiteY3" fmla="*/ 6248401 h 6857999"/>
                <a:gd name="connsiteX4" fmla="*/ 3545482 w 4000500"/>
                <a:gd name="connsiteY4" fmla="*/ 6248401 h 6857999"/>
                <a:gd name="connsiteX5" fmla="*/ 3770040 w 4000500"/>
                <a:gd name="connsiteY5" fmla="*/ 6023843 h 6857999"/>
                <a:gd name="connsiteX6" fmla="*/ 3770040 w 4000500"/>
                <a:gd name="connsiteY6" fmla="*/ 1706651 h 6857999"/>
                <a:gd name="connsiteX7" fmla="*/ 3545482 w 4000500"/>
                <a:gd name="connsiteY7" fmla="*/ 1482093 h 6857999"/>
                <a:gd name="connsiteX8" fmla="*/ 0 w 4000500"/>
                <a:gd name="connsiteY8" fmla="*/ 0 h 6857999"/>
                <a:gd name="connsiteX9" fmla="*/ 4000500 w 4000500"/>
                <a:gd name="connsiteY9" fmla="*/ 0 h 6857999"/>
                <a:gd name="connsiteX10" fmla="*/ 4000500 w 4000500"/>
                <a:gd name="connsiteY10" fmla="*/ 6857999 h 6857999"/>
                <a:gd name="connsiteX11" fmla="*/ 0 w 4000500"/>
                <a:gd name="connsiteY11" fmla="*/ 6857999 h 6857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00500" h="6857999">
                  <a:moveTo>
                    <a:pt x="1732964" y="1482093"/>
                  </a:moveTo>
                  <a:cubicBezTo>
                    <a:pt x="1608944" y="1482093"/>
                    <a:pt x="1508406" y="1582631"/>
                    <a:pt x="1508406" y="1706651"/>
                  </a:cubicBezTo>
                  <a:lnTo>
                    <a:pt x="1508406" y="6023843"/>
                  </a:lnTo>
                  <a:cubicBezTo>
                    <a:pt x="1508406" y="6147863"/>
                    <a:pt x="1608944" y="6248401"/>
                    <a:pt x="1732964" y="6248401"/>
                  </a:cubicBezTo>
                  <a:lnTo>
                    <a:pt x="3545482" y="6248401"/>
                  </a:lnTo>
                  <a:cubicBezTo>
                    <a:pt x="3669502" y="6248401"/>
                    <a:pt x="3770040" y="6147863"/>
                    <a:pt x="3770040" y="6023843"/>
                  </a:cubicBezTo>
                  <a:lnTo>
                    <a:pt x="3770040" y="1706651"/>
                  </a:lnTo>
                  <a:cubicBezTo>
                    <a:pt x="3770040" y="1582631"/>
                    <a:pt x="3669502" y="1482093"/>
                    <a:pt x="3545482" y="1482093"/>
                  </a:cubicBezTo>
                  <a:close/>
                  <a:moveTo>
                    <a:pt x="0" y="0"/>
                  </a:moveTo>
                  <a:lnTo>
                    <a:pt x="4000500" y="0"/>
                  </a:lnTo>
                  <a:lnTo>
                    <a:pt x="4000500" y="6857999"/>
                  </a:lnTo>
                  <a:lnTo>
                    <a:pt x="0" y="6857999"/>
                  </a:lnTo>
                  <a:close/>
                </a:path>
              </a:pathLst>
            </a:custGeom>
            <a:solidFill>
              <a:srgbClr val="F4F4F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BE92F9B7-5B8D-D292-F3CC-D44496B8C5C7}"/>
                </a:ext>
              </a:extLst>
            </p:cNvPr>
            <p:cNvSpPr>
              <a:spLocks/>
            </p:cNvSpPr>
            <p:nvPr/>
          </p:nvSpPr>
          <p:spPr>
            <a:xfrm>
              <a:off x="5633685" y="152399"/>
              <a:ext cx="6710715" cy="6858000"/>
            </a:xfrm>
            <a:custGeom>
              <a:avLst/>
              <a:gdLst>
                <a:gd name="connsiteX0" fmla="*/ 3196333 w 6710715"/>
                <a:gd name="connsiteY0" fmla="*/ 0 h 6858000"/>
                <a:gd name="connsiteX1" fmla="*/ 3368768 w 6710715"/>
                <a:gd name="connsiteY1" fmla="*/ 0 h 6858000"/>
                <a:gd name="connsiteX2" fmla="*/ 3412233 w 6710715"/>
                <a:gd name="connsiteY2" fmla="*/ 0 h 6858000"/>
                <a:gd name="connsiteX3" fmla="*/ 3584668 w 6710715"/>
                <a:gd name="connsiteY3" fmla="*/ 0 h 6858000"/>
                <a:gd name="connsiteX4" fmla="*/ 3874759 w 6710715"/>
                <a:gd name="connsiteY4" fmla="*/ 0 h 6858000"/>
                <a:gd name="connsiteX5" fmla="*/ 4047194 w 6710715"/>
                <a:gd name="connsiteY5" fmla="*/ 0 h 6858000"/>
                <a:gd name="connsiteX6" fmla="*/ 4090659 w 6710715"/>
                <a:gd name="connsiteY6" fmla="*/ 0 h 6858000"/>
                <a:gd name="connsiteX7" fmla="*/ 4174233 w 6710715"/>
                <a:gd name="connsiteY7" fmla="*/ 0 h 6858000"/>
                <a:gd name="connsiteX8" fmla="*/ 4263094 w 6710715"/>
                <a:gd name="connsiteY8" fmla="*/ 0 h 6858000"/>
                <a:gd name="connsiteX9" fmla="*/ 4346668 w 6710715"/>
                <a:gd name="connsiteY9" fmla="*/ 0 h 6858000"/>
                <a:gd name="connsiteX10" fmla="*/ 4390133 w 6710715"/>
                <a:gd name="connsiteY10" fmla="*/ 0 h 6858000"/>
                <a:gd name="connsiteX11" fmla="*/ 4562568 w 6710715"/>
                <a:gd name="connsiteY11" fmla="*/ 0 h 6858000"/>
                <a:gd name="connsiteX12" fmla="*/ 4852659 w 6710715"/>
                <a:gd name="connsiteY12" fmla="*/ 0 h 6858000"/>
                <a:gd name="connsiteX13" fmla="*/ 5025094 w 6710715"/>
                <a:gd name="connsiteY13" fmla="*/ 0 h 6858000"/>
                <a:gd name="connsiteX14" fmla="*/ 5068559 w 6710715"/>
                <a:gd name="connsiteY14" fmla="*/ 0 h 6858000"/>
                <a:gd name="connsiteX15" fmla="*/ 5240994 w 6710715"/>
                <a:gd name="connsiteY15" fmla="*/ 0 h 6858000"/>
                <a:gd name="connsiteX16" fmla="*/ 6032289 w 6710715"/>
                <a:gd name="connsiteY16" fmla="*/ 0 h 6858000"/>
                <a:gd name="connsiteX17" fmla="*/ 6710715 w 6710715"/>
                <a:gd name="connsiteY17" fmla="*/ 0 h 6858000"/>
                <a:gd name="connsiteX18" fmla="*/ 6710715 w 6710715"/>
                <a:gd name="connsiteY18" fmla="*/ 6858000 h 6858000"/>
                <a:gd name="connsiteX19" fmla="*/ 6032289 w 6710715"/>
                <a:gd name="connsiteY19" fmla="*/ 6858000 h 6858000"/>
                <a:gd name="connsiteX20" fmla="*/ 2064020 w 6710715"/>
                <a:gd name="connsiteY20" fmla="*/ 6858000 h 6858000"/>
                <a:gd name="connsiteX21" fmla="*/ 1891586 w 6710715"/>
                <a:gd name="connsiteY21" fmla="*/ 6858000 h 6858000"/>
                <a:gd name="connsiteX22" fmla="*/ 1848121 w 6710715"/>
                <a:gd name="connsiteY22" fmla="*/ 6858000 h 6858000"/>
                <a:gd name="connsiteX23" fmla="*/ 1675685 w 6710715"/>
                <a:gd name="connsiteY23" fmla="*/ 6858000 h 6858000"/>
                <a:gd name="connsiteX24" fmla="*/ 1385594 w 6710715"/>
                <a:gd name="connsiteY24" fmla="*/ 6858000 h 6858000"/>
                <a:gd name="connsiteX25" fmla="*/ 1213160 w 6710715"/>
                <a:gd name="connsiteY25" fmla="*/ 6858000 h 6858000"/>
                <a:gd name="connsiteX26" fmla="*/ 1169695 w 6710715"/>
                <a:gd name="connsiteY26" fmla="*/ 6858000 h 6858000"/>
                <a:gd name="connsiteX27" fmla="*/ 1086120 w 6710715"/>
                <a:gd name="connsiteY27" fmla="*/ 6858000 h 6858000"/>
                <a:gd name="connsiteX28" fmla="*/ 997259 w 6710715"/>
                <a:gd name="connsiteY28" fmla="*/ 6858000 h 6858000"/>
                <a:gd name="connsiteX29" fmla="*/ 913685 w 6710715"/>
                <a:gd name="connsiteY29" fmla="*/ 6858000 h 6858000"/>
                <a:gd name="connsiteX30" fmla="*/ 870219 w 6710715"/>
                <a:gd name="connsiteY30" fmla="*/ 6858000 h 6858000"/>
                <a:gd name="connsiteX31" fmla="*/ 697786 w 6710715"/>
                <a:gd name="connsiteY31" fmla="*/ 6858000 h 6858000"/>
                <a:gd name="connsiteX32" fmla="*/ 407694 w 6710715"/>
                <a:gd name="connsiteY32" fmla="*/ 6858000 h 6858000"/>
                <a:gd name="connsiteX33" fmla="*/ 235259 w 6710715"/>
                <a:gd name="connsiteY33" fmla="*/ 6858000 h 6858000"/>
                <a:gd name="connsiteX34" fmla="*/ 191793 w 6710715"/>
                <a:gd name="connsiteY34" fmla="*/ 6858000 h 6858000"/>
                <a:gd name="connsiteX35" fmla="*/ 19360 w 6710715"/>
                <a:gd name="connsiteY35" fmla="*/ 6858000 h 6858000"/>
                <a:gd name="connsiteX36" fmla="*/ 17996 w 6710715"/>
                <a:gd name="connsiteY36" fmla="*/ 6849955 h 6858000"/>
                <a:gd name="connsiteX37" fmla="*/ 524526 w 6710715"/>
                <a:gd name="connsiteY37" fmla="*/ 5157900 h 6858000"/>
                <a:gd name="connsiteX38" fmla="*/ 1050926 w 6710715"/>
                <a:gd name="connsiteY38" fmla="*/ 4776304 h 6858000"/>
                <a:gd name="connsiteX39" fmla="*/ 2107797 w 6710715"/>
                <a:gd name="connsiteY39" fmla="*/ 4089223 h 6858000"/>
                <a:gd name="connsiteX40" fmla="*/ 2123121 w 6710715"/>
                <a:gd name="connsiteY40" fmla="*/ 4070634 h 6858000"/>
                <a:gd name="connsiteX41" fmla="*/ 2123121 w 6710715"/>
                <a:gd name="connsiteY41" fmla="*/ 6023844 h 6858000"/>
                <a:gd name="connsiteX42" fmla="*/ 2347679 w 6710715"/>
                <a:gd name="connsiteY42" fmla="*/ 6248402 h 6858000"/>
                <a:gd name="connsiteX43" fmla="*/ 4160197 w 6710715"/>
                <a:gd name="connsiteY43" fmla="*/ 6248402 h 6858000"/>
                <a:gd name="connsiteX44" fmla="*/ 4384755 w 6710715"/>
                <a:gd name="connsiteY44" fmla="*/ 6023844 h 6858000"/>
                <a:gd name="connsiteX45" fmla="*/ 4384755 w 6710715"/>
                <a:gd name="connsiteY45" fmla="*/ 1706652 h 6858000"/>
                <a:gd name="connsiteX46" fmla="*/ 4160197 w 6710715"/>
                <a:gd name="connsiteY46" fmla="*/ 1482094 h 6858000"/>
                <a:gd name="connsiteX47" fmla="*/ 2683917 w 6710715"/>
                <a:gd name="connsiteY47" fmla="*/ 1482094 h 6858000"/>
                <a:gd name="connsiteX48" fmla="*/ 2684201 w 6710715"/>
                <a:gd name="connsiteY48" fmla="*/ 1471626 h 6858000"/>
                <a:gd name="connsiteX49" fmla="*/ 3070301 w 6710715"/>
                <a:gd name="connsiteY49" fmla="*/ 188711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6710715" h="6858000">
                  <a:moveTo>
                    <a:pt x="3196333" y="0"/>
                  </a:moveTo>
                  <a:lnTo>
                    <a:pt x="3368768" y="0"/>
                  </a:lnTo>
                  <a:lnTo>
                    <a:pt x="3412233" y="0"/>
                  </a:lnTo>
                  <a:lnTo>
                    <a:pt x="3584668" y="0"/>
                  </a:lnTo>
                  <a:lnTo>
                    <a:pt x="3874759" y="0"/>
                  </a:lnTo>
                  <a:lnTo>
                    <a:pt x="4047194" y="0"/>
                  </a:lnTo>
                  <a:lnTo>
                    <a:pt x="4090659" y="0"/>
                  </a:lnTo>
                  <a:lnTo>
                    <a:pt x="4174233" y="0"/>
                  </a:lnTo>
                  <a:lnTo>
                    <a:pt x="4263094" y="0"/>
                  </a:lnTo>
                  <a:lnTo>
                    <a:pt x="4346668" y="0"/>
                  </a:lnTo>
                  <a:lnTo>
                    <a:pt x="4390133" y="0"/>
                  </a:lnTo>
                  <a:lnTo>
                    <a:pt x="4562568" y="0"/>
                  </a:lnTo>
                  <a:lnTo>
                    <a:pt x="4852659" y="0"/>
                  </a:lnTo>
                  <a:lnTo>
                    <a:pt x="5025094" y="0"/>
                  </a:lnTo>
                  <a:lnTo>
                    <a:pt x="5068559" y="0"/>
                  </a:lnTo>
                  <a:lnTo>
                    <a:pt x="5240994" y="0"/>
                  </a:lnTo>
                  <a:lnTo>
                    <a:pt x="6032289" y="0"/>
                  </a:lnTo>
                  <a:lnTo>
                    <a:pt x="6710715" y="0"/>
                  </a:lnTo>
                  <a:lnTo>
                    <a:pt x="6710715" y="6858000"/>
                  </a:lnTo>
                  <a:lnTo>
                    <a:pt x="6032289" y="6858000"/>
                  </a:lnTo>
                  <a:lnTo>
                    <a:pt x="2064020" y="6858000"/>
                  </a:lnTo>
                  <a:lnTo>
                    <a:pt x="1891586" y="6858000"/>
                  </a:lnTo>
                  <a:lnTo>
                    <a:pt x="1848121" y="6858000"/>
                  </a:lnTo>
                  <a:lnTo>
                    <a:pt x="1675685" y="6858000"/>
                  </a:lnTo>
                  <a:lnTo>
                    <a:pt x="1385594" y="6858000"/>
                  </a:lnTo>
                  <a:lnTo>
                    <a:pt x="1213160" y="6858000"/>
                  </a:lnTo>
                  <a:lnTo>
                    <a:pt x="1169695" y="6858000"/>
                  </a:lnTo>
                  <a:lnTo>
                    <a:pt x="1086120" y="6858000"/>
                  </a:lnTo>
                  <a:lnTo>
                    <a:pt x="997259" y="6858000"/>
                  </a:lnTo>
                  <a:lnTo>
                    <a:pt x="913685" y="6858000"/>
                  </a:lnTo>
                  <a:lnTo>
                    <a:pt x="870219" y="6858000"/>
                  </a:lnTo>
                  <a:lnTo>
                    <a:pt x="697786" y="6858000"/>
                  </a:lnTo>
                  <a:lnTo>
                    <a:pt x="407694" y="6858000"/>
                  </a:lnTo>
                  <a:lnTo>
                    <a:pt x="235259" y="6858000"/>
                  </a:lnTo>
                  <a:lnTo>
                    <a:pt x="191793" y="6858000"/>
                  </a:lnTo>
                  <a:lnTo>
                    <a:pt x="19360" y="6858000"/>
                  </a:lnTo>
                  <a:lnTo>
                    <a:pt x="17996" y="6849955"/>
                  </a:lnTo>
                  <a:cubicBezTo>
                    <a:pt x="-59197" y="6243442"/>
                    <a:pt x="112361" y="5604070"/>
                    <a:pt x="524526" y="5157900"/>
                  </a:cubicBezTo>
                  <a:cubicBezTo>
                    <a:pt x="682566" y="4986819"/>
                    <a:pt x="861469" y="4859893"/>
                    <a:pt x="1050926" y="4776304"/>
                  </a:cubicBezTo>
                  <a:cubicBezTo>
                    <a:pt x="1510655" y="4560362"/>
                    <a:pt x="1856134" y="4362372"/>
                    <a:pt x="2107797" y="4089223"/>
                  </a:cubicBezTo>
                  <a:lnTo>
                    <a:pt x="2123121" y="4070634"/>
                  </a:lnTo>
                  <a:lnTo>
                    <a:pt x="2123121" y="6023844"/>
                  </a:lnTo>
                  <a:cubicBezTo>
                    <a:pt x="2123121" y="6147864"/>
                    <a:pt x="2223659" y="6248402"/>
                    <a:pt x="2347679" y="6248402"/>
                  </a:cubicBezTo>
                  <a:lnTo>
                    <a:pt x="4160197" y="6248402"/>
                  </a:lnTo>
                  <a:cubicBezTo>
                    <a:pt x="4284217" y="6248402"/>
                    <a:pt x="4384755" y="6147864"/>
                    <a:pt x="4384755" y="6023844"/>
                  </a:cubicBezTo>
                  <a:lnTo>
                    <a:pt x="4384755" y="1706652"/>
                  </a:lnTo>
                  <a:cubicBezTo>
                    <a:pt x="4384755" y="1582632"/>
                    <a:pt x="4284217" y="1482094"/>
                    <a:pt x="4160197" y="1482094"/>
                  </a:cubicBezTo>
                  <a:lnTo>
                    <a:pt x="2683917" y="1482094"/>
                  </a:lnTo>
                  <a:lnTo>
                    <a:pt x="2684201" y="1471626"/>
                  </a:lnTo>
                  <a:cubicBezTo>
                    <a:pt x="2711133" y="1018671"/>
                    <a:pt x="2840462" y="573586"/>
                    <a:pt x="3070301" y="188711"/>
                  </a:cubicBezTo>
                  <a:close/>
                </a:path>
              </a:pathLst>
            </a:custGeom>
            <a:solidFill>
              <a:srgbClr val="EAEA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</p:grpSp>
      <p:sp>
        <p:nvSpPr>
          <p:cNvPr id="12" name="!!_Titre_02_!!">
            <a:extLst>
              <a:ext uri="{FF2B5EF4-FFF2-40B4-BE49-F238E27FC236}">
                <a16:creationId xmlns:a16="http://schemas.microsoft.com/office/drawing/2014/main" id="{DB0D27E8-CC46-4E0D-EAEF-0C8566D9034E}"/>
              </a:ext>
            </a:extLst>
          </p:cNvPr>
          <p:cNvSpPr txBox="1"/>
          <p:nvPr/>
        </p:nvSpPr>
        <p:spPr>
          <a:xfrm>
            <a:off x="1366684" y="7022747"/>
            <a:ext cx="2795545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 ExtraBold" panose="00000900000000000000" pitchFamily="2" charset="0"/>
                <a:ea typeface="+mn-ea"/>
                <a:cs typeface="+mn-cs"/>
              </a:rPr>
              <a:t>Scanner le QR code</a:t>
            </a:r>
            <a:b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 ExtraBold" panose="00000900000000000000" pitchFamily="2" charset="0"/>
                <a:ea typeface="+mn-ea"/>
                <a:cs typeface="+mn-cs"/>
              </a:rPr>
            </a:b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555D7D"/>
                </a:solidFill>
                <a:effectLst/>
                <a:uLnTx/>
                <a:uFillTx/>
                <a:latin typeface="Montserrat Alternates ExtraBold" panose="00000900000000000000" pitchFamily="2" charset="0"/>
                <a:ea typeface="+mn-ea"/>
                <a:cs typeface="+mn-cs"/>
              </a:rPr>
              <a:t>présent sur vos boîtes </a:t>
            </a:r>
            <a:b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555D7D"/>
                </a:solidFill>
                <a:effectLst/>
                <a:uLnTx/>
                <a:uFillTx/>
                <a:latin typeface="Montserrat Alternates ExtraBold" panose="00000900000000000000" pitchFamily="2" charset="0"/>
                <a:ea typeface="+mn-ea"/>
                <a:cs typeface="+mn-cs"/>
              </a:rPr>
            </a:b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555D7D"/>
                </a:solidFill>
                <a:effectLst/>
                <a:uLnTx/>
                <a:uFillTx/>
                <a:latin typeface="Montserrat Alternates ExtraBold" panose="00000900000000000000" pitchFamily="2" charset="0"/>
                <a:ea typeface="+mn-ea"/>
                <a:cs typeface="+mn-cs"/>
              </a:rPr>
              <a:t>de médicament</a:t>
            </a:r>
          </a:p>
        </p:txBody>
      </p:sp>
      <p:sp>
        <p:nvSpPr>
          <p:cNvPr id="13" name="!!_Texte_02a_!!">
            <a:extLst>
              <a:ext uri="{FF2B5EF4-FFF2-40B4-BE49-F238E27FC236}">
                <a16:creationId xmlns:a16="http://schemas.microsoft.com/office/drawing/2014/main" id="{B6D85085-B654-6C89-A5DA-E5870D580418}"/>
              </a:ext>
            </a:extLst>
          </p:cNvPr>
          <p:cNvSpPr txBox="1"/>
          <p:nvPr/>
        </p:nvSpPr>
        <p:spPr>
          <a:xfrm>
            <a:off x="1366684" y="8005189"/>
            <a:ext cx="231631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Gestionnaire d’officine </a:t>
            </a:r>
            <a:b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 SemiBold" panose="00000700000000000000" pitchFamily="2" charset="0"/>
                <a:ea typeface="+mn-ea"/>
                <a:cs typeface="+mn-cs"/>
              </a:rPr>
            </a:b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 SemiBold" panose="00000700000000000000" pitchFamily="2" charset="0"/>
                <a:ea typeface="+mn-ea"/>
                <a:cs typeface="+mn-cs"/>
              </a:rPr>
              <a:t>à porter de main</a:t>
            </a:r>
          </a:p>
        </p:txBody>
      </p:sp>
      <p:sp>
        <p:nvSpPr>
          <p:cNvPr id="14" name="!!_Texte_02b_!!">
            <a:extLst>
              <a:ext uri="{FF2B5EF4-FFF2-40B4-BE49-F238E27FC236}">
                <a16:creationId xmlns:a16="http://schemas.microsoft.com/office/drawing/2014/main" id="{3E544DC2-804E-FBFA-23FD-B83B2D6E9C00}"/>
              </a:ext>
            </a:extLst>
          </p:cNvPr>
          <p:cNvSpPr txBox="1"/>
          <p:nvPr/>
        </p:nvSpPr>
        <p:spPr>
          <a:xfrm>
            <a:off x="1366684" y="8623067"/>
            <a:ext cx="315598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 SemiBold" panose="00000700000000000000" pitchFamily="2" charset="0"/>
                <a:ea typeface="+mn-ea"/>
                <a:cs typeface="+mn-cs"/>
              </a:rPr>
              <a:t>Accès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 à toutes les informations </a:t>
            </a:r>
            <a:b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</a:b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et les modalités de stockage </a:t>
            </a:r>
          </a:p>
        </p:txBody>
      </p:sp>
      <p:sp>
        <p:nvSpPr>
          <p:cNvPr id="25" name="!!_Texte_02c_!!">
            <a:extLst>
              <a:ext uri="{FF2B5EF4-FFF2-40B4-BE49-F238E27FC236}">
                <a16:creationId xmlns:a16="http://schemas.microsoft.com/office/drawing/2014/main" id="{8B9DC876-4F8A-88F8-7B06-0A0C457EA932}"/>
              </a:ext>
            </a:extLst>
          </p:cNvPr>
          <p:cNvSpPr txBox="1"/>
          <p:nvPr/>
        </p:nvSpPr>
        <p:spPr>
          <a:xfrm>
            <a:off x="1366685" y="9240946"/>
            <a:ext cx="263381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Notification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 pour prévenir </a:t>
            </a:r>
            <a:b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</a:b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sur la péremption</a:t>
            </a:r>
          </a:p>
        </p:txBody>
      </p:sp>
      <p:sp>
        <p:nvSpPr>
          <p:cNvPr id="269" name="Rectangle : avec coins arrondis en haut 268">
            <a:extLst>
              <a:ext uri="{FF2B5EF4-FFF2-40B4-BE49-F238E27FC236}">
                <a16:creationId xmlns:a16="http://schemas.microsoft.com/office/drawing/2014/main" id="{A79F47A2-CF9F-5E59-144A-3ACF4254B6E6}"/>
              </a:ext>
            </a:extLst>
          </p:cNvPr>
          <p:cNvSpPr/>
          <p:nvPr/>
        </p:nvSpPr>
        <p:spPr>
          <a:xfrm>
            <a:off x="0" y="3501035"/>
            <a:ext cx="1253744" cy="3356964"/>
          </a:xfrm>
          <a:prstGeom prst="round2SameRect">
            <a:avLst>
              <a:gd name="adj1" fmla="val 14135"/>
              <a:gd name="adj2" fmla="val 0"/>
            </a:avLst>
          </a:prstGeom>
          <a:solidFill>
            <a:srgbClr val="F4F4F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Alternates"/>
              <a:ea typeface="+mn-ea"/>
              <a:cs typeface="+mn-cs"/>
            </a:endParaRPr>
          </a:p>
        </p:txBody>
      </p:sp>
      <p:sp>
        <p:nvSpPr>
          <p:cNvPr id="268" name="ZoneTexte 267">
            <a:extLst>
              <a:ext uri="{FF2B5EF4-FFF2-40B4-BE49-F238E27FC236}">
                <a16:creationId xmlns:a16="http://schemas.microsoft.com/office/drawing/2014/main" id="{360714F1-1C5D-06FD-462E-E9145AF31E41}"/>
              </a:ext>
            </a:extLst>
          </p:cNvPr>
          <p:cNvSpPr txBox="1"/>
          <p:nvPr/>
        </p:nvSpPr>
        <p:spPr>
          <a:xfrm>
            <a:off x="908516" y="3865247"/>
            <a:ext cx="345228" cy="2321241"/>
          </a:xfrm>
          <a:prstGeom prst="roundRect">
            <a:avLst>
              <a:gd name="adj" fmla="val 50000"/>
            </a:avLst>
          </a:prstGeom>
          <a:solidFill>
            <a:srgbClr val="9097B3">
              <a:alpha val="30000"/>
            </a:srgbClr>
          </a:solidFill>
        </p:spPr>
        <p:txBody>
          <a:bodyPr wrap="non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Alternates ExtraBold" panose="00000900000000000000" pitchFamily="2" charset="0"/>
              <a:ea typeface="+mn-ea"/>
              <a:cs typeface="+mn-cs"/>
            </a:endParaRPr>
          </a:p>
        </p:txBody>
      </p:sp>
      <p:sp>
        <p:nvSpPr>
          <p:cNvPr id="15" name="!!_02_!!">
            <a:extLst>
              <a:ext uri="{FF2B5EF4-FFF2-40B4-BE49-F238E27FC236}">
                <a16:creationId xmlns:a16="http://schemas.microsoft.com/office/drawing/2014/main" id="{F5664548-1A69-B779-F1AD-D84FC4BA74FF}"/>
              </a:ext>
            </a:extLst>
          </p:cNvPr>
          <p:cNvSpPr txBox="1"/>
          <p:nvPr/>
        </p:nvSpPr>
        <p:spPr>
          <a:xfrm>
            <a:off x="908516" y="7094782"/>
            <a:ext cx="345228" cy="686928"/>
          </a:xfrm>
          <a:prstGeom prst="roundRect">
            <a:avLst>
              <a:gd name="adj" fmla="val 50000"/>
            </a:avLst>
          </a:prstGeom>
          <a:solidFill>
            <a:srgbClr val="555D7D"/>
          </a:solidFill>
        </p:spPr>
        <p:txBody>
          <a:bodyPr wrap="non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Alternates ExtraBold" panose="00000900000000000000" pitchFamily="2" charset="0"/>
                <a:ea typeface="+mn-ea"/>
                <a:cs typeface="+mn-cs"/>
              </a:rPr>
              <a:t>2</a:t>
            </a:r>
          </a:p>
        </p:txBody>
      </p:sp>
      <p:grpSp>
        <p:nvGrpSpPr>
          <p:cNvPr id="229" name="!!_Picto_02b_!!">
            <a:extLst>
              <a:ext uri="{FF2B5EF4-FFF2-40B4-BE49-F238E27FC236}">
                <a16:creationId xmlns:a16="http://schemas.microsoft.com/office/drawing/2014/main" id="{3D9F68F6-7361-373E-92E3-DFE93E98DE5D}"/>
              </a:ext>
            </a:extLst>
          </p:cNvPr>
          <p:cNvGrpSpPr>
            <a:grpSpLocks noChangeAspect="1"/>
          </p:cNvGrpSpPr>
          <p:nvPr/>
        </p:nvGrpSpPr>
        <p:grpSpPr>
          <a:xfrm>
            <a:off x="983838" y="8782861"/>
            <a:ext cx="194403" cy="194400"/>
            <a:chOff x="3033712" y="366712"/>
            <a:chExt cx="6121431" cy="6121336"/>
          </a:xfrm>
          <a:noFill/>
        </p:grpSpPr>
        <p:sp>
          <p:nvSpPr>
            <p:cNvPr id="230" name="Forme libre : forme 229">
              <a:extLst>
                <a:ext uri="{FF2B5EF4-FFF2-40B4-BE49-F238E27FC236}">
                  <a16:creationId xmlns:a16="http://schemas.microsoft.com/office/drawing/2014/main" id="{4B14EC4D-FAD9-6967-0D26-74A0E74788A4}"/>
                </a:ext>
              </a:extLst>
            </p:cNvPr>
            <p:cNvSpPr/>
            <p:nvPr/>
          </p:nvSpPr>
          <p:spPr>
            <a:xfrm>
              <a:off x="3033712" y="366712"/>
              <a:ext cx="6121431" cy="6121336"/>
            </a:xfrm>
            <a:custGeom>
              <a:avLst/>
              <a:gdLst>
                <a:gd name="connsiteX0" fmla="*/ 6121432 w 6121431"/>
                <a:gd name="connsiteY0" fmla="*/ 3060668 h 6121336"/>
                <a:gd name="connsiteX1" fmla="*/ 3060764 w 6121431"/>
                <a:gd name="connsiteY1" fmla="*/ 6121336 h 6121336"/>
                <a:gd name="connsiteX2" fmla="*/ 0 w 6121431"/>
                <a:gd name="connsiteY2" fmla="*/ 3060668 h 6121336"/>
                <a:gd name="connsiteX3" fmla="*/ 3060668 w 6121431"/>
                <a:gd name="connsiteY3" fmla="*/ 0 h 6121336"/>
                <a:gd name="connsiteX4" fmla="*/ 6121336 w 6121431"/>
                <a:gd name="connsiteY4" fmla="*/ 3060668 h 6121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21431" h="6121336">
                  <a:moveTo>
                    <a:pt x="6121432" y="3060668"/>
                  </a:moveTo>
                  <a:cubicBezTo>
                    <a:pt x="6121432" y="4751070"/>
                    <a:pt x="4751070" y="6121336"/>
                    <a:pt x="3060764" y="6121336"/>
                  </a:cubicBezTo>
                  <a:cubicBezTo>
                    <a:pt x="1370457" y="6121336"/>
                    <a:pt x="0" y="4751070"/>
                    <a:pt x="0" y="3060668"/>
                  </a:cubicBezTo>
                  <a:cubicBezTo>
                    <a:pt x="0" y="1370267"/>
                    <a:pt x="1370362" y="0"/>
                    <a:pt x="3060668" y="0"/>
                  </a:cubicBezTo>
                  <a:cubicBezTo>
                    <a:pt x="4750975" y="0"/>
                    <a:pt x="6121336" y="1370362"/>
                    <a:pt x="6121336" y="3060668"/>
                  </a:cubicBezTo>
                  <a:close/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31" name="Forme libre : forme 230">
              <a:extLst>
                <a:ext uri="{FF2B5EF4-FFF2-40B4-BE49-F238E27FC236}">
                  <a16:creationId xmlns:a16="http://schemas.microsoft.com/office/drawing/2014/main" id="{6C963D46-CE36-CE1A-0DF1-8AAAB60F4CD2}"/>
                </a:ext>
              </a:extLst>
            </p:cNvPr>
            <p:cNvSpPr/>
            <p:nvPr/>
          </p:nvSpPr>
          <p:spPr>
            <a:xfrm>
              <a:off x="5402865" y="2976371"/>
              <a:ext cx="1433893" cy="2288952"/>
            </a:xfrm>
            <a:custGeom>
              <a:avLst/>
              <a:gdLst>
                <a:gd name="connsiteX0" fmla="*/ 1338072 w 1433893"/>
                <a:gd name="connsiteY0" fmla="*/ 1632394 h 2288952"/>
                <a:gd name="connsiteX1" fmla="*/ 1152906 w 1433893"/>
                <a:gd name="connsiteY1" fmla="*/ 1632394 h 2288952"/>
                <a:gd name="connsiteX2" fmla="*/ 1138714 w 1433893"/>
                <a:gd name="connsiteY2" fmla="*/ 1618202 h 2288952"/>
                <a:gd name="connsiteX3" fmla="*/ 1138714 w 1433893"/>
                <a:gd name="connsiteY3" fmla="*/ 95821 h 2288952"/>
                <a:gd name="connsiteX4" fmla="*/ 1042892 w 1433893"/>
                <a:gd name="connsiteY4" fmla="*/ 0 h 2288952"/>
                <a:gd name="connsiteX5" fmla="*/ 95821 w 1433893"/>
                <a:gd name="connsiteY5" fmla="*/ 0 h 2288952"/>
                <a:gd name="connsiteX6" fmla="*/ 0 w 1433893"/>
                <a:gd name="connsiteY6" fmla="*/ 95821 h 2288952"/>
                <a:gd name="connsiteX7" fmla="*/ 0 w 1433893"/>
                <a:gd name="connsiteY7" fmla="*/ 560737 h 2288952"/>
                <a:gd name="connsiteX8" fmla="*/ 95821 w 1433893"/>
                <a:gd name="connsiteY8" fmla="*/ 656558 h 2288952"/>
                <a:gd name="connsiteX9" fmla="*/ 281940 w 1433893"/>
                <a:gd name="connsiteY9" fmla="*/ 656558 h 2288952"/>
                <a:gd name="connsiteX10" fmla="*/ 296132 w 1433893"/>
                <a:gd name="connsiteY10" fmla="*/ 670750 h 2288952"/>
                <a:gd name="connsiteX11" fmla="*/ 296132 w 1433893"/>
                <a:gd name="connsiteY11" fmla="*/ 1618202 h 2288952"/>
                <a:gd name="connsiteX12" fmla="*/ 281940 w 1433893"/>
                <a:gd name="connsiteY12" fmla="*/ 1632394 h 2288952"/>
                <a:gd name="connsiteX13" fmla="*/ 95821 w 1433893"/>
                <a:gd name="connsiteY13" fmla="*/ 1632394 h 2288952"/>
                <a:gd name="connsiteX14" fmla="*/ 0 w 1433893"/>
                <a:gd name="connsiteY14" fmla="*/ 1728216 h 2288952"/>
                <a:gd name="connsiteX15" fmla="*/ 0 w 1433893"/>
                <a:gd name="connsiteY15" fmla="*/ 2193131 h 2288952"/>
                <a:gd name="connsiteX16" fmla="*/ 95821 w 1433893"/>
                <a:gd name="connsiteY16" fmla="*/ 2288953 h 2288952"/>
                <a:gd name="connsiteX17" fmla="*/ 1338072 w 1433893"/>
                <a:gd name="connsiteY17" fmla="*/ 2288953 h 2288952"/>
                <a:gd name="connsiteX18" fmla="*/ 1433893 w 1433893"/>
                <a:gd name="connsiteY18" fmla="*/ 2193131 h 2288952"/>
                <a:gd name="connsiteX19" fmla="*/ 1433893 w 1433893"/>
                <a:gd name="connsiteY19" fmla="*/ 1728216 h 2288952"/>
                <a:gd name="connsiteX20" fmla="*/ 1338072 w 1433893"/>
                <a:gd name="connsiteY20" fmla="*/ 1632394 h 2288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433893" h="2288952">
                  <a:moveTo>
                    <a:pt x="1338072" y="1632394"/>
                  </a:moveTo>
                  <a:lnTo>
                    <a:pt x="1152906" y="1632394"/>
                  </a:lnTo>
                  <a:cubicBezTo>
                    <a:pt x="1145096" y="1632394"/>
                    <a:pt x="1138714" y="1626013"/>
                    <a:pt x="1138714" y="1618202"/>
                  </a:cubicBezTo>
                  <a:lnTo>
                    <a:pt x="1138714" y="95821"/>
                  </a:lnTo>
                  <a:cubicBezTo>
                    <a:pt x="1138714" y="42863"/>
                    <a:pt x="1095756" y="0"/>
                    <a:pt x="1042892" y="0"/>
                  </a:cubicBezTo>
                  <a:lnTo>
                    <a:pt x="95821" y="0"/>
                  </a:lnTo>
                  <a:cubicBezTo>
                    <a:pt x="42863" y="0"/>
                    <a:pt x="0" y="42958"/>
                    <a:pt x="0" y="95821"/>
                  </a:cubicBezTo>
                  <a:lnTo>
                    <a:pt x="0" y="560737"/>
                  </a:lnTo>
                  <a:cubicBezTo>
                    <a:pt x="0" y="613696"/>
                    <a:pt x="42958" y="656558"/>
                    <a:pt x="95821" y="656558"/>
                  </a:cubicBezTo>
                  <a:lnTo>
                    <a:pt x="281940" y="656558"/>
                  </a:lnTo>
                  <a:cubicBezTo>
                    <a:pt x="289750" y="656558"/>
                    <a:pt x="296132" y="662940"/>
                    <a:pt x="296132" y="670750"/>
                  </a:cubicBezTo>
                  <a:lnTo>
                    <a:pt x="296132" y="1618202"/>
                  </a:lnTo>
                  <a:cubicBezTo>
                    <a:pt x="296132" y="1626013"/>
                    <a:pt x="289750" y="1632394"/>
                    <a:pt x="281940" y="1632394"/>
                  </a:cubicBezTo>
                  <a:lnTo>
                    <a:pt x="95821" y="1632394"/>
                  </a:lnTo>
                  <a:cubicBezTo>
                    <a:pt x="42863" y="1632394"/>
                    <a:pt x="0" y="1675352"/>
                    <a:pt x="0" y="1728216"/>
                  </a:cubicBezTo>
                  <a:lnTo>
                    <a:pt x="0" y="2193131"/>
                  </a:lnTo>
                  <a:cubicBezTo>
                    <a:pt x="0" y="2246090"/>
                    <a:pt x="42958" y="2288953"/>
                    <a:pt x="95821" y="2288953"/>
                  </a:cubicBezTo>
                  <a:lnTo>
                    <a:pt x="1338072" y="2288953"/>
                  </a:lnTo>
                  <a:cubicBezTo>
                    <a:pt x="1391031" y="2288953"/>
                    <a:pt x="1433893" y="2245995"/>
                    <a:pt x="1433893" y="2193131"/>
                  </a:cubicBezTo>
                  <a:lnTo>
                    <a:pt x="1433893" y="1728216"/>
                  </a:lnTo>
                  <a:cubicBezTo>
                    <a:pt x="1433893" y="1675257"/>
                    <a:pt x="1390936" y="1632394"/>
                    <a:pt x="1338072" y="1632394"/>
                  </a:cubicBezTo>
                  <a:close/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34" name="Forme libre : forme 233">
              <a:extLst>
                <a:ext uri="{FF2B5EF4-FFF2-40B4-BE49-F238E27FC236}">
                  <a16:creationId xmlns:a16="http://schemas.microsoft.com/office/drawing/2014/main" id="{92FB4E18-F169-3286-E377-84D4285F27EC}"/>
                </a:ext>
              </a:extLst>
            </p:cNvPr>
            <p:cNvSpPr/>
            <p:nvPr/>
          </p:nvSpPr>
          <p:spPr>
            <a:xfrm>
              <a:off x="5695282" y="1589436"/>
              <a:ext cx="849058" cy="849058"/>
            </a:xfrm>
            <a:custGeom>
              <a:avLst/>
              <a:gdLst>
                <a:gd name="connsiteX0" fmla="*/ 849059 w 849058"/>
                <a:gd name="connsiteY0" fmla="*/ 424529 h 849058"/>
                <a:gd name="connsiteX1" fmla="*/ 424529 w 849058"/>
                <a:gd name="connsiteY1" fmla="*/ 849059 h 849058"/>
                <a:gd name="connsiteX2" fmla="*/ 0 w 849058"/>
                <a:gd name="connsiteY2" fmla="*/ 424529 h 849058"/>
                <a:gd name="connsiteX3" fmla="*/ 424529 w 849058"/>
                <a:gd name="connsiteY3" fmla="*/ 0 h 849058"/>
                <a:gd name="connsiteX4" fmla="*/ 849059 w 849058"/>
                <a:gd name="connsiteY4" fmla="*/ 424529 h 849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9058" h="849058">
                  <a:moveTo>
                    <a:pt x="849059" y="424529"/>
                  </a:moveTo>
                  <a:cubicBezTo>
                    <a:pt x="849059" y="658940"/>
                    <a:pt x="659035" y="849059"/>
                    <a:pt x="424529" y="849059"/>
                  </a:cubicBezTo>
                  <a:cubicBezTo>
                    <a:pt x="190024" y="849059"/>
                    <a:pt x="0" y="659035"/>
                    <a:pt x="0" y="424529"/>
                  </a:cubicBezTo>
                  <a:cubicBezTo>
                    <a:pt x="0" y="190024"/>
                    <a:pt x="190024" y="0"/>
                    <a:pt x="424529" y="0"/>
                  </a:cubicBezTo>
                  <a:cubicBezTo>
                    <a:pt x="659035" y="0"/>
                    <a:pt x="849059" y="190024"/>
                    <a:pt x="849059" y="424529"/>
                  </a:cubicBezTo>
                  <a:close/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</p:grpSp>
      <p:grpSp>
        <p:nvGrpSpPr>
          <p:cNvPr id="240" name="!!_Picto_02a_!!">
            <a:extLst>
              <a:ext uri="{FF2B5EF4-FFF2-40B4-BE49-F238E27FC236}">
                <a16:creationId xmlns:a16="http://schemas.microsoft.com/office/drawing/2014/main" id="{BC068700-435D-2DC7-C1C2-9B6C22A787D9}"/>
              </a:ext>
            </a:extLst>
          </p:cNvPr>
          <p:cNvGrpSpPr>
            <a:grpSpLocks noChangeAspect="1"/>
          </p:cNvGrpSpPr>
          <p:nvPr/>
        </p:nvGrpSpPr>
        <p:grpSpPr>
          <a:xfrm>
            <a:off x="983838" y="8174683"/>
            <a:ext cx="194400" cy="194049"/>
            <a:chOff x="3847691" y="1185576"/>
            <a:chExt cx="4496494" cy="4488370"/>
          </a:xfrm>
          <a:noFill/>
        </p:grpSpPr>
        <p:sp>
          <p:nvSpPr>
            <p:cNvPr id="241" name="Forme libre : forme 240">
              <a:extLst>
                <a:ext uri="{FF2B5EF4-FFF2-40B4-BE49-F238E27FC236}">
                  <a16:creationId xmlns:a16="http://schemas.microsoft.com/office/drawing/2014/main" id="{52750203-5C2E-D649-342F-C0DE42539F17}"/>
                </a:ext>
              </a:extLst>
            </p:cNvPr>
            <p:cNvSpPr/>
            <p:nvPr/>
          </p:nvSpPr>
          <p:spPr>
            <a:xfrm>
              <a:off x="3847691" y="2894075"/>
              <a:ext cx="3047360" cy="2779871"/>
            </a:xfrm>
            <a:custGeom>
              <a:avLst/>
              <a:gdLst>
                <a:gd name="connsiteX0" fmla="*/ 1566128 w 3047360"/>
                <a:gd name="connsiteY0" fmla="*/ 2019110 h 2779871"/>
                <a:gd name="connsiteX1" fmla="*/ 2935919 w 3047360"/>
                <a:gd name="connsiteY1" fmla="*/ 649319 h 2779871"/>
                <a:gd name="connsiteX2" fmla="*/ 2935919 w 3047360"/>
                <a:gd name="connsiteY2" fmla="*/ 111442 h 2779871"/>
                <a:gd name="connsiteX3" fmla="*/ 2397946 w 3047360"/>
                <a:gd name="connsiteY3" fmla="*/ 111442 h 2779871"/>
                <a:gd name="connsiteX4" fmla="*/ 1860356 w 3047360"/>
                <a:gd name="connsiteY4" fmla="*/ 649034 h 2779871"/>
                <a:gd name="connsiteX5" fmla="*/ 918619 w 3047360"/>
                <a:gd name="connsiteY5" fmla="*/ 292608 h 2779871"/>
                <a:gd name="connsiteX6" fmla="*/ 514854 w 3047360"/>
                <a:gd name="connsiteY6" fmla="*/ 379476 h 2779871"/>
                <a:gd name="connsiteX7" fmla="*/ 434177 w 3047360"/>
                <a:gd name="connsiteY7" fmla="*/ 498443 h 2779871"/>
                <a:gd name="connsiteX8" fmla="*/ 30698 w 3047360"/>
                <a:gd name="connsiteY8" fmla="*/ 1439799 h 2779871"/>
                <a:gd name="connsiteX9" fmla="*/ 111375 w 3047360"/>
                <a:gd name="connsiteY9" fmla="*/ 1858709 h 2779871"/>
                <a:gd name="connsiteX10" fmla="*/ 918238 w 3047360"/>
                <a:gd name="connsiteY10" fmla="*/ 2665571 h 2779871"/>
                <a:gd name="connsiteX11" fmla="*/ 1186176 w 3047360"/>
                <a:gd name="connsiteY11" fmla="*/ 2777014 h 2779871"/>
                <a:gd name="connsiteX12" fmla="*/ 2290124 w 3047360"/>
                <a:gd name="connsiteY12" fmla="*/ 2779871 h 2779871"/>
                <a:gd name="connsiteX13" fmla="*/ 2670457 w 3047360"/>
                <a:gd name="connsiteY13" fmla="*/ 2399538 h 2779871"/>
                <a:gd name="connsiteX14" fmla="*/ 2290124 w 3047360"/>
                <a:gd name="connsiteY14" fmla="*/ 2019205 h 2779871"/>
                <a:gd name="connsiteX15" fmla="*/ 1565938 w 3047360"/>
                <a:gd name="connsiteY15" fmla="*/ 2019205 h 2779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47360" h="2779871">
                  <a:moveTo>
                    <a:pt x="1566128" y="2019110"/>
                  </a:moveTo>
                  <a:lnTo>
                    <a:pt x="2935919" y="649319"/>
                  </a:lnTo>
                  <a:cubicBezTo>
                    <a:pt x="3084509" y="500729"/>
                    <a:pt x="3084509" y="259937"/>
                    <a:pt x="2935919" y="111442"/>
                  </a:cubicBezTo>
                  <a:cubicBezTo>
                    <a:pt x="2787328" y="-37147"/>
                    <a:pt x="2546536" y="-37147"/>
                    <a:pt x="2397946" y="111442"/>
                  </a:cubicBezTo>
                  <a:lnTo>
                    <a:pt x="1860356" y="649034"/>
                  </a:lnTo>
                  <a:lnTo>
                    <a:pt x="918619" y="292608"/>
                  </a:lnTo>
                  <a:cubicBezTo>
                    <a:pt x="783078" y="241363"/>
                    <a:pt x="624010" y="270320"/>
                    <a:pt x="514854" y="379476"/>
                  </a:cubicBezTo>
                  <a:cubicBezTo>
                    <a:pt x="479611" y="414719"/>
                    <a:pt x="452656" y="455200"/>
                    <a:pt x="434177" y="498443"/>
                  </a:cubicBezTo>
                  <a:lnTo>
                    <a:pt x="30698" y="1439799"/>
                  </a:lnTo>
                  <a:cubicBezTo>
                    <a:pt x="-28738" y="1578578"/>
                    <a:pt x="-1877" y="1745456"/>
                    <a:pt x="111375" y="1858709"/>
                  </a:cubicBezTo>
                  <a:lnTo>
                    <a:pt x="918238" y="2665571"/>
                  </a:lnTo>
                  <a:cubicBezTo>
                    <a:pt x="992247" y="2739581"/>
                    <a:pt x="1089211" y="2776728"/>
                    <a:pt x="1186176" y="2777014"/>
                  </a:cubicBezTo>
                  <a:cubicBezTo>
                    <a:pt x="1186176" y="2777014"/>
                    <a:pt x="2289838" y="2779871"/>
                    <a:pt x="2290124" y="2779871"/>
                  </a:cubicBezTo>
                  <a:cubicBezTo>
                    <a:pt x="2500150" y="2779871"/>
                    <a:pt x="2670457" y="2609564"/>
                    <a:pt x="2670457" y="2399538"/>
                  </a:cubicBezTo>
                  <a:cubicBezTo>
                    <a:pt x="2670457" y="2189512"/>
                    <a:pt x="2500150" y="2019205"/>
                    <a:pt x="2290124" y="2019205"/>
                  </a:cubicBezTo>
                  <a:lnTo>
                    <a:pt x="1565938" y="2019205"/>
                  </a:lnTo>
                  <a:close/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42" name="Forme libre : forme 241">
              <a:extLst>
                <a:ext uri="{FF2B5EF4-FFF2-40B4-BE49-F238E27FC236}">
                  <a16:creationId xmlns:a16="http://schemas.microsoft.com/office/drawing/2014/main" id="{FD989016-D8B8-2092-5F0A-50D07544BEE9}"/>
                </a:ext>
              </a:extLst>
            </p:cNvPr>
            <p:cNvSpPr/>
            <p:nvPr/>
          </p:nvSpPr>
          <p:spPr>
            <a:xfrm>
              <a:off x="5757576" y="1185576"/>
              <a:ext cx="2586608" cy="4488370"/>
            </a:xfrm>
            <a:custGeom>
              <a:avLst/>
              <a:gdLst>
                <a:gd name="connsiteX0" fmla="*/ 1445514 w 2586608"/>
                <a:gd name="connsiteY0" fmla="*/ 4488371 h 4488370"/>
                <a:gd name="connsiteX1" fmla="*/ 1825847 w 2586608"/>
                <a:gd name="connsiteY1" fmla="*/ 4488371 h 4488370"/>
                <a:gd name="connsiteX2" fmla="*/ 2586609 w 2586608"/>
                <a:gd name="connsiteY2" fmla="*/ 3727609 h 4488370"/>
                <a:gd name="connsiteX3" fmla="*/ 2586609 w 2586608"/>
                <a:gd name="connsiteY3" fmla="*/ 760762 h 4488370"/>
                <a:gd name="connsiteX4" fmla="*/ 1825847 w 2586608"/>
                <a:gd name="connsiteY4" fmla="*/ 0 h 4488370"/>
                <a:gd name="connsiteX5" fmla="*/ 760762 w 2586608"/>
                <a:gd name="connsiteY5" fmla="*/ 0 h 4488370"/>
                <a:gd name="connsiteX6" fmla="*/ 0 w 2586608"/>
                <a:gd name="connsiteY6" fmla="*/ 760762 h 4488370"/>
                <a:gd name="connsiteX7" fmla="*/ 0 w 2586608"/>
                <a:gd name="connsiteY7" fmla="*/ 1235202 h 4488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6608" h="4488370">
                  <a:moveTo>
                    <a:pt x="1445514" y="4488371"/>
                  </a:moveTo>
                  <a:lnTo>
                    <a:pt x="1825847" y="4488371"/>
                  </a:lnTo>
                  <a:cubicBezTo>
                    <a:pt x="2245995" y="4488371"/>
                    <a:pt x="2586609" y="4147757"/>
                    <a:pt x="2586609" y="3727609"/>
                  </a:cubicBezTo>
                  <a:lnTo>
                    <a:pt x="2586609" y="760762"/>
                  </a:lnTo>
                  <a:cubicBezTo>
                    <a:pt x="2586609" y="340614"/>
                    <a:pt x="2245995" y="0"/>
                    <a:pt x="1825847" y="0"/>
                  </a:cubicBezTo>
                  <a:lnTo>
                    <a:pt x="760762" y="0"/>
                  </a:lnTo>
                  <a:cubicBezTo>
                    <a:pt x="340614" y="0"/>
                    <a:pt x="0" y="340614"/>
                    <a:pt x="0" y="760762"/>
                  </a:cubicBezTo>
                  <a:lnTo>
                    <a:pt x="0" y="1235202"/>
                  </a:ln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44" name="Forme libre : forme 243">
              <a:extLst>
                <a:ext uri="{FF2B5EF4-FFF2-40B4-BE49-F238E27FC236}">
                  <a16:creationId xmlns:a16="http://schemas.microsoft.com/office/drawing/2014/main" id="{00B67B67-E306-EBED-A578-719D45716B84}"/>
                </a:ext>
              </a:extLst>
            </p:cNvPr>
            <p:cNvSpPr/>
            <p:nvPr/>
          </p:nvSpPr>
          <p:spPr>
            <a:xfrm>
              <a:off x="6898767" y="1946338"/>
              <a:ext cx="304323" cy="9525"/>
            </a:xfrm>
            <a:custGeom>
              <a:avLst/>
              <a:gdLst>
                <a:gd name="connsiteX0" fmla="*/ 304324 w 304323"/>
                <a:gd name="connsiteY0" fmla="*/ 0 h 9525"/>
                <a:gd name="connsiteX1" fmla="*/ 0 w 30432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4323" h="9525">
                  <a:moveTo>
                    <a:pt x="304324" y="0"/>
                  </a:move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</p:grpSp>
      <p:grpSp>
        <p:nvGrpSpPr>
          <p:cNvPr id="257" name="!!_Picto_02c_!!">
            <a:extLst>
              <a:ext uri="{FF2B5EF4-FFF2-40B4-BE49-F238E27FC236}">
                <a16:creationId xmlns:a16="http://schemas.microsoft.com/office/drawing/2014/main" id="{13AC2C16-022C-1D37-82B3-70703A7F98C9}"/>
              </a:ext>
            </a:extLst>
          </p:cNvPr>
          <p:cNvGrpSpPr>
            <a:grpSpLocks noChangeAspect="1"/>
          </p:cNvGrpSpPr>
          <p:nvPr/>
        </p:nvGrpSpPr>
        <p:grpSpPr>
          <a:xfrm>
            <a:off x="983930" y="9385507"/>
            <a:ext cx="194400" cy="234098"/>
            <a:chOff x="3606831" y="430243"/>
            <a:chExt cx="4977860" cy="5994368"/>
          </a:xfrm>
          <a:noFill/>
        </p:grpSpPr>
        <p:sp>
          <p:nvSpPr>
            <p:cNvPr id="258" name="Forme libre : forme 257">
              <a:extLst>
                <a:ext uri="{FF2B5EF4-FFF2-40B4-BE49-F238E27FC236}">
                  <a16:creationId xmlns:a16="http://schemas.microsoft.com/office/drawing/2014/main" id="{405A9C29-2FF6-A5AF-43B7-9F3815602DF8}"/>
                </a:ext>
              </a:extLst>
            </p:cNvPr>
            <p:cNvSpPr/>
            <p:nvPr/>
          </p:nvSpPr>
          <p:spPr>
            <a:xfrm>
              <a:off x="3606831" y="430243"/>
              <a:ext cx="966596" cy="1523999"/>
            </a:xfrm>
            <a:custGeom>
              <a:avLst/>
              <a:gdLst>
                <a:gd name="connsiteX0" fmla="*/ 0 w 966596"/>
                <a:gd name="connsiteY0" fmla="*/ 1524000 h 1523999"/>
                <a:gd name="connsiteX1" fmla="*/ 966597 w 966596"/>
                <a:gd name="connsiteY1" fmla="*/ 0 h 152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6596" h="1523999">
                  <a:moveTo>
                    <a:pt x="0" y="1524000"/>
                  </a:moveTo>
                  <a:cubicBezTo>
                    <a:pt x="126206" y="904685"/>
                    <a:pt x="478536" y="366617"/>
                    <a:pt x="966597" y="0"/>
                  </a:cubicBez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59" name="Forme libre : forme 258">
              <a:extLst>
                <a:ext uri="{FF2B5EF4-FFF2-40B4-BE49-F238E27FC236}">
                  <a16:creationId xmlns:a16="http://schemas.microsoft.com/office/drawing/2014/main" id="{4B5ECE70-614F-9BE6-418A-DB5C54379B85}"/>
                </a:ext>
              </a:extLst>
            </p:cNvPr>
            <p:cNvSpPr/>
            <p:nvPr/>
          </p:nvSpPr>
          <p:spPr>
            <a:xfrm>
              <a:off x="4063841" y="938212"/>
              <a:ext cx="4063936" cy="3962400"/>
            </a:xfrm>
            <a:custGeom>
              <a:avLst/>
              <a:gdLst>
                <a:gd name="connsiteX0" fmla="*/ 3555968 w 4063936"/>
                <a:gd name="connsiteY0" fmla="*/ 2576989 h 3962400"/>
                <a:gd name="connsiteX1" fmla="*/ 3555968 w 4063936"/>
                <a:gd name="connsiteY1" fmla="*/ 1524000 h 3962400"/>
                <a:gd name="connsiteX2" fmla="*/ 2031968 w 4063936"/>
                <a:gd name="connsiteY2" fmla="*/ 0 h 3962400"/>
                <a:gd name="connsiteX3" fmla="*/ 507968 w 4063936"/>
                <a:gd name="connsiteY3" fmla="*/ 1524000 h 3962400"/>
                <a:gd name="connsiteX4" fmla="*/ 507968 w 4063936"/>
                <a:gd name="connsiteY4" fmla="*/ 2576989 h 3962400"/>
                <a:gd name="connsiteX5" fmla="*/ 271748 w 4063936"/>
                <a:gd name="connsiteY5" fmla="*/ 3004566 h 3962400"/>
                <a:gd name="connsiteX6" fmla="*/ 0 w 4063936"/>
                <a:gd name="connsiteY6" fmla="*/ 3454432 h 3962400"/>
                <a:gd name="connsiteX7" fmla="*/ 507968 w 4063936"/>
                <a:gd name="connsiteY7" fmla="*/ 3962400 h 3962400"/>
                <a:gd name="connsiteX8" fmla="*/ 3555968 w 4063936"/>
                <a:gd name="connsiteY8" fmla="*/ 3962400 h 3962400"/>
                <a:gd name="connsiteX9" fmla="*/ 4063937 w 4063936"/>
                <a:gd name="connsiteY9" fmla="*/ 3454432 h 3962400"/>
                <a:gd name="connsiteX10" fmla="*/ 3792188 w 4063936"/>
                <a:gd name="connsiteY10" fmla="*/ 3004566 h 3962400"/>
                <a:gd name="connsiteX11" fmla="*/ 3555968 w 4063936"/>
                <a:gd name="connsiteY11" fmla="*/ 2576989 h 396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63936" h="3962400">
                  <a:moveTo>
                    <a:pt x="3555968" y="2576989"/>
                  </a:moveTo>
                  <a:lnTo>
                    <a:pt x="3555968" y="1524000"/>
                  </a:lnTo>
                  <a:cubicBezTo>
                    <a:pt x="3555968" y="682276"/>
                    <a:pt x="2873693" y="0"/>
                    <a:pt x="2031968" y="0"/>
                  </a:cubicBezTo>
                  <a:cubicBezTo>
                    <a:pt x="1190244" y="0"/>
                    <a:pt x="507968" y="682276"/>
                    <a:pt x="507968" y="1524000"/>
                  </a:cubicBezTo>
                  <a:lnTo>
                    <a:pt x="507968" y="2576989"/>
                  </a:lnTo>
                  <a:cubicBezTo>
                    <a:pt x="507968" y="2750725"/>
                    <a:pt x="425577" y="2923604"/>
                    <a:pt x="271748" y="3004566"/>
                  </a:cubicBezTo>
                  <a:cubicBezTo>
                    <a:pt x="110109" y="3089624"/>
                    <a:pt x="0" y="3259170"/>
                    <a:pt x="0" y="3454432"/>
                  </a:cubicBezTo>
                  <a:cubicBezTo>
                    <a:pt x="0" y="3734943"/>
                    <a:pt x="227457" y="3962400"/>
                    <a:pt x="507968" y="3962400"/>
                  </a:cubicBezTo>
                  <a:lnTo>
                    <a:pt x="3555968" y="3962400"/>
                  </a:lnTo>
                  <a:cubicBezTo>
                    <a:pt x="3836575" y="3962400"/>
                    <a:pt x="4063937" y="3734943"/>
                    <a:pt x="4063937" y="3454432"/>
                  </a:cubicBezTo>
                  <a:cubicBezTo>
                    <a:pt x="4063937" y="3259170"/>
                    <a:pt x="3953732" y="3089624"/>
                    <a:pt x="3792188" y="3004566"/>
                  </a:cubicBezTo>
                  <a:cubicBezTo>
                    <a:pt x="3638360" y="2923604"/>
                    <a:pt x="3555968" y="2750725"/>
                    <a:pt x="3555968" y="2576989"/>
                  </a:cubicBezTo>
                  <a:close/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60" name="Forme libre : forme 259">
              <a:extLst>
                <a:ext uri="{FF2B5EF4-FFF2-40B4-BE49-F238E27FC236}">
                  <a16:creationId xmlns:a16="http://schemas.microsoft.com/office/drawing/2014/main" id="{1A9DB6CA-A082-0607-A1F0-BFFE1D675D3A}"/>
                </a:ext>
              </a:extLst>
            </p:cNvPr>
            <p:cNvSpPr/>
            <p:nvPr/>
          </p:nvSpPr>
          <p:spPr>
            <a:xfrm>
              <a:off x="5587841" y="5916643"/>
              <a:ext cx="1015936" cy="507968"/>
            </a:xfrm>
            <a:custGeom>
              <a:avLst/>
              <a:gdLst>
                <a:gd name="connsiteX0" fmla="*/ 1015937 w 1015936"/>
                <a:gd name="connsiteY0" fmla="*/ 0 h 507968"/>
                <a:gd name="connsiteX1" fmla="*/ 507968 w 1015936"/>
                <a:gd name="connsiteY1" fmla="*/ 507968 h 507968"/>
                <a:gd name="connsiteX2" fmla="*/ 0 w 1015936"/>
                <a:gd name="connsiteY2" fmla="*/ 0 h 50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5936" h="507968">
                  <a:moveTo>
                    <a:pt x="1015937" y="0"/>
                  </a:moveTo>
                  <a:cubicBezTo>
                    <a:pt x="1015937" y="280511"/>
                    <a:pt x="788480" y="507968"/>
                    <a:pt x="507968" y="507968"/>
                  </a:cubicBezTo>
                  <a:cubicBezTo>
                    <a:pt x="227457" y="507968"/>
                    <a:pt x="0" y="280511"/>
                    <a:pt x="0" y="0"/>
                  </a:cubicBez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61" name="Forme libre : forme 260">
              <a:extLst>
                <a:ext uri="{FF2B5EF4-FFF2-40B4-BE49-F238E27FC236}">
                  <a16:creationId xmlns:a16="http://schemas.microsoft.com/office/drawing/2014/main" id="{2C37B894-B3E5-6134-BB5E-87F76285C535}"/>
                </a:ext>
              </a:extLst>
            </p:cNvPr>
            <p:cNvSpPr/>
            <p:nvPr/>
          </p:nvSpPr>
          <p:spPr>
            <a:xfrm>
              <a:off x="7618094" y="430243"/>
              <a:ext cx="966597" cy="1523999"/>
            </a:xfrm>
            <a:custGeom>
              <a:avLst/>
              <a:gdLst>
                <a:gd name="connsiteX0" fmla="*/ 966597 w 966597"/>
                <a:gd name="connsiteY0" fmla="*/ 1524000 h 1523999"/>
                <a:gd name="connsiteX1" fmla="*/ 0 w 966597"/>
                <a:gd name="connsiteY1" fmla="*/ 0 h 152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6597" h="1523999">
                  <a:moveTo>
                    <a:pt x="966597" y="1524000"/>
                  </a:moveTo>
                  <a:cubicBezTo>
                    <a:pt x="840391" y="904685"/>
                    <a:pt x="488061" y="366617"/>
                    <a:pt x="0" y="0"/>
                  </a:cubicBez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62" name="Forme libre : forme 261">
              <a:extLst>
                <a:ext uri="{FF2B5EF4-FFF2-40B4-BE49-F238E27FC236}">
                  <a16:creationId xmlns:a16="http://schemas.microsoft.com/office/drawing/2014/main" id="{AFA79450-0260-418F-26CA-202424F0ADBD}"/>
                </a:ext>
              </a:extLst>
            </p:cNvPr>
            <p:cNvSpPr/>
            <p:nvPr/>
          </p:nvSpPr>
          <p:spPr>
            <a:xfrm>
              <a:off x="6095809" y="430243"/>
              <a:ext cx="9525" cy="507968"/>
            </a:xfrm>
            <a:custGeom>
              <a:avLst/>
              <a:gdLst>
                <a:gd name="connsiteX0" fmla="*/ 0 w 9525"/>
                <a:gd name="connsiteY0" fmla="*/ 0 h 507968"/>
                <a:gd name="connsiteX1" fmla="*/ 0 w 9525"/>
                <a:gd name="connsiteY1" fmla="*/ 507968 h 50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07968">
                  <a:moveTo>
                    <a:pt x="0" y="0"/>
                  </a:moveTo>
                  <a:lnTo>
                    <a:pt x="0" y="507968"/>
                  </a:ln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</p:grpSp>
      <p:sp>
        <p:nvSpPr>
          <p:cNvPr id="21" name="Cache02">
            <a:extLst>
              <a:ext uri="{FF2B5EF4-FFF2-40B4-BE49-F238E27FC236}">
                <a16:creationId xmlns:a16="http://schemas.microsoft.com/office/drawing/2014/main" id="{ABA88861-1109-C739-E63E-048D88EA0695}"/>
              </a:ext>
            </a:extLst>
          </p:cNvPr>
          <p:cNvSpPr/>
          <p:nvPr/>
        </p:nvSpPr>
        <p:spPr>
          <a:xfrm flipV="1">
            <a:off x="1" y="5946715"/>
            <a:ext cx="1323141" cy="911285"/>
          </a:xfrm>
          <a:custGeom>
            <a:avLst/>
            <a:gdLst>
              <a:gd name="connsiteX0" fmla="*/ 0 w 1323141"/>
              <a:gd name="connsiteY0" fmla="*/ 911285 h 911285"/>
              <a:gd name="connsiteX1" fmla="*/ 908516 w 1323141"/>
              <a:gd name="connsiteY1" fmla="*/ 911285 h 911285"/>
              <a:gd name="connsiteX2" fmla="*/ 908516 w 1323141"/>
              <a:gd name="connsiteY2" fmla="*/ 854764 h 911285"/>
              <a:gd name="connsiteX3" fmla="*/ 1081130 w 1323141"/>
              <a:gd name="connsiteY3" fmla="*/ 682150 h 911285"/>
              <a:gd name="connsiteX4" fmla="*/ 1253744 w 1323141"/>
              <a:gd name="connsiteY4" fmla="*/ 854764 h 911285"/>
              <a:gd name="connsiteX5" fmla="*/ 1253744 w 1323141"/>
              <a:gd name="connsiteY5" fmla="*/ 911285 h 911285"/>
              <a:gd name="connsiteX6" fmla="*/ 1314397 w 1323141"/>
              <a:gd name="connsiteY6" fmla="*/ 911285 h 911285"/>
              <a:gd name="connsiteX7" fmla="*/ 1314397 w 1323141"/>
              <a:gd name="connsiteY7" fmla="*/ 519401 h 911285"/>
              <a:gd name="connsiteX8" fmla="*/ 1323141 w 1323141"/>
              <a:gd name="connsiteY8" fmla="*/ 519401 h 911285"/>
              <a:gd name="connsiteX9" fmla="*/ 1323141 w 1323141"/>
              <a:gd name="connsiteY9" fmla="*/ 0 h 911285"/>
              <a:gd name="connsiteX10" fmla="*/ 0 w 1323141"/>
              <a:gd name="connsiteY10" fmla="*/ 0 h 911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323141" h="911285">
                <a:moveTo>
                  <a:pt x="0" y="911285"/>
                </a:moveTo>
                <a:lnTo>
                  <a:pt x="908516" y="911285"/>
                </a:lnTo>
                <a:lnTo>
                  <a:pt x="908516" y="854764"/>
                </a:lnTo>
                <a:cubicBezTo>
                  <a:pt x="908516" y="759432"/>
                  <a:pt x="985798" y="682150"/>
                  <a:pt x="1081130" y="682150"/>
                </a:cubicBezTo>
                <a:cubicBezTo>
                  <a:pt x="1176462" y="682150"/>
                  <a:pt x="1253744" y="759432"/>
                  <a:pt x="1253744" y="854764"/>
                </a:cubicBezTo>
                <a:lnTo>
                  <a:pt x="1253744" y="911285"/>
                </a:lnTo>
                <a:lnTo>
                  <a:pt x="1314397" y="911285"/>
                </a:lnTo>
                <a:lnTo>
                  <a:pt x="1314397" y="519401"/>
                </a:lnTo>
                <a:lnTo>
                  <a:pt x="1323141" y="519401"/>
                </a:lnTo>
                <a:lnTo>
                  <a:pt x="1323141" y="0"/>
                </a:lnTo>
                <a:lnTo>
                  <a:pt x="0" y="0"/>
                </a:lnTo>
                <a:close/>
              </a:path>
            </a:pathLst>
          </a:custGeom>
          <a:solidFill>
            <a:srgbClr val="F4F4F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Alternates"/>
              <a:ea typeface="+mn-ea"/>
              <a:cs typeface="+mn-cs"/>
            </a:endParaRPr>
          </a:p>
        </p:txBody>
      </p:sp>
      <p:pic>
        <p:nvPicPr>
          <p:cNvPr id="243" name="Image 242" descr="Une image contenant capture d’écran, Rectangle, smartphone&#10;&#10;Le contenu généré par l’IA peut être incorrect.">
            <a:extLst>
              <a:ext uri="{FF2B5EF4-FFF2-40B4-BE49-F238E27FC236}">
                <a16:creationId xmlns:a16="http://schemas.microsoft.com/office/drawing/2014/main" id="{98A9DEAE-44CC-EF9D-0692-6F81733C69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12216" y="1130300"/>
            <a:ext cx="3046013" cy="5473700"/>
          </a:xfrm>
          <a:prstGeom prst="rect">
            <a:avLst/>
          </a:prstGeom>
        </p:spPr>
      </p:pic>
      <p:sp>
        <p:nvSpPr>
          <p:cNvPr id="17" name="!!_Titre_03_!!">
            <a:extLst>
              <a:ext uri="{FF2B5EF4-FFF2-40B4-BE49-F238E27FC236}">
                <a16:creationId xmlns:a16="http://schemas.microsoft.com/office/drawing/2014/main" id="{E3E3A6F3-E647-ED29-A734-C76F2481D36C}"/>
              </a:ext>
            </a:extLst>
          </p:cNvPr>
          <p:cNvSpPr txBox="1"/>
          <p:nvPr/>
        </p:nvSpPr>
        <p:spPr>
          <a:xfrm>
            <a:off x="1366684" y="3552111"/>
            <a:ext cx="3858513" cy="58477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 ExtraBold" panose="00000900000000000000" pitchFamily="2" charset="0"/>
                <a:ea typeface="+mn-ea"/>
                <a:cs typeface="+mn-cs"/>
              </a:rPr>
              <a:t>Fournir des information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555D7D"/>
                </a:solidFill>
                <a:effectLst/>
                <a:uLnTx/>
                <a:uFillTx/>
                <a:latin typeface="Montserrat Alternates ExtraBold" panose="00000900000000000000" pitchFamily="2" charset="0"/>
                <a:ea typeface="+mn-ea"/>
                <a:cs typeface="+mn-cs"/>
              </a:rPr>
              <a:t>sur la gestion de votre traitement </a:t>
            </a:r>
          </a:p>
        </p:txBody>
      </p:sp>
      <p:sp>
        <p:nvSpPr>
          <p:cNvPr id="18" name="!!_Texte_03a_!!">
            <a:extLst>
              <a:ext uri="{FF2B5EF4-FFF2-40B4-BE49-F238E27FC236}">
                <a16:creationId xmlns:a16="http://schemas.microsoft.com/office/drawing/2014/main" id="{3908EE6B-5762-E016-A05E-2FAAFD0CBC74}"/>
              </a:ext>
            </a:extLst>
          </p:cNvPr>
          <p:cNvSpPr txBox="1"/>
          <p:nvPr/>
        </p:nvSpPr>
        <p:spPr>
          <a:xfrm>
            <a:off x="1366684" y="4411442"/>
            <a:ext cx="376886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Pilulier </a:t>
            </a: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automatique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 &amp; </a:t>
            </a: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intelligent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 </a:t>
            </a:r>
          </a:p>
        </p:txBody>
      </p:sp>
      <p:sp>
        <p:nvSpPr>
          <p:cNvPr id="19" name="!!_Texte_03c_!!">
            <a:extLst>
              <a:ext uri="{FF2B5EF4-FFF2-40B4-BE49-F238E27FC236}">
                <a16:creationId xmlns:a16="http://schemas.microsoft.com/office/drawing/2014/main" id="{DAFF4DA2-E6C1-1EEB-CF1D-C234CACA8E62}"/>
              </a:ext>
            </a:extLst>
          </p:cNvPr>
          <p:cNvSpPr txBox="1"/>
          <p:nvPr/>
        </p:nvSpPr>
        <p:spPr>
          <a:xfrm>
            <a:off x="1366685" y="5711277"/>
            <a:ext cx="394236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Stock actualisé 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en temps réel </a:t>
            </a:r>
          </a:p>
        </p:txBody>
      </p:sp>
      <p:sp>
        <p:nvSpPr>
          <p:cNvPr id="20" name="!!_03_!!">
            <a:extLst>
              <a:ext uri="{FF2B5EF4-FFF2-40B4-BE49-F238E27FC236}">
                <a16:creationId xmlns:a16="http://schemas.microsoft.com/office/drawing/2014/main" id="{B833644F-B9C2-D35C-EB1A-586426D1AE45}"/>
              </a:ext>
            </a:extLst>
          </p:cNvPr>
          <p:cNvSpPr txBox="1"/>
          <p:nvPr/>
        </p:nvSpPr>
        <p:spPr>
          <a:xfrm>
            <a:off x="908516" y="3501035"/>
            <a:ext cx="345228" cy="686928"/>
          </a:xfrm>
          <a:prstGeom prst="roundRect">
            <a:avLst>
              <a:gd name="adj" fmla="val 50000"/>
            </a:avLst>
          </a:prstGeom>
          <a:solidFill>
            <a:srgbClr val="555D7D"/>
          </a:solidFill>
        </p:spPr>
        <p:txBody>
          <a:bodyPr wrap="non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Alternates ExtraBold" panose="00000900000000000000" pitchFamily="2" charset="0"/>
                <a:ea typeface="+mn-ea"/>
                <a:cs typeface="+mn-cs"/>
              </a:rPr>
              <a:t>3</a:t>
            </a:r>
          </a:p>
        </p:txBody>
      </p:sp>
      <p:grpSp>
        <p:nvGrpSpPr>
          <p:cNvPr id="250" name="!!_Picto_03b_!!">
            <a:extLst>
              <a:ext uri="{FF2B5EF4-FFF2-40B4-BE49-F238E27FC236}">
                <a16:creationId xmlns:a16="http://schemas.microsoft.com/office/drawing/2014/main" id="{E00F863F-781A-4B56-9C8C-CD1837C7750A}"/>
              </a:ext>
            </a:extLst>
          </p:cNvPr>
          <p:cNvGrpSpPr>
            <a:grpSpLocks noChangeAspect="1"/>
          </p:cNvGrpSpPr>
          <p:nvPr/>
        </p:nvGrpSpPr>
        <p:grpSpPr>
          <a:xfrm>
            <a:off x="983930" y="5098199"/>
            <a:ext cx="194400" cy="234098"/>
            <a:chOff x="3606831" y="430243"/>
            <a:chExt cx="4977860" cy="5994368"/>
          </a:xfrm>
          <a:noFill/>
        </p:grpSpPr>
        <p:sp>
          <p:nvSpPr>
            <p:cNvPr id="251" name="Forme libre : forme 250">
              <a:extLst>
                <a:ext uri="{FF2B5EF4-FFF2-40B4-BE49-F238E27FC236}">
                  <a16:creationId xmlns:a16="http://schemas.microsoft.com/office/drawing/2014/main" id="{EC57CC79-4DEE-1839-F28A-F60327147EF9}"/>
                </a:ext>
              </a:extLst>
            </p:cNvPr>
            <p:cNvSpPr/>
            <p:nvPr/>
          </p:nvSpPr>
          <p:spPr>
            <a:xfrm>
              <a:off x="3606831" y="430243"/>
              <a:ext cx="966596" cy="1523999"/>
            </a:xfrm>
            <a:custGeom>
              <a:avLst/>
              <a:gdLst>
                <a:gd name="connsiteX0" fmla="*/ 0 w 966596"/>
                <a:gd name="connsiteY0" fmla="*/ 1524000 h 1523999"/>
                <a:gd name="connsiteX1" fmla="*/ 966597 w 966596"/>
                <a:gd name="connsiteY1" fmla="*/ 0 h 152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6596" h="1523999">
                  <a:moveTo>
                    <a:pt x="0" y="1524000"/>
                  </a:moveTo>
                  <a:cubicBezTo>
                    <a:pt x="126206" y="904685"/>
                    <a:pt x="478536" y="366617"/>
                    <a:pt x="966597" y="0"/>
                  </a:cubicBez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52" name="Forme libre : forme 251">
              <a:extLst>
                <a:ext uri="{FF2B5EF4-FFF2-40B4-BE49-F238E27FC236}">
                  <a16:creationId xmlns:a16="http://schemas.microsoft.com/office/drawing/2014/main" id="{AFAD99DA-C074-7243-65E9-142C40FE977C}"/>
                </a:ext>
              </a:extLst>
            </p:cNvPr>
            <p:cNvSpPr/>
            <p:nvPr/>
          </p:nvSpPr>
          <p:spPr>
            <a:xfrm>
              <a:off x="4063841" y="938212"/>
              <a:ext cx="4063936" cy="3962400"/>
            </a:xfrm>
            <a:custGeom>
              <a:avLst/>
              <a:gdLst>
                <a:gd name="connsiteX0" fmla="*/ 3555968 w 4063936"/>
                <a:gd name="connsiteY0" fmla="*/ 2576989 h 3962400"/>
                <a:gd name="connsiteX1" fmla="*/ 3555968 w 4063936"/>
                <a:gd name="connsiteY1" fmla="*/ 1524000 h 3962400"/>
                <a:gd name="connsiteX2" fmla="*/ 2031968 w 4063936"/>
                <a:gd name="connsiteY2" fmla="*/ 0 h 3962400"/>
                <a:gd name="connsiteX3" fmla="*/ 507968 w 4063936"/>
                <a:gd name="connsiteY3" fmla="*/ 1524000 h 3962400"/>
                <a:gd name="connsiteX4" fmla="*/ 507968 w 4063936"/>
                <a:gd name="connsiteY4" fmla="*/ 2576989 h 3962400"/>
                <a:gd name="connsiteX5" fmla="*/ 271748 w 4063936"/>
                <a:gd name="connsiteY5" fmla="*/ 3004566 h 3962400"/>
                <a:gd name="connsiteX6" fmla="*/ 0 w 4063936"/>
                <a:gd name="connsiteY6" fmla="*/ 3454432 h 3962400"/>
                <a:gd name="connsiteX7" fmla="*/ 507968 w 4063936"/>
                <a:gd name="connsiteY7" fmla="*/ 3962400 h 3962400"/>
                <a:gd name="connsiteX8" fmla="*/ 3555968 w 4063936"/>
                <a:gd name="connsiteY8" fmla="*/ 3962400 h 3962400"/>
                <a:gd name="connsiteX9" fmla="*/ 4063937 w 4063936"/>
                <a:gd name="connsiteY9" fmla="*/ 3454432 h 3962400"/>
                <a:gd name="connsiteX10" fmla="*/ 3792188 w 4063936"/>
                <a:gd name="connsiteY10" fmla="*/ 3004566 h 3962400"/>
                <a:gd name="connsiteX11" fmla="*/ 3555968 w 4063936"/>
                <a:gd name="connsiteY11" fmla="*/ 2576989 h 396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63936" h="3962400">
                  <a:moveTo>
                    <a:pt x="3555968" y="2576989"/>
                  </a:moveTo>
                  <a:lnTo>
                    <a:pt x="3555968" y="1524000"/>
                  </a:lnTo>
                  <a:cubicBezTo>
                    <a:pt x="3555968" y="682276"/>
                    <a:pt x="2873693" y="0"/>
                    <a:pt x="2031968" y="0"/>
                  </a:cubicBezTo>
                  <a:cubicBezTo>
                    <a:pt x="1190244" y="0"/>
                    <a:pt x="507968" y="682276"/>
                    <a:pt x="507968" y="1524000"/>
                  </a:cubicBezTo>
                  <a:lnTo>
                    <a:pt x="507968" y="2576989"/>
                  </a:lnTo>
                  <a:cubicBezTo>
                    <a:pt x="507968" y="2750725"/>
                    <a:pt x="425577" y="2923604"/>
                    <a:pt x="271748" y="3004566"/>
                  </a:cubicBezTo>
                  <a:cubicBezTo>
                    <a:pt x="110109" y="3089624"/>
                    <a:pt x="0" y="3259170"/>
                    <a:pt x="0" y="3454432"/>
                  </a:cubicBezTo>
                  <a:cubicBezTo>
                    <a:pt x="0" y="3734943"/>
                    <a:pt x="227457" y="3962400"/>
                    <a:pt x="507968" y="3962400"/>
                  </a:cubicBezTo>
                  <a:lnTo>
                    <a:pt x="3555968" y="3962400"/>
                  </a:lnTo>
                  <a:cubicBezTo>
                    <a:pt x="3836575" y="3962400"/>
                    <a:pt x="4063937" y="3734943"/>
                    <a:pt x="4063937" y="3454432"/>
                  </a:cubicBezTo>
                  <a:cubicBezTo>
                    <a:pt x="4063937" y="3259170"/>
                    <a:pt x="3953732" y="3089624"/>
                    <a:pt x="3792188" y="3004566"/>
                  </a:cubicBezTo>
                  <a:cubicBezTo>
                    <a:pt x="3638360" y="2923604"/>
                    <a:pt x="3555968" y="2750725"/>
                    <a:pt x="3555968" y="2576989"/>
                  </a:cubicBezTo>
                  <a:close/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53" name="Forme libre : forme 252">
              <a:extLst>
                <a:ext uri="{FF2B5EF4-FFF2-40B4-BE49-F238E27FC236}">
                  <a16:creationId xmlns:a16="http://schemas.microsoft.com/office/drawing/2014/main" id="{53ABDC6C-9B53-3BF3-E6AF-F8326702516A}"/>
                </a:ext>
              </a:extLst>
            </p:cNvPr>
            <p:cNvSpPr/>
            <p:nvPr/>
          </p:nvSpPr>
          <p:spPr>
            <a:xfrm>
              <a:off x="5587841" y="5916643"/>
              <a:ext cx="1015936" cy="507968"/>
            </a:xfrm>
            <a:custGeom>
              <a:avLst/>
              <a:gdLst>
                <a:gd name="connsiteX0" fmla="*/ 1015937 w 1015936"/>
                <a:gd name="connsiteY0" fmla="*/ 0 h 507968"/>
                <a:gd name="connsiteX1" fmla="*/ 507968 w 1015936"/>
                <a:gd name="connsiteY1" fmla="*/ 507968 h 507968"/>
                <a:gd name="connsiteX2" fmla="*/ 0 w 1015936"/>
                <a:gd name="connsiteY2" fmla="*/ 0 h 50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5936" h="507968">
                  <a:moveTo>
                    <a:pt x="1015937" y="0"/>
                  </a:moveTo>
                  <a:cubicBezTo>
                    <a:pt x="1015937" y="280511"/>
                    <a:pt x="788480" y="507968"/>
                    <a:pt x="507968" y="507968"/>
                  </a:cubicBezTo>
                  <a:cubicBezTo>
                    <a:pt x="227457" y="507968"/>
                    <a:pt x="0" y="280511"/>
                    <a:pt x="0" y="0"/>
                  </a:cubicBez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54" name="Forme libre : forme 253">
              <a:extLst>
                <a:ext uri="{FF2B5EF4-FFF2-40B4-BE49-F238E27FC236}">
                  <a16:creationId xmlns:a16="http://schemas.microsoft.com/office/drawing/2014/main" id="{52220179-A35A-01E9-A15F-94EACEAAB023}"/>
                </a:ext>
              </a:extLst>
            </p:cNvPr>
            <p:cNvSpPr/>
            <p:nvPr/>
          </p:nvSpPr>
          <p:spPr>
            <a:xfrm>
              <a:off x="7618094" y="430243"/>
              <a:ext cx="966597" cy="1523999"/>
            </a:xfrm>
            <a:custGeom>
              <a:avLst/>
              <a:gdLst>
                <a:gd name="connsiteX0" fmla="*/ 966597 w 966597"/>
                <a:gd name="connsiteY0" fmla="*/ 1524000 h 1523999"/>
                <a:gd name="connsiteX1" fmla="*/ 0 w 966597"/>
                <a:gd name="connsiteY1" fmla="*/ 0 h 152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6597" h="1523999">
                  <a:moveTo>
                    <a:pt x="966597" y="1524000"/>
                  </a:moveTo>
                  <a:cubicBezTo>
                    <a:pt x="840391" y="904685"/>
                    <a:pt x="488061" y="366617"/>
                    <a:pt x="0" y="0"/>
                  </a:cubicBez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55" name="Forme libre : forme 254">
              <a:extLst>
                <a:ext uri="{FF2B5EF4-FFF2-40B4-BE49-F238E27FC236}">
                  <a16:creationId xmlns:a16="http://schemas.microsoft.com/office/drawing/2014/main" id="{DFD04ADA-C250-5B09-FC74-AB5761B22A30}"/>
                </a:ext>
              </a:extLst>
            </p:cNvPr>
            <p:cNvSpPr/>
            <p:nvPr/>
          </p:nvSpPr>
          <p:spPr>
            <a:xfrm>
              <a:off x="6095809" y="430243"/>
              <a:ext cx="9525" cy="507968"/>
            </a:xfrm>
            <a:custGeom>
              <a:avLst/>
              <a:gdLst>
                <a:gd name="connsiteX0" fmla="*/ 0 w 9525"/>
                <a:gd name="connsiteY0" fmla="*/ 0 h 507968"/>
                <a:gd name="connsiteX1" fmla="*/ 0 w 9525"/>
                <a:gd name="connsiteY1" fmla="*/ 507968 h 50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07968">
                  <a:moveTo>
                    <a:pt x="0" y="0"/>
                  </a:moveTo>
                  <a:lnTo>
                    <a:pt x="0" y="507968"/>
                  </a:ln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</p:grpSp>
      <p:sp>
        <p:nvSpPr>
          <p:cNvPr id="256" name="!!_Texte_03b_!!">
            <a:extLst>
              <a:ext uri="{FF2B5EF4-FFF2-40B4-BE49-F238E27FC236}">
                <a16:creationId xmlns:a16="http://schemas.microsoft.com/office/drawing/2014/main" id="{D716825C-939A-C525-A0F7-0899A1AA1316}"/>
              </a:ext>
            </a:extLst>
          </p:cNvPr>
          <p:cNvSpPr txBox="1"/>
          <p:nvPr/>
        </p:nvSpPr>
        <p:spPr>
          <a:xfrm>
            <a:off x="1366684" y="4953638"/>
            <a:ext cx="315598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Notification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 SemiBold" panose="00000700000000000000" pitchFamily="2" charset="0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pour </a:t>
            </a: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faciliter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 </a:t>
            </a:r>
            <a:b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</a:b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la prise du traitement </a:t>
            </a:r>
          </a:p>
        </p:txBody>
      </p:sp>
      <p:grpSp>
        <p:nvGrpSpPr>
          <p:cNvPr id="278" name="!!_Picto_03a_!!">
            <a:extLst>
              <a:ext uri="{FF2B5EF4-FFF2-40B4-BE49-F238E27FC236}">
                <a16:creationId xmlns:a16="http://schemas.microsoft.com/office/drawing/2014/main" id="{71D32001-2D27-D8F8-A31F-D7CDD37D66A0}"/>
              </a:ext>
            </a:extLst>
          </p:cNvPr>
          <p:cNvGrpSpPr>
            <a:grpSpLocks noChangeAspect="1"/>
          </p:cNvGrpSpPr>
          <p:nvPr/>
        </p:nvGrpSpPr>
        <p:grpSpPr>
          <a:xfrm>
            <a:off x="983930" y="4463784"/>
            <a:ext cx="194400" cy="210551"/>
            <a:chOff x="3271741" y="366712"/>
            <a:chExt cx="5651944" cy="6121526"/>
          </a:xfrm>
        </p:grpSpPr>
        <p:sp>
          <p:nvSpPr>
            <p:cNvPr id="274" name="Forme libre : forme 273">
              <a:extLst>
                <a:ext uri="{FF2B5EF4-FFF2-40B4-BE49-F238E27FC236}">
                  <a16:creationId xmlns:a16="http://schemas.microsoft.com/office/drawing/2014/main" id="{17ED1EFE-E72A-776E-088E-8EE4DE46EB47}"/>
                </a:ext>
              </a:extLst>
            </p:cNvPr>
            <p:cNvSpPr/>
            <p:nvPr/>
          </p:nvSpPr>
          <p:spPr>
            <a:xfrm>
              <a:off x="3271741" y="366712"/>
              <a:ext cx="3060763" cy="6121526"/>
            </a:xfrm>
            <a:custGeom>
              <a:avLst/>
              <a:gdLst>
                <a:gd name="connsiteX0" fmla="*/ 3060763 w 3060763"/>
                <a:gd name="connsiteY0" fmla="*/ 1530382 h 6121526"/>
                <a:gd name="connsiteX1" fmla="*/ 3060763 w 3060763"/>
                <a:gd name="connsiteY1" fmla="*/ 2941606 h 6121526"/>
                <a:gd name="connsiteX2" fmla="*/ 2888456 w 3060763"/>
                <a:gd name="connsiteY2" fmla="*/ 3060764 h 6121526"/>
                <a:gd name="connsiteX3" fmla="*/ 2233994 w 3060763"/>
                <a:gd name="connsiteY3" fmla="*/ 4405694 h 6121526"/>
                <a:gd name="connsiteX4" fmla="*/ 2699671 w 3060763"/>
                <a:gd name="connsiteY4" fmla="*/ 5578317 h 6121526"/>
                <a:gd name="connsiteX5" fmla="*/ 1530382 w 3060763"/>
                <a:gd name="connsiteY5" fmla="*/ 6121527 h 6121526"/>
                <a:gd name="connsiteX6" fmla="*/ 0 w 3060763"/>
                <a:gd name="connsiteY6" fmla="*/ 4591146 h 6121526"/>
                <a:gd name="connsiteX7" fmla="*/ 0 w 3060763"/>
                <a:gd name="connsiteY7" fmla="*/ 1530382 h 6121526"/>
                <a:gd name="connsiteX8" fmla="*/ 1530477 w 3060763"/>
                <a:gd name="connsiteY8" fmla="*/ 0 h 6121526"/>
                <a:gd name="connsiteX9" fmla="*/ 2612612 w 3060763"/>
                <a:gd name="connsiteY9" fmla="*/ 448151 h 6121526"/>
                <a:gd name="connsiteX10" fmla="*/ 3060763 w 3060763"/>
                <a:gd name="connsiteY10" fmla="*/ 1530287 h 6121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60763" h="6121526">
                  <a:moveTo>
                    <a:pt x="3060763" y="1530382"/>
                  </a:moveTo>
                  <a:lnTo>
                    <a:pt x="3060763" y="2941606"/>
                  </a:lnTo>
                  <a:cubicBezTo>
                    <a:pt x="3000851" y="2977801"/>
                    <a:pt x="2943320" y="3017711"/>
                    <a:pt x="2888456" y="3060764"/>
                  </a:cubicBezTo>
                  <a:cubicBezTo>
                    <a:pt x="2489930" y="3373660"/>
                    <a:pt x="2233994" y="3859816"/>
                    <a:pt x="2233994" y="4405694"/>
                  </a:cubicBezTo>
                  <a:cubicBezTo>
                    <a:pt x="2233994" y="4859751"/>
                    <a:pt x="2411063" y="5272183"/>
                    <a:pt x="2699671" y="5578317"/>
                  </a:cubicBezTo>
                  <a:cubicBezTo>
                    <a:pt x="2419160" y="5910549"/>
                    <a:pt x="1999393" y="6121527"/>
                    <a:pt x="1530382" y="6121527"/>
                  </a:cubicBezTo>
                  <a:cubicBezTo>
                    <a:pt x="685038" y="6121527"/>
                    <a:pt x="0" y="5436394"/>
                    <a:pt x="0" y="4591146"/>
                  </a:cubicBezTo>
                  <a:lnTo>
                    <a:pt x="0" y="1530382"/>
                  </a:lnTo>
                  <a:cubicBezTo>
                    <a:pt x="95" y="685133"/>
                    <a:pt x="685133" y="0"/>
                    <a:pt x="1530477" y="0"/>
                  </a:cubicBezTo>
                  <a:cubicBezTo>
                    <a:pt x="1953006" y="0"/>
                    <a:pt x="2335625" y="171355"/>
                    <a:pt x="2612612" y="448151"/>
                  </a:cubicBezTo>
                  <a:cubicBezTo>
                    <a:pt x="2889504" y="725138"/>
                    <a:pt x="3060763" y="1107662"/>
                    <a:pt x="3060763" y="1530287"/>
                  </a:cubicBezTo>
                  <a:close/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75" name="Forme libre : forme 274">
              <a:extLst>
                <a:ext uri="{FF2B5EF4-FFF2-40B4-BE49-F238E27FC236}">
                  <a16:creationId xmlns:a16="http://schemas.microsoft.com/office/drawing/2014/main" id="{9BDC027E-7DB3-593B-5A67-9ED8B82188DA}"/>
                </a:ext>
              </a:extLst>
            </p:cNvPr>
            <p:cNvSpPr/>
            <p:nvPr/>
          </p:nvSpPr>
          <p:spPr>
            <a:xfrm>
              <a:off x="3271837" y="3427380"/>
              <a:ext cx="2888360" cy="9525"/>
            </a:xfrm>
            <a:custGeom>
              <a:avLst/>
              <a:gdLst>
                <a:gd name="connsiteX0" fmla="*/ 2888361 w 2888360"/>
                <a:gd name="connsiteY0" fmla="*/ 0 h 9525"/>
                <a:gd name="connsiteX1" fmla="*/ 0 w 288836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88360" h="9525">
                  <a:moveTo>
                    <a:pt x="2888361" y="0"/>
                  </a:move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76" name="Forme libre : forme 275">
              <a:extLst>
                <a:ext uri="{FF2B5EF4-FFF2-40B4-BE49-F238E27FC236}">
                  <a16:creationId xmlns:a16="http://schemas.microsoft.com/office/drawing/2014/main" id="{9240685B-3E65-5E26-FD65-EF8F5FCD326D}"/>
                </a:ext>
              </a:extLst>
            </p:cNvPr>
            <p:cNvSpPr/>
            <p:nvPr/>
          </p:nvSpPr>
          <p:spPr>
            <a:xfrm>
              <a:off x="5505830" y="3063144"/>
              <a:ext cx="3417760" cy="3418046"/>
            </a:xfrm>
            <a:custGeom>
              <a:avLst/>
              <a:gdLst>
                <a:gd name="connsiteX0" fmla="*/ 3417761 w 3417760"/>
                <a:gd name="connsiteY0" fmla="*/ 1709166 h 3418046"/>
                <a:gd name="connsiteX1" fmla="*/ 1708880 w 3417760"/>
                <a:gd name="connsiteY1" fmla="*/ 3418046 h 3418046"/>
                <a:gd name="connsiteX2" fmla="*/ 465677 w 3417760"/>
                <a:gd name="connsiteY2" fmla="*/ 2881694 h 3418046"/>
                <a:gd name="connsiteX3" fmla="*/ 0 w 3417760"/>
                <a:gd name="connsiteY3" fmla="*/ 1709071 h 3418046"/>
                <a:gd name="connsiteX4" fmla="*/ 654463 w 3417760"/>
                <a:gd name="connsiteY4" fmla="*/ 364141 h 3418046"/>
                <a:gd name="connsiteX5" fmla="*/ 826770 w 3417760"/>
                <a:gd name="connsiteY5" fmla="*/ 244983 h 3418046"/>
                <a:gd name="connsiteX6" fmla="*/ 1708880 w 3417760"/>
                <a:gd name="connsiteY6" fmla="*/ 0 h 3418046"/>
                <a:gd name="connsiteX7" fmla="*/ 3417761 w 3417760"/>
                <a:gd name="connsiteY7" fmla="*/ 1709071 h 3418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17760" h="3418046">
                  <a:moveTo>
                    <a:pt x="3417761" y="1709166"/>
                  </a:moveTo>
                  <a:cubicBezTo>
                    <a:pt x="3417761" y="2652903"/>
                    <a:pt x="2652712" y="3418046"/>
                    <a:pt x="1708880" y="3418046"/>
                  </a:cubicBezTo>
                  <a:cubicBezTo>
                    <a:pt x="1219010" y="3418046"/>
                    <a:pt x="777335" y="3211925"/>
                    <a:pt x="465677" y="2881694"/>
                  </a:cubicBezTo>
                  <a:cubicBezTo>
                    <a:pt x="176975" y="2575655"/>
                    <a:pt x="0" y="2163128"/>
                    <a:pt x="0" y="1709071"/>
                  </a:cubicBezTo>
                  <a:cubicBezTo>
                    <a:pt x="0" y="1163193"/>
                    <a:pt x="255937" y="677037"/>
                    <a:pt x="654463" y="364141"/>
                  </a:cubicBezTo>
                  <a:cubicBezTo>
                    <a:pt x="709327" y="321088"/>
                    <a:pt x="766858" y="281178"/>
                    <a:pt x="826770" y="244983"/>
                  </a:cubicBezTo>
                  <a:cubicBezTo>
                    <a:pt x="1084326" y="89535"/>
                    <a:pt x="1386173" y="0"/>
                    <a:pt x="1708880" y="0"/>
                  </a:cubicBezTo>
                  <a:cubicBezTo>
                    <a:pt x="2652712" y="0"/>
                    <a:pt x="3417761" y="765143"/>
                    <a:pt x="3417761" y="1709071"/>
                  </a:cubicBezTo>
                  <a:close/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77" name="Forme libre : forme 276">
              <a:extLst>
                <a:ext uri="{FF2B5EF4-FFF2-40B4-BE49-F238E27FC236}">
                  <a16:creationId xmlns:a16="http://schemas.microsoft.com/office/drawing/2014/main" id="{41830DE8-B94A-720A-3FD3-A5DA68F2BABA}"/>
                </a:ext>
              </a:extLst>
            </p:cNvPr>
            <p:cNvSpPr/>
            <p:nvPr/>
          </p:nvSpPr>
          <p:spPr>
            <a:xfrm>
              <a:off x="5505830" y="4772310"/>
              <a:ext cx="3417855" cy="9525"/>
            </a:xfrm>
            <a:custGeom>
              <a:avLst/>
              <a:gdLst>
                <a:gd name="connsiteX0" fmla="*/ 0 w 3417855"/>
                <a:gd name="connsiteY0" fmla="*/ 0 h 9525"/>
                <a:gd name="connsiteX1" fmla="*/ 3417856 w 3417855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17855" h="9525">
                  <a:moveTo>
                    <a:pt x="0" y="0"/>
                  </a:moveTo>
                  <a:lnTo>
                    <a:pt x="3417856" y="0"/>
                  </a:ln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</p:grpSp>
      <p:grpSp>
        <p:nvGrpSpPr>
          <p:cNvPr id="292" name="!!_Picto_03c_!!">
            <a:extLst>
              <a:ext uri="{FF2B5EF4-FFF2-40B4-BE49-F238E27FC236}">
                <a16:creationId xmlns:a16="http://schemas.microsoft.com/office/drawing/2014/main" id="{97D39A6F-67C5-9DFD-6EA2-898E4CAE3559}"/>
              </a:ext>
            </a:extLst>
          </p:cNvPr>
          <p:cNvGrpSpPr>
            <a:grpSpLocks noChangeAspect="1"/>
          </p:cNvGrpSpPr>
          <p:nvPr/>
        </p:nvGrpSpPr>
        <p:grpSpPr>
          <a:xfrm>
            <a:off x="983930" y="5770479"/>
            <a:ext cx="194400" cy="194400"/>
            <a:chOff x="3800475" y="1133475"/>
            <a:chExt cx="4591050" cy="4591050"/>
          </a:xfrm>
        </p:grpSpPr>
        <p:grpSp>
          <p:nvGrpSpPr>
            <p:cNvPr id="282" name="Graphique 279">
              <a:extLst>
                <a:ext uri="{FF2B5EF4-FFF2-40B4-BE49-F238E27FC236}">
                  <a16:creationId xmlns:a16="http://schemas.microsoft.com/office/drawing/2014/main" id="{32BD8E07-148F-B961-DFE0-82DBB307012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800475" y="1133475"/>
              <a:ext cx="3257550" cy="4591050"/>
              <a:chOff x="3800475" y="1133475"/>
              <a:chExt cx="3257550" cy="4591050"/>
            </a:xfrm>
            <a:noFill/>
          </p:grpSpPr>
          <p:sp>
            <p:nvSpPr>
              <p:cNvPr id="283" name="Forme libre : forme 282">
                <a:extLst>
                  <a:ext uri="{FF2B5EF4-FFF2-40B4-BE49-F238E27FC236}">
                    <a16:creationId xmlns:a16="http://schemas.microsoft.com/office/drawing/2014/main" id="{A5388A04-01B5-97B3-4ABE-F2CC7373FD54}"/>
                  </a:ext>
                </a:extLst>
              </p:cNvPr>
              <p:cNvSpPr/>
              <p:nvPr/>
            </p:nvSpPr>
            <p:spPr>
              <a:xfrm>
                <a:off x="6296025" y="1133475"/>
                <a:ext cx="762000" cy="952500"/>
              </a:xfrm>
              <a:custGeom>
                <a:avLst/>
                <a:gdLst>
                  <a:gd name="connsiteX0" fmla="*/ 762000 w 762000"/>
                  <a:gd name="connsiteY0" fmla="*/ 0 h 952500"/>
                  <a:gd name="connsiteX1" fmla="*/ 762000 w 762000"/>
                  <a:gd name="connsiteY1" fmla="*/ 952500 h 952500"/>
                  <a:gd name="connsiteX2" fmla="*/ 0 w 762000"/>
                  <a:gd name="connsiteY2" fmla="*/ 952500 h 952500"/>
                  <a:gd name="connsiteX3" fmla="*/ 0 w 762000"/>
                  <a:gd name="connsiteY3" fmla="*/ 0 h 952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0" h="952500">
                    <a:moveTo>
                      <a:pt x="762000" y="0"/>
                    </a:moveTo>
                    <a:lnTo>
                      <a:pt x="762000" y="952500"/>
                    </a:lnTo>
                    <a:lnTo>
                      <a:pt x="0" y="952500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rnd">
                <a:solidFill>
                  <a:srgbClr val="555D7D"/>
                </a:solidFill>
                <a:prstDash val="solid"/>
                <a:rou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4E9664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endParaRPr>
              </a:p>
            </p:txBody>
          </p:sp>
          <p:sp>
            <p:nvSpPr>
              <p:cNvPr id="284" name="Forme libre : forme 283">
                <a:extLst>
                  <a:ext uri="{FF2B5EF4-FFF2-40B4-BE49-F238E27FC236}">
                    <a16:creationId xmlns:a16="http://schemas.microsoft.com/office/drawing/2014/main" id="{15FC2BF4-557D-44A5-2928-13BB5531BD04}"/>
                  </a:ext>
                </a:extLst>
              </p:cNvPr>
              <p:cNvSpPr/>
              <p:nvPr/>
            </p:nvSpPr>
            <p:spPr>
              <a:xfrm>
                <a:off x="3800475" y="3057525"/>
                <a:ext cx="2667000" cy="2667000"/>
              </a:xfrm>
              <a:custGeom>
                <a:avLst/>
                <a:gdLst>
                  <a:gd name="connsiteX0" fmla="*/ 2667000 w 2667000"/>
                  <a:gd name="connsiteY0" fmla="*/ 1333500 h 2667000"/>
                  <a:gd name="connsiteX1" fmla="*/ 1333500 w 2667000"/>
                  <a:gd name="connsiteY1" fmla="*/ 2667000 h 2667000"/>
                  <a:gd name="connsiteX2" fmla="*/ 0 w 2667000"/>
                  <a:gd name="connsiteY2" fmla="*/ 1333500 h 2667000"/>
                  <a:gd name="connsiteX3" fmla="*/ 1333500 w 2667000"/>
                  <a:gd name="connsiteY3" fmla="*/ 0 h 2667000"/>
                  <a:gd name="connsiteX4" fmla="*/ 2667000 w 2667000"/>
                  <a:gd name="connsiteY4" fmla="*/ 1333500 h 2667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67000" h="2667000">
                    <a:moveTo>
                      <a:pt x="2667000" y="1333500"/>
                    </a:moveTo>
                    <a:cubicBezTo>
                      <a:pt x="2667000" y="2069972"/>
                      <a:pt x="2069972" y="2667000"/>
                      <a:pt x="1333500" y="2667000"/>
                    </a:cubicBezTo>
                    <a:cubicBezTo>
                      <a:pt x="597028" y="2667000"/>
                      <a:pt x="0" y="2069972"/>
                      <a:pt x="0" y="1333500"/>
                    </a:cubicBezTo>
                    <a:cubicBezTo>
                      <a:pt x="0" y="597028"/>
                      <a:pt x="597028" y="0"/>
                      <a:pt x="1333500" y="0"/>
                    </a:cubicBezTo>
                    <a:cubicBezTo>
                      <a:pt x="2069972" y="0"/>
                      <a:pt x="2667000" y="597028"/>
                      <a:pt x="2667000" y="1333500"/>
                    </a:cubicBezTo>
                    <a:close/>
                  </a:path>
                </a:pathLst>
              </a:custGeom>
              <a:noFill/>
              <a:ln w="12700" cap="rnd">
                <a:solidFill>
                  <a:srgbClr val="555D7D"/>
                </a:solidFill>
                <a:prstDash val="solid"/>
                <a:rou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4E9664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endParaRPr>
              </a:p>
            </p:txBody>
          </p:sp>
          <p:sp>
            <p:nvSpPr>
              <p:cNvPr id="285" name="Forme libre : forme 284">
                <a:extLst>
                  <a:ext uri="{FF2B5EF4-FFF2-40B4-BE49-F238E27FC236}">
                    <a16:creationId xmlns:a16="http://schemas.microsoft.com/office/drawing/2014/main" id="{90BCEFEE-4DC8-7300-3ABE-B467021D0700}"/>
                  </a:ext>
                </a:extLst>
              </p:cNvPr>
              <p:cNvSpPr/>
              <p:nvPr/>
            </p:nvSpPr>
            <p:spPr>
              <a:xfrm>
                <a:off x="5133975" y="3914775"/>
                <a:ext cx="9525" cy="476250"/>
              </a:xfrm>
              <a:custGeom>
                <a:avLst/>
                <a:gdLst>
                  <a:gd name="connsiteX0" fmla="*/ 0 w 9525"/>
                  <a:gd name="connsiteY0" fmla="*/ 476250 h 476250"/>
                  <a:gd name="connsiteX1" fmla="*/ 0 w 9525"/>
                  <a:gd name="connsiteY1" fmla="*/ 0 h 476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476250">
                    <a:moveTo>
                      <a:pt x="0" y="476250"/>
                    </a:moveTo>
                    <a:lnTo>
                      <a:pt x="0" y="0"/>
                    </a:lnTo>
                  </a:path>
                </a:pathLst>
              </a:custGeom>
              <a:noFill/>
              <a:ln w="12700" cap="rnd">
                <a:solidFill>
                  <a:srgbClr val="555D7D"/>
                </a:solidFill>
                <a:prstDash val="solid"/>
                <a:rou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4E9664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endParaRPr>
              </a:p>
            </p:txBody>
          </p:sp>
          <p:sp>
            <p:nvSpPr>
              <p:cNvPr id="286" name="Forme libre : forme 285">
                <a:extLst>
                  <a:ext uri="{FF2B5EF4-FFF2-40B4-BE49-F238E27FC236}">
                    <a16:creationId xmlns:a16="http://schemas.microsoft.com/office/drawing/2014/main" id="{F82FCE4B-063D-3316-924A-B6E0669CDB17}"/>
                  </a:ext>
                </a:extLst>
              </p:cNvPr>
              <p:cNvSpPr/>
              <p:nvPr/>
            </p:nvSpPr>
            <p:spPr>
              <a:xfrm>
                <a:off x="4657725" y="4391025"/>
                <a:ext cx="476250" cy="9525"/>
              </a:xfrm>
              <a:custGeom>
                <a:avLst/>
                <a:gdLst>
                  <a:gd name="connsiteX0" fmla="*/ 476250 w 476250"/>
                  <a:gd name="connsiteY0" fmla="*/ 0 h 9525"/>
                  <a:gd name="connsiteX1" fmla="*/ 0 w 47625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50" h="9525">
                    <a:moveTo>
                      <a:pt x="476250" y="0"/>
                    </a:moveTo>
                    <a:lnTo>
                      <a:pt x="0" y="0"/>
                    </a:lnTo>
                  </a:path>
                </a:pathLst>
              </a:custGeom>
              <a:noFill/>
              <a:ln w="12700" cap="rnd">
                <a:solidFill>
                  <a:srgbClr val="555D7D"/>
                </a:solidFill>
                <a:prstDash val="solid"/>
                <a:rou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4E9664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endParaRPr>
              </a:p>
            </p:txBody>
          </p:sp>
          <p:sp>
            <p:nvSpPr>
              <p:cNvPr id="287" name="Forme libre : forme 286">
                <a:extLst>
                  <a:ext uri="{FF2B5EF4-FFF2-40B4-BE49-F238E27FC236}">
                    <a16:creationId xmlns:a16="http://schemas.microsoft.com/office/drawing/2014/main" id="{53BCFA71-7526-C34C-02DF-0ED154024ACE}"/>
                  </a:ext>
                </a:extLst>
              </p:cNvPr>
              <p:cNvSpPr/>
              <p:nvPr/>
            </p:nvSpPr>
            <p:spPr>
              <a:xfrm>
                <a:off x="6181725" y="4391025"/>
                <a:ext cx="285750" cy="9525"/>
              </a:xfrm>
              <a:custGeom>
                <a:avLst/>
                <a:gdLst>
                  <a:gd name="connsiteX0" fmla="*/ 285750 w 285750"/>
                  <a:gd name="connsiteY0" fmla="*/ 0 h 9525"/>
                  <a:gd name="connsiteX1" fmla="*/ 0 w 28575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0" h="9525">
                    <a:moveTo>
                      <a:pt x="285750" y="0"/>
                    </a:moveTo>
                    <a:lnTo>
                      <a:pt x="0" y="0"/>
                    </a:lnTo>
                  </a:path>
                </a:pathLst>
              </a:custGeom>
              <a:noFill/>
              <a:ln w="12700" cap="rnd">
                <a:solidFill>
                  <a:srgbClr val="555D7D"/>
                </a:solidFill>
                <a:prstDash val="solid"/>
                <a:rou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4E9664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endParaRPr>
              </a:p>
            </p:txBody>
          </p:sp>
          <p:sp>
            <p:nvSpPr>
              <p:cNvPr id="288" name="Forme libre : forme 287">
                <a:extLst>
                  <a:ext uri="{FF2B5EF4-FFF2-40B4-BE49-F238E27FC236}">
                    <a16:creationId xmlns:a16="http://schemas.microsoft.com/office/drawing/2014/main" id="{84B34D93-EBEC-F69C-1753-D2103B985CF2}"/>
                  </a:ext>
                </a:extLst>
              </p:cNvPr>
              <p:cNvSpPr/>
              <p:nvPr/>
            </p:nvSpPr>
            <p:spPr>
              <a:xfrm>
                <a:off x="3800475" y="4391025"/>
                <a:ext cx="285750" cy="9525"/>
              </a:xfrm>
              <a:custGeom>
                <a:avLst/>
                <a:gdLst>
                  <a:gd name="connsiteX0" fmla="*/ 285750 w 285750"/>
                  <a:gd name="connsiteY0" fmla="*/ 0 h 9525"/>
                  <a:gd name="connsiteX1" fmla="*/ 0 w 28575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0" h="9525">
                    <a:moveTo>
                      <a:pt x="285750" y="0"/>
                    </a:moveTo>
                    <a:lnTo>
                      <a:pt x="0" y="0"/>
                    </a:lnTo>
                  </a:path>
                </a:pathLst>
              </a:custGeom>
              <a:noFill/>
              <a:ln w="12700" cap="rnd">
                <a:solidFill>
                  <a:srgbClr val="555D7D"/>
                </a:solidFill>
                <a:prstDash val="solid"/>
                <a:rou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4E9664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endParaRPr>
              </a:p>
            </p:txBody>
          </p:sp>
          <p:sp>
            <p:nvSpPr>
              <p:cNvPr id="289" name="Forme libre : forme 288">
                <a:extLst>
                  <a:ext uri="{FF2B5EF4-FFF2-40B4-BE49-F238E27FC236}">
                    <a16:creationId xmlns:a16="http://schemas.microsoft.com/office/drawing/2014/main" id="{840AAEB0-9584-AE64-93B3-AD3A96A0B603}"/>
                  </a:ext>
                </a:extLst>
              </p:cNvPr>
              <p:cNvSpPr/>
              <p:nvPr/>
            </p:nvSpPr>
            <p:spPr>
              <a:xfrm>
                <a:off x="5133975" y="3057525"/>
                <a:ext cx="9525" cy="285750"/>
              </a:xfrm>
              <a:custGeom>
                <a:avLst/>
                <a:gdLst>
                  <a:gd name="connsiteX0" fmla="*/ 0 w 9525"/>
                  <a:gd name="connsiteY0" fmla="*/ 0 h 285750"/>
                  <a:gd name="connsiteX1" fmla="*/ 0 w 9525"/>
                  <a:gd name="connsiteY1" fmla="*/ 285750 h 285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85750">
                    <a:moveTo>
                      <a:pt x="0" y="0"/>
                    </a:moveTo>
                    <a:lnTo>
                      <a:pt x="0" y="285750"/>
                    </a:lnTo>
                  </a:path>
                </a:pathLst>
              </a:custGeom>
              <a:noFill/>
              <a:ln w="12700" cap="rnd">
                <a:solidFill>
                  <a:srgbClr val="555D7D"/>
                </a:solidFill>
                <a:prstDash val="solid"/>
                <a:rou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4E9664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endParaRPr>
              </a:p>
            </p:txBody>
          </p:sp>
          <p:sp>
            <p:nvSpPr>
              <p:cNvPr id="290" name="Forme libre : forme 289">
                <a:extLst>
                  <a:ext uri="{FF2B5EF4-FFF2-40B4-BE49-F238E27FC236}">
                    <a16:creationId xmlns:a16="http://schemas.microsoft.com/office/drawing/2014/main" id="{45E0FD76-79BD-6DC4-6A08-6F1D6A3F276B}"/>
                  </a:ext>
                </a:extLst>
              </p:cNvPr>
              <p:cNvSpPr/>
              <p:nvPr/>
            </p:nvSpPr>
            <p:spPr>
              <a:xfrm>
                <a:off x="5133975" y="5438775"/>
                <a:ext cx="9525" cy="285750"/>
              </a:xfrm>
              <a:custGeom>
                <a:avLst/>
                <a:gdLst>
                  <a:gd name="connsiteX0" fmla="*/ 0 w 9525"/>
                  <a:gd name="connsiteY0" fmla="*/ 0 h 285750"/>
                  <a:gd name="connsiteX1" fmla="*/ 0 w 9525"/>
                  <a:gd name="connsiteY1" fmla="*/ 285750 h 285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85750">
                    <a:moveTo>
                      <a:pt x="0" y="0"/>
                    </a:moveTo>
                    <a:lnTo>
                      <a:pt x="0" y="285750"/>
                    </a:lnTo>
                  </a:path>
                </a:pathLst>
              </a:custGeom>
              <a:noFill/>
              <a:ln w="12700" cap="rnd">
                <a:solidFill>
                  <a:srgbClr val="555D7D"/>
                </a:solidFill>
                <a:prstDash val="solid"/>
                <a:rou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4E9664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endParaRPr>
              </a:p>
            </p:txBody>
          </p:sp>
        </p:grpSp>
        <p:sp>
          <p:nvSpPr>
            <p:cNvPr id="291" name="Forme libre : forme 290">
              <a:extLst>
                <a:ext uri="{FF2B5EF4-FFF2-40B4-BE49-F238E27FC236}">
                  <a16:creationId xmlns:a16="http://schemas.microsoft.com/office/drawing/2014/main" id="{F23CC792-8815-4A6E-4BDA-FDE7051DC93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962525" y="1133475"/>
              <a:ext cx="3429000" cy="3429000"/>
            </a:xfrm>
            <a:custGeom>
              <a:avLst/>
              <a:gdLst>
                <a:gd name="connsiteX0" fmla="*/ 1493996 w 3429000"/>
                <a:gd name="connsiteY0" fmla="*/ 3429000 h 3429000"/>
                <a:gd name="connsiteX1" fmla="*/ 3429000 w 3429000"/>
                <a:gd name="connsiteY1" fmla="*/ 3429000 h 3429000"/>
                <a:gd name="connsiteX2" fmla="*/ 3429000 w 3429000"/>
                <a:gd name="connsiteY2" fmla="*/ 0 h 3429000"/>
                <a:gd name="connsiteX3" fmla="*/ 0 w 3429000"/>
                <a:gd name="connsiteY3" fmla="*/ 0 h 3429000"/>
                <a:gd name="connsiteX4" fmla="*/ 0 w 3429000"/>
                <a:gd name="connsiteY4" fmla="*/ 1935004 h 342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9000" h="3429000">
                  <a:moveTo>
                    <a:pt x="1493996" y="3429000"/>
                  </a:moveTo>
                  <a:lnTo>
                    <a:pt x="3429000" y="3429000"/>
                  </a:lnTo>
                  <a:lnTo>
                    <a:pt x="3429000" y="0"/>
                  </a:lnTo>
                  <a:lnTo>
                    <a:pt x="0" y="0"/>
                  </a:lnTo>
                  <a:lnTo>
                    <a:pt x="0" y="1935004"/>
                  </a:ln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</p:grpSp>
      <p:sp>
        <p:nvSpPr>
          <p:cNvPr id="16" name="Cache01">
            <a:extLst>
              <a:ext uri="{FF2B5EF4-FFF2-40B4-BE49-F238E27FC236}">
                <a16:creationId xmlns:a16="http://schemas.microsoft.com/office/drawing/2014/main" id="{AC0B5990-25C9-EAD0-E592-758A5E949998}"/>
              </a:ext>
            </a:extLst>
          </p:cNvPr>
          <p:cNvSpPr/>
          <p:nvPr/>
        </p:nvSpPr>
        <p:spPr>
          <a:xfrm>
            <a:off x="0" y="-1"/>
            <a:ext cx="6096000" cy="3730171"/>
          </a:xfrm>
          <a:custGeom>
            <a:avLst/>
            <a:gdLst>
              <a:gd name="connsiteX0" fmla="*/ 0 w 6096000"/>
              <a:gd name="connsiteY0" fmla="*/ 0 h 3730171"/>
              <a:gd name="connsiteX1" fmla="*/ 6096000 w 6096000"/>
              <a:gd name="connsiteY1" fmla="*/ 0 h 3730171"/>
              <a:gd name="connsiteX2" fmla="*/ 6096000 w 6096000"/>
              <a:gd name="connsiteY2" fmla="*/ 3338287 h 3730171"/>
              <a:gd name="connsiteX3" fmla="*/ 1314397 w 6096000"/>
              <a:gd name="connsiteY3" fmla="*/ 3338287 h 3730171"/>
              <a:gd name="connsiteX4" fmla="*/ 1314397 w 6096000"/>
              <a:gd name="connsiteY4" fmla="*/ 3730171 h 3730171"/>
              <a:gd name="connsiteX5" fmla="*/ 1253744 w 6096000"/>
              <a:gd name="connsiteY5" fmla="*/ 3730171 h 3730171"/>
              <a:gd name="connsiteX6" fmla="*/ 1253744 w 6096000"/>
              <a:gd name="connsiteY6" fmla="*/ 3673650 h 3730171"/>
              <a:gd name="connsiteX7" fmla="*/ 1081130 w 6096000"/>
              <a:gd name="connsiteY7" fmla="*/ 3501036 h 3730171"/>
              <a:gd name="connsiteX8" fmla="*/ 908516 w 6096000"/>
              <a:gd name="connsiteY8" fmla="*/ 3673650 h 3730171"/>
              <a:gd name="connsiteX9" fmla="*/ 908516 w 6096000"/>
              <a:gd name="connsiteY9" fmla="*/ 3730171 h 3730171"/>
              <a:gd name="connsiteX10" fmla="*/ 0 w 6096000"/>
              <a:gd name="connsiteY10" fmla="*/ 3730171 h 3730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096000" h="3730171">
                <a:moveTo>
                  <a:pt x="0" y="0"/>
                </a:moveTo>
                <a:lnTo>
                  <a:pt x="6096000" y="0"/>
                </a:lnTo>
                <a:lnTo>
                  <a:pt x="6096000" y="3338287"/>
                </a:lnTo>
                <a:lnTo>
                  <a:pt x="1314397" y="3338287"/>
                </a:lnTo>
                <a:lnTo>
                  <a:pt x="1314397" y="3730171"/>
                </a:lnTo>
                <a:lnTo>
                  <a:pt x="1253744" y="3730171"/>
                </a:lnTo>
                <a:lnTo>
                  <a:pt x="1253744" y="3673650"/>
                </a:lnTo>
                <a:cubicBezTo>
                  <a:pt x="1253744" y="3578318"/>
                  <a:pt x="1176462" y="3501036"/>
                  <a:pt x="1081130" y="3501036"/>
                </a:cubicBezTo>
                <a:cubicBezTo>
                  <a:pt x="985798" y="3501036"/>
                  <a:pt x="908516" y="3578318"/>
                  <a:pt x="908516" y="3673650"/>
                </a:cubicBezTo>
                <a:lnTo>
                  <a:pt x="908516" y="3730171"/>
                </a:lnTo>
                <a:lnTo>
                  <a:pt x="0" y="3730171"/>
                </a:lnTo>
                <a:close/>
              </a:path>
            </a:pathLst>
          </a:custGeom>
          <a:solidFill>
            <a:srgbClr val="F4F4F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Alternates"/>
              <a:ea typeface="+mn-ea"/>
              <a:cs typeface="+mn-cs"/>
            </a:endParaRPr>
          </a:p>
        </p:txBody>
      </p:sp>
      <p:sp>
        <p:nvSpPr>
          <p:cNvPr id="226" name="ZoneTexte 225">
            <a:extLst>
              <a:ext uri="{FF2B5EF4-FFF2-40B4-BE49-F238E27FC236}">
                <a16:creationId xmlns:a16="http://schemas.microsoft.com/office/drawing/2014/main" id="{1E36CAEC-5A27-4833-A33F-12E43CE9924F}"/>
              </a:ext>
            </a:extLst>
          </p:cNvPr>
          <p:cNvSpPr txBox="1"/>
          <p:nvPr/>
        </p:nvSpPr>
        <p:spPr>
          <a:xfrm>
            <a:off x="880861" y="1267783"/>
            <a:ext cx="4254691" cy="67710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800" b="1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Quicksand"/>
                <a:ea typeface="+mn-ea"/>
                <a:cs typeface="+mn-cs"/>
              </a:rPr>
              <a:t>UN OUTIL SIMPLE</a:t>
            </a:r>
            <a:endParaRPr kumimoji="0" lang="fr-FR" sz="3800" b="0" i="0" u="none" strike="noStrike" kern="1200" cap="none" spc="0" normalizeH="0" baseline="0" noProof="0">
              <a:ln>
                <a:noFill/>
              </a:ln>
              <a:solidFill>
                <a:srgbClr val="9097B3"/>
              </a:solidFill>
              <a:effectLst/>
              <a:uLnTx/>
              <a:uFillTx/>
              <a:latin typeface="Montserrat Alternates SemiBold" panose="00000700000000000000" pitchFamily="2" charset="0"/>
              <a:ea typeface="+mn-ea"/>
              <a:cs typeface="+mn-cs"/>
            </a:endParaRPr>
          </a:p>
        </p:txBody>
      </p:sp>
      <p:sp>
        <p:nvSpPr>
          <p:cNvPr id="227" name="ZoneTexte 226">
            <a:extLst>
              <a:ext uri="{FF2B5EF4-FFF2-40B4-BE49-F238E27FC236}">
                <a16:creationId xmlns:a16="http://schemas.microsoft.com/office/drawing/2014/main" id="{E213E129-2D79-3248-11A5-CA9BAAFF0C3C}"/>
              </a:ext>
            </a:extLst>
          </p:cNvPr>
          <p:cNvSpPr txBox="1"/>
          <p:nvPr/>
        </p:nvSpPr>
        <p:spPr>
          <a:xfrm>
            <a:off x="899912" y="1746732"/>
            <a:ext cx="4230645" cy="63094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5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 SemiBold" panose="00000700000000000000" pitchFamily="2" charset="0"/>
                <a:ea typeface="+mn-ea"/>
                <a:cs typeface="+mn-cs"/>
              </a:rPr>
              <a:t>dans votre poche</a:t>
            </a:r>
          </a:p>
        </p:txBody>
      </p:sp>
      <p:sp>
        <p:nvSpPr>
          <p:cNvPr id="228" name="ZoneTexte 227">
            <a:extLst>
              <a:ext uri="{FF2B5EF4-FFF2-40B4-BE49-F238E27FC236}">
                <a16:creationId xmlns:a16="http://schemas.microsoft.com/office/drawing/2014/main" id="{6249AE4C-6BB8-B74E-98B2-7F60FEF41984}"/>
              </a:ext>
            </a:extLst>
          </p:cNvPr>
          <p:cNvSpPr txBox="1"/>
          <p:nvPr/>
        </p:nvSpPr>
        <p:spPr>
          <a:xfrm>
            <a:off x="893562" y="2224009"/>
            <a:ext cx="4331635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76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pour des fonctionnalités vertueuses</a:t>
            </a:r>
          </a:p>
        </p:txBody>
      </p:sp>
      <p:sp>
        <p:nvSpPr>
          <p:cNvPr id="232" name="ZoneTexte 231">
            <a:extLst>
              <a:ext uri="{FF2B5EF4-FFF2-40B4-BE49-F238E27FC236}">
                <a16:creationId xmlns:a16="http://schemas.microsoft.com/office/drawing/2014/main" id="{A20C88C4-A2EA-6231-5FE4-0A09DA4351BC}"/>
              </a:ext>
            </a:extLst>
          </p:cNvPr>
          <p:cNvSpPr txBox="1"/>
          <p:nvPr/>
        </p:nvSpPr>
        <p:spPr>
          <a:xfrm>
            <a:off x="902166" y="2609095"/>
            <a:ext cx="4249881" cy="333708"/>
          </a:xfrm>
          <a:prstGeom prst="roundRect">
            <a:avLst/>
          </a:prstGeom>
          <a:solidFill>
            <a:srgbClr val="4E9664"/>
          </a:solidFill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36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Chaque geste compte pour sauver la planète 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CE14FAD7-66C4-52D0-6082-B16E785751D1}"/>
              </a:ext>
            </a:extLst>
          </p:cNvPr>
          <p:cNvGrpSpPr/>
          <p:nvPr/>
        </p:nvGrpSpPr>
        <p:grpSpPr>
          <a:xfrm>
            <a:off x="1253744" y="449942"/>
            <a:ext cx="10444847" cy="359228"/>
            <a:chOff x="1253744" y="406400"/>
            <a:chExt cx="10444847" cy="359228"/>
          </a:xfrm>
        </p:grpSpPr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9CCCA148-5F81-4CF9-BE01-08B107277F23}"/>
                </a:ext>
              </a:extLst>
            </p:cNvPr>
            <p:cNvSpPr/>
            <p:nvPr/>
          </p:nvSpPr>
          <p:spPr>
            <a:xfrm>
              <a:off x="1253744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>
                  <a:ln>
                    <a:noFill/>
                  </a:ln>
                  <a:solidFill>
                    <a:srgbClr val="C4C7D6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rPr>
                <a:t>Enjeu</a:t>
              </a:r>
            </a:p>
          </p:txBody>
        </p:sp>
        <p:sp>
          <p:nvSpPr>
            <p:cNvPr id="7" name="Rectangle : coins arrondis 6">
              <a:extLst>
                <a:ext uri="{FF2B5EF4-FFF2-40B4-BE49-F238E27FC236}">
                  <a16:creationId xmlns:a16="http://schemas.microsoft.com/office/drawing/2014/main" id="{DC1E6B8E-499A-C638-CE80-7D6DB0B4373A}"/>
                </a:ext>
              </a:extLst>
            </p:cNvPr>
            <p:cNvSpPr/>
            <p:nvPr/>
          </p:nvSpPr>
          <p:spPr>
            <a:xfrm>
              <a:off x="3047725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>
                  <a:ln>
                    <a:noFill/>
                  </a:ln>
                  <a:solidFill>
                    <a:srgbClr val="C4C7D6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rPr>
                <a:t>Mission</a:t>
              </a:r>
            </a:p>
          </p:txBody>
        </p:sp>
        <p:sp>
          <p:nvSpPr>
            <p:cNvPr id="8" name="Rectangle : coins arrondis 7">
              <a:extLst>
                <a:ext uri="{FF2B5EF4-FFF2-40B4-BE49-F238E27FC236}">
                  <a16:creationId xmlns:a16="http://schemas.microsoft.com/office/drawing/2014/main" id="{0543691A-187E-8E37-FBC6-5F7FA1F22FFF}"/>
                </a:ext>
              </a:extLst>
            </p:cNvPr>
            <p:cNvSpPr/>
            <p:nvPr/>
          </p:nvSpPr>
          <p:spPr>
            <a:xfrm>
              <a:off x="6624871" y="406400"/>
              <a:ext cx="1496574" cy="359228"/>
            </a:xfrm>
            <a:prstGeom prst="roundRect">
              <a:avLst>
                <a:gd name="adj" fmla="val 50000"/>
              </a:avLst>
            </a:prstGeom>
            <a:solidFill>
              <a:srgbClr val="4E966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 Alternates SemiBold" panose="00000700000000000000" pitchFamily="2" charset="0"/>
                  <a:ea typeface="+mn-ea"/>
                  <a:cs typeface="+mn-cs"/>
                </a:rPr>
                <a:t>Fonctionnement</a:t>
              </a:r>
            </a:p>
          </p:txBody>
        </p:sp>
        <p:sp>
          <p:nvSpPr>
            <p:cNvPr id="9" name="Rectangle : coins arrondis 8">
              <a:extLst>
                <a:ext uri="{FF2B5EF4-FFF2-40B4-BE49-F238E27FC236}">
                  <a16:creationId xmlns:a16="http://schemas.microsoft.com/office/drawing/2014/main" id="{64BF68A7-5304-5F35-098A-86030100119D}"/>
                </a:ext>
              </a:extLst>
            </p:cNvPr>
            <p:cNvSpPr/>
            <p:nvPr/>
          </p:nvSpPr>
          <p:spPr>
            <a:xfrm>
              <a:off x="8429668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>
                  <a:ln>
                    <a:noFill/>
                  </a:ln>
                  <a:solidFill>
                    <a:srgbClr val="C4C7D6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rPr>
                <a:t>Offre</a:t>
              </a:r>
            </a:p>
          </p:txBody>
        </p:sp>
        <p:sp>
          <p:nvSpPr>
            <p:cNvPr id="10" name="Rectangle : coins arrondis 9">
              <a:extLst>
                <a:ext uri="{FF2B5EF4-FFF2-40B4-BE49-F238E27FC236}">
                  <a16:creationId xmlns:a16="http://schemas.microsoft.com/office/drawing/2014/main" id="{DCC6194F-BD53-EE3A-5645-FAD41BDEB9D9}"/>
                </a:ext>
              </a:extLst>
            </p:cNvPr>
            <p:cNvSpPr/>
            <p:nvPr/>
          </p:nvSpPr>
          <p:spPr>
            <a:xfrm>
              <a:off x="4841706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>
                  <a:ln>
                    <a:noFill/>
                  </a:ln>
                  <a:solidFill>
                    <a:srgbClr val="C4C7D6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rPr>
                <a:t>Solution</a:t>
              </a:r>
            </a:p>
          </p:txBody>
        </p:sp>
        <p:sp>
          <p:nvSpPr>
            <p:cNvPr id="11" name="Rectangle : coins arrondis 10">
              <a:extLst>
                <a:ext uri="{FF2B5EF4-FFF2-40B4-BE49-F238E27FC236}">
                  <a16:creationId xmlns:a16="http://schemas.microsoft.com/office/drawing/2014/main" id="{4A63287F-57AE-1C6F-2693-4E7E8F3EF8F1}"/>
                </a:ext>
              </a:extLst>
            </p:cNvPr>
            <p:cNvSpPr/>
            <p:nvPr/>
          </p:nvSpPr>
          <p:spPr>
            <a:xfrm>
              <a:off x="10223649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>
                  <a:ln>
                    <a:noFill/>
                  </a:ln>
                  <a:solidFill>
                    <a:srgbClr val="C4C7D6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rPr>
                <a:t>Fondateur</a:t>
              </a:r>
            </a:p>
          </p:txBody>
        </p:sp>
      </p:grpSp>
      <p:grpSp>
        <p:nvGrpSpPr>
          <p:cNvPr id="2" name="Groupe 1">
            <a:extLst>
              <a:ext uri="{FF2B5EF4-FFF2-40B4-BE49-F238E27FC236}">
                <a16:creationId xmlns:a16="http://schemas.microsoft.com/office/drawing/2014/main" id="{0029040F-C1EC-1F92-8C03-EB02F7349779}"/>
              </a:ext>
            </a:extLst>
          </p:cNvPr>
          <p:cNvGrpSpPr/>
          <p:nvPr/>
        </p:nvGrpSpPr>
        <p:grpSpPr>
          <a:xfrm>
            <a:off x="572667" y="487521"/>
            <a:ext cx="364153" cy="284070"/>
            <a:chOff x="1148496" y="1062130"/>
            <a:chExt cx="364153" cy="284070"/>
          </a:xfrm>
        </p:grpSpPr>
        <p:sp>
          <p:nvSpPr>
            <p:cNvPr id="3" name="Forme libre : forme 2">
              <a:extLst>
                <a:ext uri="{FF2B5EF4-FFF2-40B4-BE49-F238E27FC236}">
                  <a16:creationId xmlns:a16="http://schemas.microsoft.com/office/drawing/2014/main" id="{143CE1E8-CFA7-0487-31C9-756A11954657}"/>
                </a:ext>
              </a:extLst>
            </p:cNvPr>
            <p:cNvSpPr/>
            <p:nvPr/>
          </p:nvSpPr>
          <p:spPr>
            <a:xfrm>
              <a:off x="1148496" y="1062130"/>
              <a:ext cx="284156" cy="284070"/>
            </a:xfrm>
            <a:custGeom>
              <a:avLst/>
              <a:gdLst>
                <a:gd name="connsiteX0" fmla="*/ 1927193 w 3012185"/>
                <a:gd name="connsiteY0" fmla="*/ 3011281 h 3011281"/>
                <a:gd name="connsiteX1" fmla="*/ 1159955 w 3012185"/>
                <a:gd name="connsiteY1" fmla="*/ 2694003 h 3011281"/>
                <a:gd name="connsiteX2" fmla="*/ 317754 w 3012185"/>
                <a:gd name="connsiteY2" fmla="*/ 1851803 h 3011281"/>
                <a:gd name="connsiteX3" fmla="*/ 0 w 3012185"/>
                <a:gd name="connsiteY3" fmla="*/ 1084564 h 3011281"/>
                <a:gd name="connsiteX4" fmla="*/ 317754 w 3012185"/>
                <a:gd name="connsiteY4" fmla="*/ 317325 h 3011281"/>
                <a:gd name="connsiteX5" fmla="*/ 1852232 w 3012185"/>
                <a:gd name="connsiteY5" fmla="*/ 317325 h 3011281"/>
                <a:gd name="connsiteX6" fmla="*/ 2694432 w 3012185"/>
                <a:gd name="connsiteY6" fmla="*/ 1159526 h 3011281"/>
                <a:gd name="connsiteX7" fmla="*/ 3012186 w 3012185"/>
                <a:gd name="connsiteY7" fmla="*/ 1926765 h 3011281"/>
                <a:gd name="connsiteX8" fmla="*/ 2694432 w 3012185"/>
                <a:gd name="connsiteY8" fmla="*/ 2694003 h 3011281"/>
                <a:gd name="connsiteX9" fmla="*/ 1927193 w 3012185"/>
                <a:gd name="connsiteY9" fmla="*/ 3011281 h 3011281"/>
                <a:gd name="connsiteX10" fmla="*/ 1084993 w 3012185"/>
                <a:gd name="connsiteY10" fmla="*/ 480012 h 3011281"/>
                <a:gd name="connsiteX11" fmla="*/ 657320 w 3012185"/>
                <a:gd name="connsiteY11" fmla="*/ 656892 h 3011281"/>
                <a:gd name="connsiteX12" fmla="*/ 480155 w 3012185"/>
                <a:gd name="connsiteY12" fmla="*/ 1084564 h 3011281"/>
                <a:gd name="connsiteX13" fmla="*/ 657320 w 3012185"/>
                <a:gd name="connsiteY13" fmla="*/ 1512237 h 3011281"/>
                <a:gd name="connsiteX14" fmla="*/ 1499521 w 3012185"/>
                <a:gd name="connsiteY14" fmla="*/ 2354437 h 3011281"/>
                <a:gd name="connsiteX15" fmla="*/ 2354961 w 3012185"/>
                <a:gd name="connsiteY15" fmla="*/ 2354437 h 3011281"/>
                <a:gd name="connsiteX16" fmla="*/ 2532126 w 3012185"/>
                <a:gd name="connsiteY16" fmla="*/ 1926765 h 3011281"/>
                <a:gd name="connsiteX17" fmla="*/ 2354961 w 3012185"/>
                <a:gd name="connsiteY17" fmla="*/ 1499092 h 3011281"/>
                <a:gd name="connsiteX18" fmla="*/ 1512761 w 3012185"/>
                <a:gd name="connsiteY18" fmla="*/ 656892 h 3011281"/>
                <a:gd name="connsiteX19" fmla="*/ 1084993 w 3012185"/>
                <a:gd name="connsiteY19" fmla="*/ 480012 h 301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12185" h="3011281">
                  <a:moveTo>
                    <a:pt x="1927193" y="3011281"/>
                  </a:moveTo>
                  <a:cubicBezTo>
                    <a:pt x="1649349" y="3011281"/>
                    <a:pt x="1371505" y="2905554"/>
                    <a:pt x="1159955" y="2694003"/>
                  </a:cubicBezTo>
                  <a:lnTo>
                    <a:pt x="317754" y="1851803"/>
                  </a:lnTo>
                  <a:cubicBezTo>
                    <a:pt x="112871" y="1646825"/>
                    <a:pt x="0" y="1374410"/>
                    <a:pt x="0" y="1084564"/>
                  </a:cubicBezTo>
                  <a:cubicBezTo>
                    <a:pt x="0" y="794718"/>
                    <a:pt x="112871" y="522303"/>
                    <a:pt x="317754" y="317325"/>
                  </a:cubicBezTo>
                  <a:cubicBezTo>
                    <a:pt x="740855" y="-105775"/>
                    <a:pt x="1429131" y="-105775"/>
                    <a:pt x="1852232" y="317325"/>
                  </a:cubicBezTo>
                  <a:lnTo>
                    <a:pt x="2694432" y="1159526"/>
                  </a:lnTo>
                  <a:cubicBezTo>
                    <a:pt x="2899410" y="1364504"/>
                    <a:pt x="3012186" y="1636919"/>
                    <a:pt x="3012186" y="1926765"/>
                  </a:cubicBezTo>
                  <a:cubicBezTo>
                    <a:pt x="3012186" y="2216611"/>
                    <a:pt x="2899315" y="2489025"/>
                    <a:pt x="2694432" y="2694003"/>
                  </a:cubicBezTo>
                  <a:cubicBezTo>
                    <a:pt x="2489549" y="2898982"/>
                    <a:pt x="2205038" y="3011281"/>
                    <a:pt x="1927193" y="3011281"/>
                  </a:cubicBezTo>
                  <a:close/>
                  <a:moveTo>
                    <a:pt x="1084993" y="480012"/>
                  </a:moveTo>
                  <a:cubicBezTo>
                    <a:pt x="930116" y="480012"/>
                    <a:pt x="775240" y="538972"/>
                    <a:pt x="657320" y="656892"/>
                  </a:cubicBezTo>
                  <a:cubicBezTo>
                    <a:pt x="543116" y="771096"/>
                    <a:pt x="480155" y="923020"/>
                    <a:pt x="480155" y="1084564"/>
                  </a:cubicBezTo>
                  <a:cubicBezTo>
                    <a:pt x="480155" y="1246108"/>
                    <a:pt x="543020" y="1398032"/>
                    <a:pt x="657320" y="1512237"/>
                  </a:cubicBezTo>
                  <a:lnTo>
                    <a:pt x="1499521" y="2354437"/>
                  </a:lnTo>
                  <a:cubicBezTo>
                    <a:pt x="1735360" y="2590276"/>
                    <a:pt x="2119122" y="2590276"/>
                    <a:pt x="2354961" y="2354437"/>
                  </a:cubicBezTo>
                  <a:cubicBezTo>
                    <a:pt x="2469166" y="2240233"/>
                    <a:pt x="2532126" y="2088309"/>
                    <a:pt x="2532126" y="1926765"/>
                  </a:cubicBezTo>
                  <a:cubicBezTo>
                    <a:pt x="2532126" y="1765221"/>
                    <a:pt x="2469261" y="1613297"/>
                    <a:pt x="2354961" y="1499092"/>
                  </a:cubicBezTo>
                  <a:lnTo>
                    <a:pt x="1512761" y="656892"/>
                  </a:lnTo>
                  <a:cubicBezTo>
                    <a:pt x="1394841" y="538972"/>
                    <a:pt x="1239964" y="480012"/>
                    <a:pt x="1084993" y="480012"/>
                  </a:cubicBezTo>
                  <a:close/>
                </a:path>
              </a:pathLst>
            </a:custGeom>
            <a:solidFill>
              <a:srgbClr val="9097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4" name="Forme libre : forme 3">
              <a:extLst>
                <a:ext uri="{FF2B5EF4-FFF2-40B4-BE49-F238E27FC236}">
                  <a16:creationId xmlns:a16="http://schemas.microsoft.com/office/drawing/2014/main" id="{87230767-8C40-03BF-7B84-EFA4E0F06E13}"/>
                </a:ext>
              </a:extLst>
            </p:cNvPr>
            <p:cNvSpPr/>
            <p:nvPr/>
          </p:nvSpPr>
          <p:spPr>
            <a:xfrm>
              <a:off x="1228502" y="1062130"/>
              <a:ext cx="284147" cy="284070"/>
            </a:xfrm>
            <a:custGeom>
              <a:avLst/>
              <a:gdLst>
                <a:gd name="connsiteX0" fmla="*/ 1084993 w 3012090"/>
                <a:gd name="connsiteY0" fmla="*/ 3011281 h 3011281"/>
                <a:gd name="connsiteX1" fmla="*/ 317754 w 3012090"/>
                <a:gd name="connsiteY1" fmla="*/ 2694003 h 3011281"/>
                <a:gd name="connsiteX2" fmla="*/ 0 w 3012090"/>
                <a:gd name="connsiteY2" fmla="*/ 1926765 h 3011281"/>
                <a:gd name="connsiteX3" fmla="*/ 317754 w 3012090"/>
                <a:gd name="connsiteY3" fmla="*/ 1159526 h 3011281"/>
                <a:gd name="connsiteX4" fmla="*/ 1159955 w 3012090"/>
                <a:gd name="connsiteY4" fmla="*/ 317325 h 3011281"/>
                <a:gd name="connsiteX5" fmla="*/ 2694337 w 3012090"/>
                <a:gd name="connsiteY5" fmla="*/ 317325 h 3011281"/>
                <a:gd name="connsiteX6" fmla="*/ 3012091 w 3012090"/>
                <a:gd name="connsiteY6" fmla="*/ 1084564 h 3011281"/>
                <a:gd name="connsiteX7" fmla="*/ 2694337 w 3012090"/>
                <a:gd name="connsiteY7" fmla="*/ 1851803 h 3011281"/>
                <a:gd name="connsiteX8" fmla="*/ 1852136 w 3012090"/>
                <a:gd name="connsiteY8" fmla="*/ 2694003 h 3011281"/>
                <a:gd name="connsiteX9" fmla="*/ 1084898 w 3012090"/>
                <a:gd name="connsiteY9" fmla="*/ 3011281 h 3011281"/>
                <a:gd name="connsiteX10" fmla="*/ 1927098 w 3012090"/>
                <a:gd name="connsiteY10" fmla="*/ 480012 h 3011281"/>
                <a:gd name="connsiteX11" fmla="*/ 1499426 w 3012090"/>
                <a:gd name="connsiteY11" fmla="*/ 656892 h 3011281"/>
                <a:gd name="connsiteX12" fmla="*/ 657225 w 3012090"/>
                <a:gd name="connsiteY12" fmla="*/ 1499092 h 3011281"/>
                <a:gd name="connsiteX13" fmla="*/ 480060 w 3012090"/>
                <a:gd name="connsiteY13" fmla="*/ 1926765 h 3011281"/>
                <a:gd name="connsiteX14" fmla="*/ 657225 w 3012090"/>
                <a:gd name="connsiteY14" fmla="*/ 2354437 h 3011281"/>
                <a:gd name="connsiteX15" fmla="*/ 1512570 w 3012090"/>
                <a:gd name="connsiteY15" fmla="*/ 2354437 h 3011281"/>
                <a:gd name="connsiteX16" fmla="*/ 2354771 w 3012090"/>
                <a:gd name="connsiteY16" fmla="*/ 1512237 h 3011281"/>
                <a:gd name="connsiteX17" fmla="*/ 2531935 w 3012090"/>
                <a:gd name="connsiteY17" fmla="*/ 1084564 h 3011281"/>
                <a:gd name="connsiteX18" fmla="*/ 2354771 w 3012090"/>
                <a:gd name="connsiteY18" fmla="*/ 656892 h 3011281"/>
                <a:gd name="connsiteX19" fmla="*/ 1927098 w 3012090"/>
                <a:gd name="connsiteY19" fmla="*/ 480012 h 301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12090" h="3011281">
                  <a:moveTo>
                    <a:pt x="1084993" y="3011281"/>
                  </a:moveTo>
                  <a:cubicBezTo>
                    <a:pt x="807149" y="3011281"/>
                    <a:pt x="529304" y="2905554"/>
                    <a:pt x="317754" y="2694003"/>
                  </a:cubicBezTo>
                  <a:cubicBezTo>
                    <a:pt x="106204" y="2482453"/>
                    <a:pt x="0" y="2216611"/>
                    <a:pt x="0" y="1926765"/>
                  </a:cubicBezTo>
                  <a:cubicBezTo>
                    <a:pt x="0" y="1636919"/>
                    <a:pt x="112871" y="1364504"/>
                    <a:pt x="317754" y="1159526"/>
                  </a:cubicBezTo>
                  <a:lnTo>
                    <a:pt x="1159955" y="317325"/>
                  </a:lnTo>
                  <a:cubicBezTo>
                    <a:pt x="1582960" y="-105775"/>
                    <a:pt x="2271332" y="-105775"/>
                    <a:pt x="2694337" y="317325"/>
                  </a:cubicBezTo>
                  <a:cubicBezTo>
                    <a:pt x="2899315" y="522303"/>
                    <a:pt x="3012091" y="794718"/>
                    <a:pt x="3012091" y="1084564"/>
                  </a:cubicBezTo>
                  <a:cubicBezTo>
                    <a:pt x="3012091" y="1374410"/>
                    <a:pt x="2899220" y="1646825"/>
                    <a:pt x="2694337" y="1851803"/>
                  </a:cubicBezTo>
                  <a:lnTo>
                    <a:pt x="1852136" y="2694003"/>
                  </a:lnTo>
                  <a:cubicBezTo>
                    <a:pt x="1640586" y="2905554"/>
                    <a:pt x="1362742" y="3011281"/>
                    <a:pt x="1084898" y="3011281"/>
                  </a:cubicBezTo>
                  <a:close/>
                  <a:moveTo>
                    <a:pt x="1927098" y="480012"/>
                  </a:moveTo>
                  <a:cubicBezTo>
                    <a:pt x="1772222" y="480012"/>
                    <a:pt x="1617345" y="538972"/>
                    <a:pt x="1499426" y="656892"/>
                  </a:cubicBezTo>
                  <a:lnTo>
                    <a:pt x="657225" y="1499092"/>
                  </a:lnTo>
                  <a:cubicBezTo>
                    <a:pt x="543020" y="1613297"/>
                    <a:pt x="480060" y="1765221"/>
                    <a:pt x="480060" y="1926765"/>
                  </a:cubicBezTo>
                  <a:cubicBezTo>
                    <a:pt x="480060" y="2088309"/>
                    <a:pt x="542925" y="2240233"/>
                    <a:pt x="657225" y="2354437"/>
                  </a:cubicBezTo>
                  <a:cubicBezTo>
                    <a:pt x="893064" y="2590276"/>
                    <a:pt x="1276731" y="2590276"/>
                    <a:pt x="1512570" y="2354437"/>
                  </a:cubicBezTo>
                  <a:lnTo>
                    <a:pt x="2354771" y="1512237"/>
                  </a:lnTo>
                  <a:cubicBezTo>
                    <a:pt x="2468975" y="1398032"/>
                    <a:pt x="2531935" y="1246108"/>
                    <a:pt x="2531935" y="1084564"/>
                  </a:cubicBezTo>
                  <a:cubicBezTo>
                    <a:pt x="2531935" y="923020"/>
                    <a:pt x="2469071" y="771096"/>
                    <a:pt x="2354771" y="656892"/>
                  </a:cubicBezTo>
                  <a:cubicBezTo>
                    <a:pt x="2236851" y="538972"/>
                    <a:pt x="2081975" y="480012"/>
                    <a:pt x="1927098" y="480012"/>
                  </a:cubicBezTo>
                  <a:close/>
                </a:path>
              </a:pathLst>
            </a:custGeom>
            <a:solidFill>
              <a:srgbClr val="4E966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522821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4C7D6">
            <a:alpha val="5000"/>
          </a:srgb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020640A-FB64-49C6-AC2A-0B46EACAB3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" name="Groupe 77">
            <a:extLst>
              <a:ext uri="{FF2B5EF4-FFF2-40B4-BE49-F238E27FC236}">
                <a16:creationId xmlns:a16="http://schemas.microsoft.com/office/drawing/2014/main" id="{4DA4A07C-F245-2DED-FA09-903CF929980F}"/>
              </a:ext>
            </a:extLst>
          </p:cNvPr>
          <p:cNvGrpSpPr/>
          <p:nvPr/>
        </p:nvGrpSpPr>
        <p:grpSpPr>
          <a:xfrm>
            <a:off x="7257652" y="2307487"/>
            <a:ext cx="3772696" cy="923378"/>
            <a:chOff x="7377904" y="2127935"/>
            <a:chExt cx="3772696" cy="923378"/>
          </a:xfrm>
        </p:grpSpPr>
        <p:sp>
          <p:nvSpPr>
            <p:cNvPr id="10" name="Rectangle : coins arrondis 9">
              <a:extLst>
                <a:ext uri="{FF2B5EF4-FFF2-40B4-BE49-F238E27FC236}">
                  <a16:creationId xmlns:a16="http://schemas.microsoft.com/office/drawing/2014/main" id="{D3F95188-E773-F358-D475-03FC72EC615F}"/>
                </a:ext>
              </a:extLst>
            </p:cNvPr>
            <p:cNvSpPr/>
            <p:nvPr/>
          </p:nvSpPr>
          <p:spPr>
            <a:xfrm>
              <a:off x="7377904" y="2127935"/>
              <a:ext cx="3772696" cy="923378"/>
            </a:xfrm>
            <a:prstGeom prst="roundRect">
              <a:avLst>
                <a:gd name="adj" fmla="val 17962"/>
              </a:avLst>
            </a:prstGeom>
            <a:solidFill>
              <a:schemeClr val="tx2"/>
            </a:solidFill>
            <a:ln>
              <a:noFill/>
            </a:ln>
            <a:effectLst>
              <a:outerShdw blurRad="635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tIns="72000" rIns="288000" bIns="288000" rtlCol="0" anchor="t" anchorCtr="0"/>
            <a:lstStyle/>
            <a:p>
              <a:pPr algn="ctr">
                <a:spcBef>
                  <a:spcPts val="1800"/>
                </a:spcBef>
              </a:pPr>
              <a:r>
                <a:rPr lang="fr-FR" sz="1400" b="1">
                  <a:solidFill>
                    <a:schemeClr val="bg1"/>
                  </a:solidFill>
                </a:rPr>
                <a:t>Créer de la valeur en proposant</a:t>
              </a:r>
            </a:p>
          </p:txBody>
        </p:sp>
        <p:grpSp>
          <p:nvGrpSpPr>
            <p:cNvPr id="76" name="Groupe 75">
              <a:extLst>
                <a:ext uri="{FF2B5EF4-FFF2-40B4-BE49-F238E27FC236}">
                  <a16:creationId xmlns:a16="http://schemas.microsoft.com/office/drawing/2014/main" id="{720D6335-4B26-F1B2-405D-EA53297A84CA}"/>
                </a:ext>
              </a:extLst>
            </p:cNvPr>
            <p:cNvGrpSpPr/>
            <p:nvPr/>
          </p:nvGrpSpPr>
          <p:grpSpPr>
            <a:xfrm>
              <a:off x="8705849" y="2497101"/>
              <a:ext cx="1116808" cy="173120"/>
              <a:chOff x="4777067" y="3224547"/>
              <a:chExt cx="2637867" cy="408907"/>
            </a:xfrm>
            <a:solidFill>
              <a:schemeClr val="bg1"/>
            </a:solidFill>
          </p:grpSpPr>
          <p:sp>
            <p:nvSpPr>
              <p:cNvPr id="65" name="Forme libre : forme 64">
                <a:extLst>
                  <a:ext uri="{FF2B5EF4-FFF2-40B4-BE49-F238E27FC236}">
                    <a16:creationId xmlns:a16="http://schemas.microsoft.com/office/drawing/2014/main" id="{31038DB8-9B5F-3361-8BFB-58B360F222EB}"/>
                  </a:ext>
                </a:extLst>
              </p:cNvPr>
              <p:cNvSpPr/>
              <p:nvPr/>
            </p:nvSpPr>
            <p:spPr>
              <a:xfrm>
                <a:off x="5339077" y="3230626"/>
                <a:ext cx="312433" cy="384284"/>
              </a:xfrm>
              <a:custGeom>
                <a:avLst/>
                <a:gdLst>
                  <a:gd name="connsiteX0" fmla="*/ 485680 w 543401"/>
                  <a:gd name="connsiteY0" fmla="*/ 563308 h 668369"/>
                  <a:gd name="connsiteX1" fmla="*/ 528161 w 543401"/>
                  <a:gd name="connsiteY1" fmla="*/ 580739 h 668369"/>
                  <a:gd name="connsiteX2" fmla="*/ 543401 w 543401"/>
                  <a:gd name="connsiteY2" fmla="*/ 617887 h 668369"/>
                  <a:gd name="connsiteX3" fmla="*/ 529114 w 543401"/>
                  <a:gd name="connsiteY3" fmla="*/ 652653 h 668369"/>
                  <a:gd name="connsiteX4" fmla="*/ 485680 w 543401"/>
                  <a:gd name="connsiteY4" fmla="*/ 668369 h 668369"/>
                  <a:gd name="connsiteX5" fmla="*/ 69247 w 543401"/>
                  <a:gd name="connsiteY5" fmla="*/ 668369 h 668369"/>
                  <a:gd name="connsiteX6" fmla="*/ 18860 w 543401"/>
                  <a:gd name="connsiteY6" fmla="*/ 650081 h 668369"/>
                  <a:gd name="connsiteX7" fmla="*/ 0 w 543401"/>
                  <a:gd name="connsiteY7" fmla="*/ 605409 h 668369"/>
                  <a:gd name="connsiteX8" fmla="*/ 0 w 543401"/>
                  <a:gd name="connsiteY8" fmla="*/ 61913 h 668369"/>
                  <a:gd name="connsiteX9" fmla="*/ 18860 w 543401"/>
                  <a:gd name="connsiteY9" fmla="*/ 18479 h 668369"/>
                  <a:gd name="connsiteX10" fmla="*/ 69247 w 543401"/>
                  <a:gd name="connsiteY10" fmla="*/ 0 h 668369"/>
                  <a:gd name="connsiteX11" fmla="*/ 485775 w 543401"/>
                  <a:gd name="connsiteY11" fmla="*/ 0 h 668369"/>
                  <a:gd name="connsiteX12" fmla="*/ 527685 w 543401"/>
                  <a:gd name="connsiteY12" fmla="*/ 15240 h 668369"/>
                  <a:gd name="connsiteX13" fmla="*/ 541401 w 543401"/>
                  <a:gd name="connsiteY13" fmla="*/ 50197 h 668369"/>
                  <a:gd name="connsiteX14" fmla="*/ 527304 w 543401"/>
                  <a:gd name="connsiteY14" fmla="*/ 86106 h 668369"/>
                  <a:gd name="connsiteX15" fmla="*/ 485870 w 543401"/>
                  <a:gd name="connsiteY15" fmla="*/ 102775 h 668369"/>
                  <a:gd name="connsiteX16" fmla="*/ 119634 w 543401"/>
                  <a:gd name="connsiteY16" fmla="*/ 102775 h 668369"/>
                  <a:gd name="connsiteX17" fmla="*/ 119634 w 543401"/>
                  <a:gd name="connsiteY17" fmla="*/ 286321 h 668369"/>
                  <a:gd name="connsiteX18" fmla="*/ 466916 w 543401"/>
                  <a:gd name="connsiteY18" fmla="*/ 286321 h 668369"/>
                  <a:gd name="connsiteX19" fmla="*/ 507778 w 543401"/>
                  <a:gd name="connsiteY19" fmla="*/ 302609 h 668369"/>
                  <a:gd name="connsiteX20" fmla="*/ 521494 w 543401"/>
                  <a:gd name="connsiteY20" fmla="*/ 338899 h 668369"/>
                  <a:gd name="connsiteX21" fmla="*/ 507778 w 543401"/>
                  <a:gd name="connsiteY21" fmla="*/ 373475 h 668369"/>
                  <a:gd name="connsiteX22" fmla="*/ 466916 w 543401"/>
                  <a:gd name="connsiteY22" fmla="*/ 389191 h 668369"/>
                  <a:gd name="connsiteX23" fmla="*/ 119634 w 543401"/>
                  <a:gd name="connsiteY23" fmla="*/ 389191 h 668369"/>
                  <a:gd name="connsiteX24" fmla="*/ 119634 w 543401"/>
                  <a:gd name="connsiteY24" fmla="*/ 563404 h 668369"/>
                  <a:gd name="connsiteX25" fmla="*/ 485775 w 543401"/>
                  <a:gd name="connsiteY25" fmla="*/ 563404 h 668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543401" h="668369">
                    <a:moveTo>
                      <a:pt x="485680" y="563308"/>
                    </a:moveTo>
                    <a:cubicBezTo>
                      <a:pt x="503968" y="563308"/>
                      <a:pt x="518065" y="569119"/>
                      <a:pt x="528161" y="580739"/>
                    </a:cubicBezTo>
                    <a:cubicBezTo>
                      <a:pt x="538353" y="592264"/>
                      <a:pt x="543401" y="604647"/>
                      <a:pt x="543401" y="617887"/>
                    </a:cubicBezTo>
                    <a:cubicBezTo>
                      <a:pt x="543401" y="631126"/>
                      <a:pt x="538639" y="642080"/>
                      <a:pt x="529114" y="652653"/>
                    </a:cubicBezTo>
                    <a:cubicBezTo>
                      <a:pt x="519684" y="663130"/>
                      <a:pt x="505206" y="668369"/>
                      <a:pt x="485680" y="668369"/>
                    </a:cubicBezTo>
                    <a:lnTo>
                      <a:pt x="69247" y="668369"/>
                    </a:lnTo>
                    <a:cubicBezTo>
                      <a:pt x="48197" y="668369"/>
                      <a:pt x="31433" y="662273"/>
                      <a:pt x="18860" y="650081"/>
                    </a:cubicBezTo>
                    <a:cubicBezTo>
                      <a:pt x="6286" y="637794"/>
                      <a:pt x="0" y="622935"/>
                      <a:pt x="0" y="605409"/>
                    </a:cubicBezTo>
                    <a:lnTo>
                      <a:pt x="0" y="61913"/>
                    </a:lnTo>
                    <a:cubicBezTo>
                      <a:pt x="0" y="45148"/>
                      <a:pt x="6286" y="30671"/>
                      <a:pt x="18860" y="18479"/>
                    </a:cubicBezTo>
                    <a:cubicBezTo>
                      <a:pt x="31433" y="6191"/>
                      <a:pt x="48197" y="0"/>
                      <a:pt x="69247" y="0"/>
                    </a:cubicBezTo>
                    <a:lnTo>
                      <a:pt x="485775" y="0"/>
                    </a:lnTo>
                    <a:cubicBezTo>
                      <a:pt x="504635" y="0"/>
                      <a:pt x="518636" y="5143"/>
                      <a:pt x="527685" y="15240"/>
                    </a:cubicBezTo>
                    <a:cubicBezTo>
                      <a:pt x="536829" y="25337"/>
                      <a:pt x="541401" y="36957"/>
                      <a:pt x="541401" y="50197"/>
                    </a:cubicBezTo>
                    <a:cubicBezTo>
                      <a:pt x="541401" y="63437"/>
                      <a:pt x="536734" y="74866"/>
                      <a:pt x="527304" y="86106"/>
                    </a:cubicBezTo>
                    <a:cubicBezTo>
                      <a:pt x="517874" y="97250"/>
                      <a:pt x="504063" y="102775"/>
                      <a:pt x="485870" y="102775"/>
                    </a:cubicBezTo>
                    <a:lnTo>
                      <a:pt x="119634" y="102775"/>
                    </a:lnTo>
                    <a:lnTo>
                      <a:pt x="119634" y="286321"/>
                    </a:lnTo>
                    <a:lnTo>
                      <a:pt x="466916" y="286321"/>
                    </a:lnTo>
                    <a:cubicBezTo>
                      <a:pt x="485013" y="286321"/>
                      <a:pt x="498634" y="291751"/>
                      <a:pt x="507778" y="302609"/>
                    </a:cubicBezTo>
                    <a:cubicBezTo>
                      <a:pt x="516922" y="313468"/>
                      <a:pt x="521494" y="325564"/>
                      <a:pt x="521494" y="338899"/>
                    </a:cubicBezTo>
                    <a:cubicBezTo>
                      <a:pt x="521494" y="351472"/>
                      <a:pt x="516922" y="362998"/>
                      <a:pt x="507778" y="373475"/>
                    </a:cubicBezTo>
                    <a:cubicBezTo>
                      <a:pt x="498634" y="383953"/>
                      <a:pt x="485013" y="389191"/>
                      <a:pt x="466916" y="389191"/>
                    </a:cubicBezTo>
                    <a:lnTo>
                      <a:pt x="119634" y="389191"/>
                    </a:lnTo>
                    <a:lnTo>
                      <a:pt x="119634" y="563404"/>
                    </a:lnTo>
                    <a:lnTo>
                      <a:pt x="485775" y="56340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66" name="Forme libre : forme 65">
                <a:extLst>
                  <a:ext uri="{FF2B5EF4-FFF2-40B4-BE49-F238E27FC236}">
                    <a16:creationId xmlns:a16="http://schemas.microsoft.com/office/drawing/2014/main" id="{13B553BD-8FAA-CD8A-9D87-4BA74C85B247}"/>
                  </a:ext>
                </a:extLst>
              </p:cNvPr>
              <p:cNvSpPr/>
              <p:nvPr/>
            </p:nvSpPr>
            <p:spPr>
              <a:xfrm>
                <a:off x="5700853" y="3301656"/>
                <a:ext cx="287032" cy="319168"/>
              </a:xfrm>
              <a:custGeom>
                <a:avLst/>
                <a:gdLst>
                  <a:gd name="connsiteX0" fmla="*/ 394811 w 499223"/>
                  <a:gd name="connsiteY0" fmla="*/ 154400 h 555116"/>
                  <a:gd name="connsiteX1" fmla="*/ 338042 w 499223"/>
                  <a:gd name="connsiteY1" fmla="*/ 114490 h 555116"/>
                  <a:gd name="connsiteX2" fmla="*/ 274130 w 499223"/>
                  <a:gd name="connsiteY2" fmla="*/ 102965 h 555116"/>
                  <a:gd name="connsiteX3" fmla="*/ 162782 w 499223"/>
                  <a:gd name="connsiteY3" fmla="*/ 150781 h 555116"/>
                  <a:gd name="connsiteX4" fmla="*/ 120872 w 499223"/>
                  <a:gd name="connsiteY4" fmla="*/ 279178 h 555116"/>
                  <a:gd name="connsiteX5" fmla="*/ 164306 w 499223"/>
                  <a:gd name="connsiteY5" fmla="*/ 403955 h 555116"/>
                  <a:gd name="connsiteX6" fmla="*/ 278225 w 499223"/>
                  <a:gd name="connsiteY6" fmla="*/ 451199 h 555116"/>
                  <a:gd name="connsiteX7" fmla="*/ 342138 w 499223"/>
                  <a:gd name="connsiteY7" fmla="*/ 440246 h 555116"/>
                  <a:gd name="connsiteX8" fmla="*/ 399860 w 499223"/>
                  <a:gd name="connsiteY8" fmla="*/ 403955 h 555116"/>
                  <a:gd name="connsiteX9" fmla="*/ 445484 w 499223"/>
                  <a:gd name="connsiteY9" fmla="*/ 379952 h 555116"/>
                  <a:gd name="connsiteX10" fmla="*/ 482822 w 499223"/>
                  <a:gd name="connsiteY10" fmla="*/ 392430 h 555116"/>
                  <a:gd name="connsiteX11" fmla="*/ 499110 w 499223"/>
                  <a:gd name="connsiteY11" fmla="*/ 427768 h 555116"/>
                  <a:gd name="connsiteX12" fmla="*/ 480632 w 499223"/>
                  <a:gd name="connsiteY12" fmla="*/ 471202 h 555116"/>
                  <a:gd name="connsiteX13" fmla="*/ 386810 w 499223"/>
                  <a:gd name="connsiteY13" fmla="*/ 535686 h 555116"/>
                  <a:gd name="connsiteX14" fmla="*/ 277273 w 499223"/>
                  <a:gd name="connsiteY14" fmla="*/ 555117 h 555116"/>
                  <a:gd name="connsiteX15" fmla="*/ 131826 w 499223"/>
                  <a:gd name="connsiteY15" fmla="*/ 520541 h 555116"/>
                  <a:gd name="connsiteX16" fmla="*/ 34576 w 499223"/>
                  <a:gd name="connsiteY16" fmla="*/ 423863 h 555116"/>
                  <a:gd name="connsiteX17" fmla="*/ 0 w 499223"/>
                  <a:gd name="connsiteY17" fmla="*/ 280035 h 555116"/>
                  <a:gd name="connsiteX18" fmla="*/ 34100 w 499223"/>
                  <a:gd name="connsiteY18" fmla="*/ 132207 h 555116"/>
                  <a:gd name="connsiteX19" fmla="*/ 130112 w 499223"/>
                  <a:gd name="connsiteY19" fmla="*/ 34766 h 555116"/>
                  <a:gd name="connsiteX20" fmla="*/ 273939 w 499223"/>
                  <a:gd name="connsiteY20" fmla="*/ 0 h 555116"/>
                  <a:gd name="connsiteX21" fmla="*/ 381286 w 499223"/>
                  <a:gd name="connsiteY21" fmla="*/ 17907 h 555116"/>
                  <a:gd name="connsiteX22" fmla="*/ 473202 w 499223"/>
                  <a:gd name="connsiteY22" fmla="*/ 84963 h 555116"/>
                  <a:gd name="connsiteX23" fmla="*/ 489490 w 499223"/>
                  <a:gd name="connsiteY23" fmla="*/ 128016 h 555116"/>
                  <a:gd name="connsiteX24" fmla="*/ 471011 w 499223"/>
                  <a:gd name="connsiteY24" fmla="*/ 162592 h 555116"/>
                  <a:gd name="connsiteX25" fmla="*/ 433864 w 499223"/>
                  <a:gd name="connsiteY25" fmla="*/ 175927 h 555116"/>
                  <a:gd name="connsiteX26" fmla="*/ 394526 w 499223"/>
                  <a:gd name="connsiteY26" fmla="*/ 154305 h 555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99223" h="555116">
                    <a:moveTo>
                      <a:pt x="394811" y="154400"/>
                    </a:moveTo>
                    <a:cubicBezTo>
                      <a:pt x="378619" y="135541"/>
                      <a:pt x="359759" y="122206"/>
                      <a:pt x="338042" y="114490"/>
                    </a:cubicBezTo>
                    <a:cubicBezTo>
                      <a:pt x="316325" y="106871"/>
                      <a:pt x="294989" y="102965"/>
                      <a:pt x="274130" y="102965"/>
                    </a:cubicBezTo>
                    <a:cubicBezTo>
                      <a:pt x="227933" y="102965"/>
                      <a:pt x="190881" y="118967"/>
                      <a:pt x="162782" y="150781"/>
                    </a:cubicBezTo>
                    <a:cubicBezTo>
                      <a:pt x="134874" y="182499"/>
                      <a:pt x="120872" y="225361"/>
                      <a:pt x="120872" y="279178"/>
                    </a:cubicBezTo>
                    <a:cubicBezTo>
                      <a:pt x="120872" y="332994"/>
                      <a:pt x="135350" y="372523"/>
                      <a:pt x="164306" y="403955"/>
                    </a:cubicBezTo>
                    <a:cubicBezTo>
                      <a:pt x="193262" y="435483"/>
                      <a:pt x="231267" y="451199"/>
                      <a:pt x="278225" y="451199"/>
                    </a:cubicBezTo>
                    <a:cubicBezTo>
                      <a:pt x="299085" y="451199"/>
                      <a:pt x="320421" y="447580"/>
                      <a:pt x="342138" y="440246"/>
                    </a:cubicBezTo>
                    <a:cubicBezTo>
                      <a:pt x="363855" y="432816"/>
                      <a:pt x="383096" y="420719"/>
                      <a:pt x="399860" y="403955"/>
                    </a:cubicBezTo>
                    <a:cubicBezTo>
                      <a:pt x="415385" y="388620"/>
                      <a:pt x="430530" y="380619"/>
                      <a:pt x="445484" y="379952"/>
                    </a:cubicBezTo>
                    <a:cubicBezTo>
                      <a:pt x="460534" y="379190"/>
                      <a:pt x="473012" y="383286"/>
                      <a:pt x="482822" y="392430"/>
                    </a:cubicBezTo>
                    <a:cubicBezTo>
                      <a:pt x="492633" y="401574"/>
                      <a:pt x="497967" y="413385"/>
                      <a:pt x="499110" y="427768"/>
                    </a:cubicBezTo>
                    <a:cubicBezTo>
                      <a:pt x="500158" y="442055"/>
                      <a:pt x="493967" y="456533"/>
                      <a:pt x="480632" y="471202"/>
                    </a:cubicBezTo>
                    <a:cubicBezTo>
                      <a:pt x="453390" y="501301"/>
                      <a:pt x="422053" y="522732"/>
                      <a:pt x="386810" y="535686"/>
                    </a:cubicBezTo>
                    <a:cubicBezTo>
                      <a:pt x="351568" y="548640"/>
                      <a:pt x="314992" y="555117"/>
                      <a:pt x="277273" y="555117"/>
                    </a:cubicBezTo>
                    <a:cubicBezTo>
                      <a:pt x="221933" y="555117"/>
                      <a:pt x="173450" y="543592"/>
                      <a:pt x="131826" y="520541"/>
                    </a:cubicBezTo>
                    <a:cubicBezTo>
                      <a:pt x="90107" y="497396"/>
                      <a:pt x="57722" y="465201"/>
                      <a:pt x="34576" y="423863"/>
                    </a:cubicBezTo>
                    <a:cubicBezTo>
                      <a:pt x="11525" y="382619"/>
                      <a:pt x="0" y="334708"/>
                      <a:pt x="0" y="280035"/>
                    </a:cubicBezTo>
                    <a:cubicBezTo>
                      <a:pt x="0" y="225361"/>
                      <a:pt x="11335" y="174212"/>
                      <a:pt x="34100" y="132207"/>
                    </a:cubicBezTo>
                    <a:cubicBezTo>
                      <a:pt x="56864" y="90297"/>
                      <a:pt x="88868" y="57817"/>
                      <a:pt x="130112" y="34766"/>
                    </a:cubicBezTo>
                    <a:cubicBezTo>
                      <a:pt x="171355" y="11621"/>
                      <a:pt x="219266" y="0"/>
                      <a:pt x="273939" y="0"/>
                    </a:cubicBezTo>
                    <a:cubicBezTo>
                      <a:pt x="312325" y="0"/>
                      <a:pt x="348044" y="6001"/>
                      <a:pt x="381286" y="17907"/>
                    </a:cubicBezTo>
                    <a:cubicBezTo>
                      <a:pt x="414623" y="29718"/>
                      <a:pt x="445199" y="52006"/>
                      <a:pt x="473202" y="84963"/>
                    </a:cubicBezTo>
                    <a:cubicBezTo>
                      <a:pt x="485870" y="99631"/>
                      <a:pt x="491300" y="114014"/>
                      <a:pt x="489490" y="128016"/>
                    </a:cubicBezTo>
                    <a:cubicBezTo>
                      <a:pt x="487775" y="141922"/>
                      <a:pt x="481584" y="153448"/>
                      <a:pt x="471011" y="162592"/>
                    </a:cubicBezTo>
                    <a:cubicBezTo>
                      <a:pt x="460534" y="171736"/>
                      <a:pt x="448151" y="176213"/>
                      <a:pt x="433864" y="175927"/>
                    </a:cubicBezTo>
                    <a:cubicBezTo>
                      <a:pt x="419576" y="175546"/>
                      <a:pt x="406432" y="168307"/>
                      <a:pt x="394526" y="15430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67" name="Forme libre : forme 66">
                <a:extLst>
                  <a:ext uri="{FF2B5EF4-FFF2-40B4-BE49-F238E27FC236}">
                    <a16:creationId xmlns:a16="http://schemas.microsoft.com/office/drawing/2014/main" id="{60DAF568-11D7-082E-0DF5-E118407C05C5}"/>
                  </a:ext>
                </a:extLst>
              </p:cNvPr>
              <p:cNvSpPr/>
              <p:nvPr/>
            </p:nvSpPr>
            <p:spPr>
              <a:xfrm>
                <a:off x="6026210" y="3301766"/>
                <a:ext cx="320921" cy="319168"/>
              </a:xfrm>
              <a:custGeom>
                <a:avLst/>
                <a:gdLst>
                  <a:gd name="connsiteX0" fmla="*/ 278892 w 558165"/>
                  <a:gd name="connsiteY0" fmla="*/ 0 h 555116"/>
                  <a:gd name="connsiteX1" fmla="*/ 425767 w 558165"/>
                  <a:gd name="connsiteY1" fmla="*/ 35147 h 555116"/>
                  <a:gd name="connsiteX2" fmla="*/ 523399 w 558165"/>
                  <a:gd name="connsiteY2" fmla="*/ 133160 h 555116"/>
                  <a:gd name="connsiteX3" fmla="*/ 558165 w 558165"/>
                  <a:gd name="connsiteY3" fmla="*/ 280035 h 555116"/>
                  <a:gd name="connsiteX4" fmla="*/ 521875 w 558165"/>
                  <a:gd name="connsiteY4" fmla="*/ 423863 h 555116"/>
                  <a:gd name="connsiteX5" fmla="*/ 424243 w 558165"/>
                  <a:gd name="connsiteY5" fmla="*/ 520541 h 555116"/>
                  <a:gd name="connsiteX6" fmla="*/ 278987 w 558165"/>
                  <a:gd name="connsiteY6" fmla="*/ 555117 h 555116"/>
                  <a:gd name="connsiteX7" fmla="*/ 134112 w 558165"/>
                  <a:gd name="connsiteY7" fmla="*/ 520541 h 555116"/>
                  <a:gd name="connsiteX8" fmla="*/ 36100 w 558165"/>
                  <a:gd name="connsiteY8" fmla="*/ 423863 h 555116"/>
                  <a:gd name="connsiteX9" fmla="*/ 0 w 558165"/>
                  <a:gd name="connsiteY9" fmla="*/ 280035 h 555116"/>
                  <a:gd name="connsiteX10" fmla="*/ 35147 w 558165"/>
                  <a:gd name="connsiteY10" fmla="*/ 133160 h 555116"/>
                  <a:gd name="connsiteX11" fmla="*/ 133159 w 558165"/>
                  <a:gd name="connsiteY11" fmla="*/ 35147 h 555116"/>
                  <a:gd name="connsiteX12" fmla="*/ 278987 w 558165"/>
                  <a:gd name="connsiteY12" fmla="*/ 0 h 555116"/>
                  <a:gd name="connsiteX13" fmla="*/ 278892 w 558165"/>
                  <a:gd name="connsiteY13" fmla="*/ 450056 h 555116"/>
                  <a:gd name="connsiteX14" fmla="*/ 392811 w 558165"/>
                  <a:gd name="connsiteY14" fmla="*/ 402812 h 555116"/>
                  <a:gd name="connsiteX15" fmla="*/ 435292 w 558165"/>
                  <a:gd name="connsiteY15" fmla="*/ 279940 h 555116"/>
                  <a:gd name="connsiteX16" fmla="*/ 392811 w 558165"/>
                  <a:gd name="connsiteY16" fmla="*/ 153543 h 555116"/>
                  <a:gd name="connsiteX17" fmla="*/ 278892 w 558165"/>
                  <a:gd name="connsiteY17" fmla="*/ 104680 h 555116"/>
                  <a:gd name="connsiteX18" fmla="*/ 165545 w 558165"/>
                  <a:gd name="connsiteY18" fmla="*/ 153543 h 555116"/>
                  <a:gd name="connsiteX19" fmla="*/ 122492 w 558165"/>
                  <a:gd name="connsiteY19" fmla="*/ 279940 h 555116"/>
                  <a:gd name="connsiteX20" fmla="*/ 165545 w 558165"/>
                  <a:gd name="connsiteY20" fmla="*/ 402812 h 555116"/>
                  <a:gd name="connsiteX21" fmla="*/ 278892 w 558165"/>
                  <a:gd name="connsiteY21" fmla="*/ 450056 h 555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8165" h="555116">
                    <a:moveTo>
                      <a:pt x="278892" y="0"/>
                    </a:moveTo>
                    <a:cubicBezTo>
                      <a:pt x="334899" y="0"/>
                      <a:pt x="383762" y="11716"/>
                      <a:pt x="425767" y="35147"/>
                    </a:cubicBezTo>
                    <a:cubicBezTo>
                      <a:pt x="467868" y="58579"/>
                      <a:pt x="500348" y="91249"/>
                      <a:pt x="523399" y="133160"/>
                    </a:cubicBezTo>
                    <a:cubicBezTo>
                      <a:pt x="546545" y="175165"/>
                      <a:pt x="558165" y="224028"/>
                      <a:pt x="558165" y="280035"/>
                    </a:cubicBezTo>
                    <a:cubicBezTo>
                      <a:pt x="557498" y="334708"/>
                      <a:pt x="545401" y="382619"/>
                      <a:pt x="521875" y="423863"/>
                    </a:cubicBezTo>
                    <a:cubicBezTo>
                      <a:pt x="498443" y="465106"/>
                      <a:pt x="465868" y="497396"/>
                      <a:pt x="424243" y="520541"/>
                    </a:cubicBezTo>
                    <a:cubicBezTo>
                      <a:pt x="382714" y="543592"/>
                      <a:pt x="334232" y="555117"/>
                      <a:pt x="278987" y="555117"/>
                    </a:cubicBezTo>
                    <a:cubicBezTo>
                      <a:pt x="223742" y="555117"/>
                      <a:pt x="176213" y="543592"/>
                      <a:pt x="134112" y="520541"/>
                    </a:cubicBezTo>
                    <a:cubicBezTo>
                      <a:pt x="92107" y="497396"/>
                      <a:pt x="59531" y="465201"/>
                      <a:pt x="36100" y="423863"/>
                    </a:cubicBezTo>
                    <a:cubicBezTo>
                      <a:pt x="12668" y="382524"/>
                      <a:pt x="667" y="334708"/>
                      <a:pt x="0" y="280035"/>
                    </a:cubicBezTo>
                    <a:cubicBezTo>
                      <a:pt x="0" y="224028"/>
                      <a:pt x="11716" y="175165"/>
                      <a:pt x="35147" y="133160"/>
                    </a:cubicBezTo>
                    <a:cubicBezTo>
                      <a:pt x="58579" y="91249"/>
                      <a:pt x="91250" y="58579"/>
                      <a:pt x="133159" y="35147"/>
                    </a:cubicBezTo>
                    <a:cubicBezTo>
                      <a:pt x="175260" y="11716"/>
                      <a:pt x="223838" y="0"/>
                      <a:pt x="278987" y="0"/>
                    </a:cubicBezTo>
                    <a:close/>
                    <a:moveTo>
                      <a:pt x="278892" y="450056"/>
                    </a:moveTo>
                    <a:cubicBezTo>
                      <a:pt x="326517" y="450056"/>
                      <a:pt x="364426" y="434340"/>
                      <a:pt x="392811" y="402812"/>
                    </a:cubicBezTo>
                    <a:cubicBezTo>
                      <a:pt x="421100" y="371380"/>
                      <a:pt x="435292" y="330422"/>
                      <a:pt x="435292" y="279940"/>
                    </a:cubicBezTo>
                    <a:cubicBezTo>
                      <a:pt x="435292" y="229457"/>
                      <a:pt x="421100" y="186119"/>
                      <a:pt x="392811" y="153543"/>
                    </a:cubicBezTo>
                    <a:cubicBezTo>
                      <a:pt x="364522" y="120968"/>
                      <a:pt x="326517" y="104680"/>
                      <a:pt x="278892" y="104680"/>
                    </a:cubicBezTo>
                    <a:cubicBezTo>
                      <a:pt x="231267" y="104680"/>
                      <a:pt x="194215" y="120968"/>
                      <a:pt x="165545" y="153543"/>
                    </a:cubicBezTo>
                    <a:cubicBezTo>
                      <a:pt x="136779" y="186119"/>
                      <a:pt x="122492" y="228219"/>
                      <a:pt x="122492" y="279940"/>
                    </a:cubicBezTo>
                    <a:cubicBezTo>
                      <a:pt x="122492" y="331661"/>
                      <a:pt x="136874" y="371285"/>
                      <a:pt x="165545" y="402812"/>
                    </a:cubicBezTo>
                    <a:cubicBezTo>
                      <a:pt x="194215" y="434340"/>
                      <a:pt x="232029" y="450056"/>
                      <a:pt x="278892" y="4500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68" name="Forme libre : forme 67">
                <a:extLst>
                  <a:ext uri="{FF2B5EF4-FFF2-40B4-BE49-F238E27FC236}">
                    <a16:creationId xmlns:a16="http://schemas.microsoft.com/office/drawing/2014/main" id="{858B656A-5040-A7BB-2199-F42E38B19C74}"/>
                  </a:ext>
                </a:extLst>
              </p:cNvPr>
              <p:cNvSpPr/>
              <p:nvPr/>
            </p:nvSpPr>
            <p:spPr>
              <a:xfrm>
                <a:off x="6406880" y="3230572"/>
                <a:ext cx="316759" cy="384339"/>
              </a:xfrm>
              <a:custGeom>
                <a:avLst/>
                <a:gdLst>
                  <a:gd name="connsiteX0" fmla="*/ 120587 w 550926"/>
                  <a:gd name="connsiteY0" fmla="*/ 482632 h 668464"/>
                  <a:gd name="connsiteX1" fmla="*/ 120587 w 550926"/>
                  <a:gd name="connsiteY1" fmla="*/ 614839 h 668464"/>
                  <a:gd name="connsiteX2" fmla="*/ 101156 w 550926"/>
                  <a:gd name="connsiteY2" fmla="*/ 655320 h 668464"/>
                  <a:gd name="connsiteX3" fmla="*/ 59722 w 550926"/>
                  <a:gd name="connsiteY3" fmla="*/ 668464 h 668464"/>
                  <a:gd name="connsiteX4" fmla="*/ 18288 w 550926"/>
                  <a:gd name="connsiteY4" fmla="*/ 655320 h 668464"/>
                  <a:gd name="connsiteX5" fmla="*/ 0 w 550926"/>
                  <a:gd name="connsiteY5" fmla="*/ 615982 h 668464"/>
                  <a:gd name="connsiteX6" fmla="*/ 0 w 550926"/>
                  <a:gd name="connsiteY6" fmla="*/ 54578 h 668464"/>
                  <a:gd name="connsiteX7" fmla="*/ 17621 w 550926"/>
                  <a:gd name="connsiteY7" fmla="*/ 15240 h 668464"/>
                  <a:gd name="connsiteX8" fmla="*/ 60674 w 550926"/>
                  <a:gd name="connsiteY8" fmla="*/ 0 h 668464"/>
                  <a:gd name="connsiteX9" fmla="*/ 274796 w 550926"/>
                  <a:gd name="connsiteY9" fmla="*/ 0 h 668464"/>
                  <a:gd name="connsiteX10" fmla="*/ 423863 w 550926"/>
                  <a:gd name="connsiteY10" fmla="*/ 30956 h 668464"/>
                  <a:gd name="connsiteX11" fmla="*/ 518350 w 550926"/>
                  <a:gd name="connsiteY11" fmla="*/ 117062 h 668464"/>
                  <a:gd name="connsiteX12" fmla="*/ 550926 w 550926"/>
                  <a:gd name="connsiteY12" fmla="*/ 246412 h 668464"/>
                  <a:gd name="connsiteX13" fmla="*/ 477488 w 550926"/>
                  <a:gd name="connsiteY13" fmla="*/ 417481 h 668464"/>
                  <a:gd name="connsiteX14" fmla="*/ 271748 w 550926"/>
                  <a:gd name="connsiteY14" fmla="*/ 482537 h 668464"/>
                  <a:gd name="connsiteX15" fmla="*/ 120777 w 550926"/>
                  <a:gd name="connsiteY15" fmla="*/ 482537 h 668464"/>
                  <a:gd name="connsiteX16" fmla="*/ 120587 w 550926"/>
                  <a:gd name="connsiteY16" fmla="*/ 103822 h 668464"/>
                  <a:gd name="connsiteX17" fmla="*/ 120587 w 550926"/>
                  <a:gd name="connsiteY17" fmla="*/ 378905 h 668464"/>
                  <a:gd name="connsiteX18" fmla="*/ 271558 w 550926"/>
                  <a:gd name="connsiteY18" fmla="*/ 378905 h 668464"/>
                  <a:gd name="connsiteX19" fmla="*/ 390239 w 550926"/>
                  <a:gd name="connsiteY19" fmla="*/ 342805 h 668464"/>
                  <a:gd name="connsiteX20" fmla="*/ 431102 w 550926"/>
                  <a:gd name="connsiteY20" fmla="*/ 246602 h 668464"/>
                  <a:gd name="connsiteX21" fmla="*/ 390620 w 550926"/>
                  <a:gd name="connsiteY21" fmla="*/ 142780 h 668464"/>
                  <a:gd name="connsiteX22" fmla="*/ 275749 w 550926"/>
                  <a:gd name="connsiteY22" fmla="*/ 103918 h 668464"/>
                  <a:gd name="connsiteX23" fmla="*/ 120587 w 550926"/>
                  <a:gd name="connsiteY23" fmla="*/ 103918 h 66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50926" h="668464">
                    <a:moveTo>
                      <a:pt x="120587" y="482632"/>
                    </a:moveTo>
                    <a:lnTo>
                      <a:pt x="120587" y="614839"/>
                    </a:lnTo>
                    <a:cubicBezTo>
                      <a:pt x="120587" y="633127"/>
                      <a:pt x="114110" y="646557"/>
                      <a:pt x="101156" y="655320"/>
                    </a:cubicBezTo>
                    <a:cubicBezTo>
                      <a:pt x="88202" y="664083"/>
                      <a:pt x="74390" y="668464"/>
                      <a:pt x="59722" y="668464"/>
                    </a:cubicBezTo>
                    <a:cubicBezTo>
                      <a:pt x="45053" y="668464"/>
                      <a:pt x="30575" y="664083"/>
                      <a:pt x="18288" y="655320"/>
                    </a:cubicBezTo>
                    <a:cubicBezTo>
                      <a:pt x="6096" y="646557"/>
                      <a:pt x="0" y="633508"/>
                      <a:pt x="0" y="615982"/>
                    </a:cubicBezTo>
                    <a:lnTo>
                      <a:pt x="0" y="54578"/>
                    </a:lnTo>
                    <a:cubicBezTo>
                      <a:pt x="0" y="38481"/>
                      <a:pt x="5810" y="25337"/>
                      <a:pt x="17621" y="15240"/>
                    </a:cubicBezTo>
                    <a:cubicBezTo>
                      <a:pt x="29528" y="5048"/>
                      <a:pt x="43910" y="0"/>
                      <a:pt x="60674" y="0"/>
                    </a:cubicBezTo>
                    <a:lnTo>
                      <a:pt x="274796" y="0"/>
                    </a:lnTo>
                    <a:cubicBezTo>
                      <a:pt x="332804" y="0"/>
                      <a:pt x="382524" y="10287"/>
                      <a:pt x="423863" y="30956"/>
                    </a:cubicBezTo>
                    <a:cubicBezTo>
                      <a:pt x="465201" y="51626"/>
                      <a:pt x="496634" y="80296"/>
                      <a:pt x="518350" y="117062"/>
                    </a:cubicBezTo>
                    <a:cubicBezTo>
                      <a:pt x="540068" y="153733"/>
                      <a:pt x="550926" y="196882"/>
                      <a:pt x="550926" y="246412"/>
                    </a:cubicBezTo>
                    <a:cubicBezTo>
                      <a:pt x="550926" y="317087"/>
                      <a:pt x="526447" y="374142"/>
                      <a:pt x="477488" y="417481"/>
                    </a:cubicBezTo>
                    <a:cubicBezTo>
                      <a:pt x="428530" y="460915"/>
                      <a:pt x="359950" y="482537"/>
                      <a:pt x="271748" y="482537"/>
                    </a:cubicBezTo>
                    <a:lnTo>
                      <a:pt x="120777" y="482537"/>
                    </a:lnTo>
                    <a:close/>
                    <a:moveTo>
                      <a:pt x="120587" y="103822"/>
                    </a:moveTo>
                    <a:lnTo>
                      <a:pt x="120587" y="378905"/>
                    </a:lnTo>
                    <a:lnTo>
                      <a:pt x="271558" y="378905"/>
                    </a:lnTo>
                    <a:cubicBezTo>
                      <a:pt x="323374" y="378905"/>
                      <a:pt x="362903" y="366903"/>
                      <a:pt x="390239" y="342805"/>
                    </a:cubicBezTo>
                    <a:cubicBezTo>
                      <a:pt x="417481" y="318611"/>
                      <a:pt x="431102" y="286512"/>
                      <a:pt x="431102" y="246602"/>
                    </a:cubicBezTo>
                    <a:cubicBezTo>
                      <a:pt x="431102" y="203263"/>
                      <a:pt x="417576" y="168593"/>
                      <a:pt x="390620" y="142780"/>
                    </a:cubicBezTo>
                    <a:cubicBezTo>
                      <a:pt x="363760" y="116872"/>
                      <a:pt x="325469" y="103918"/>
                      <a:pt x="275749" y="103918"/>
                    </a:cubicBezTo>
                    <a:lnTo>
                      <a:pt x="120587" y="10391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69" name="Forme libre : forme 68">
                <a:extLst>
                  <a:ext uri="{FF2B5EF4-FFF2-40B4-BE49-F238E27FC236}">
                    <a16:creationId xmlns:a16="http://schemas.microsoft.com/office/drawing/2014/main" id="{82A545C2-FB1B-DB86-B3A2-E2C77E2C76D0}"/>
                  </a:ext>
                </a:extLst>
              </p:cNvPr>
              <p:cNvSpPr/>
              <p:nvPr/>
            </p:nvSpPr>
            <p:spPr>
              <a:xfrm>
                <a:off x="6778458" y="3224547"/>
                <a:ext cx="69934" cy="390309"/>
              </a:xfrm>
              <a:custGeom>
                <a:avLst/>
                <a:gdLst>
                  <a:gd name="connsiteX0" fmla="*/ 121634 w 121634"/>
                  <a:gd name="connsiteY0" fmla="*/ 66104 h 678846"/>
                  <a:gd name="connsiteX1" fmla="*/ 102203 w 121634"/>
                  <a:gd name="connsiteY1" fmla="*/ 105442 h 678846"/>
                  <a:gd name="connsiteX2" fmla="*/ 60770 w 121634"/>
                  <a:gd name="connsiteY2" fmla="*/ 118586 h 678846"/>
                  <a:gd name="connsiteX3" fmla="*/ 18860 w 121634"/>
                  <a:gd name="connsiteY3" fmla="*/ 105442 h 678846"/>
                  <a:gd name="connsiteX4" fmla="*/ 0 w 121634"/>
                  <a:gd name="connsiteY4" fmla="*/ 66104 h 678846"/>
                  <a:gd name="connsiteX5" fmla="*/ 0 w 121634"/>
                  <a:gd name="connsiteY5" fmla="*/ 52388 h 678846"/>
                  <a:gd name="connsiteX6" fmla="*/ 18860 w 121634"/>
                  <a:gd name="connsiteY6" fmla="*/ 12668 h 678846"/>
                  <a:gd name="connsiteX7" fmla="*/ 60770 w 121634"/>
                  <a:gd name="connsiteY7" fmla="*/ 0 h 678846"/>
                  <a:gd name="connsiteX8" fmla="*/ 102203 w 121634"/>
                  <a:gd name="connsiteY8" fmla="*/ 12668 h 678846"/>
                  <a:gd name="connsiteX9" fmla="*/ 121634 w 121634"/>
                  <a:gd name="connsiteY9" fmla="*/ 52388 h 678846"/>
                  <a:gd name="connsiteX10" fmla="*/ 121634 w 121634"/>
                  <a:gd name="connsiteY10" fmla="*/ 66104 h 678846"/>
                  <a:gd name="connsiteX11" fmla="*/ 953 w 121634"/>
                  <a:gd name="connsiteY11" fmla="*/ 196215 h 678846"/>
                  <a:gd name="connsiteX12" fmla="*/ 20384 w 121634"/>
                  <a:gd name="connsiteY12" fmla="*/ 157925 h 678846"/>
                  <a:gd name="connsiteX13" fmla="*/ 60674 w 121634"/>
                  <a:gd name="connsiteY13" fmla="*/ 144589 h 678846"/>
                  <a:gd name="connsiteX14" fmla="*/ 101727 w 121634"/>
                  <a:gd name="connsiteY14" fmla="*/ 157925 h 678846"/>
                  <a:gd name="connsiteX15" fmla="*/ 120587 w 121634"/>
                  <a:gd name="connsiteY15" fmla="*/ 195072 h 678846"/>
                  <a:gd name="connsiteX16" fmla="*/ 120587 w 121634"/>
                  <a:gd name="connsiteY16" fmla="*/ 627507 h 678846"/>
                  <a:gd name="connsiteX17" fmla="*/ 101727 w 121634"/>
                  <a:gd name="connsiteY17" fmla="*/ 666369 h 678846"/>
                  <a:gd name="connsiteX18" fmla="*/ 60674 w 121634"/>
                  <a:gd name="connsiteY18" fmla="*/ 678847 h 678846"/>
                  <a:gd name="connsiteX19" fmla="*/ 20384 w 121634"/>
                  <a:gd name="connsiteY19" fmla="*/ 666369 h 678846"/>
                  <a:gd name="connsiteX20" fmla="*/ 953 w 121634"/>
                  <a:gd name="connsiteY20" fmla="*/ 627507 h 678846"/>
                  <a:gd name="connsiteX21" fmla="*/ 953 w 121634"/>
                  <a:gd name="connsiteY21" fmla="*/ 196310 h 678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1634" h="678846">
                    <a:moveTo>
                      <a:pt x="121634" y="66104"/>
                    </a:moveTo>
                    <a:cubicBezTo>
                      <a:pt x="121634" y="83534"/>
                      <a:pt x="115158" y="96679"/>
                      <a:pt x="102203" y="105442"/>
                    </a:cubicBezTo>
                    <a:cubicBezTo>
                      <a:pt x="89345" y="114205"/>
                      <a:pt x="75533" y="118586"/>
                      <a:pt x="60770" y="118586"/>
                    </a:cubicBezTo>
                    <a:cubicBezTo>
                      <a:pt x="46006" y="118586"/>
                      <a:pt x="31433" y="114205"/>
                      <a:pt x="18860" y="105442"/>
                    </a:cubicBezTo>
                    <a:cubicBezTo>
                      <a:pt x="6287" y="96679"/>
                      <a:pt x="0" y="83629"/>
                      <a:pt x="0" y="66104"/>
                    </a:cubicBezTo>
                    <a:lnTo>
                      <a:pt x="0" y="52388"/>
                    </a:lnTo>
                    <a:cubicBezTo>
                      <a:pt x="0" y="34290"/>
                      <a:pt x="6287" y="21050"/>
                      <a:pt x="18860" y="12668"/>
                    </a:cubicBezTo>
                    <a:cubicBezTo>
                      <a:pt x="31433" y="4191"/>
                      <a:pt x="45339" y="0"/>
                      <a:pt x="60770" y="0"/>
                    </a:cubicBezTo>
                    <a:cubicBezTo>
                      <a:pt x="76200" y="0"/>
                      <a:pt x="89440" y="4286"/>
                      <a:pt x="102203" y="12668"/>
                    </a:cubicBezTo>
                    <a:cubicBezTo>
                      <a:pt x="115158" y="21050"/>
                      <a:pt x="121634" y="34290"/>
                      <a:pt x="121634" y="52388"/>
                    </a:cubicBezTo>
                    <a:lnTo>
                      <a:pt x="121634" y="66104"/>
                    </a:lnTo>
                    <a:close/>
                    <a:moveTo>
                      <a:pt x="953" y="196215"/>
                    </a:moveTo>
                    <a:cubicBezTo>
                      <a:pt x="953" y="179451"/>
                      <a:pt x="7430" y="166688"/>
                      <a:pt x="20384" y="157925"/>
                    </a:cubicBezTo>
                    <a:cubicBezTo>
                      <a:pt x="33338" y="149066"/>
                      <a:pt x="46768" y="144589"/>
                      <a:pt x="60674" y="144589"/>
                    </a:cubicBezTo>
                    <a:cubicBezTo>
                      <a:pt x="75438" y="144589"/>
                      <a:pt x="89154" y="149066"/>
                      <a:pt x="101727" y="157925"/>
                    </a:cubicBezTo>
                    <a:cubicBezTo>
                      <a:pt x="114300" y="166688"/>
                      <a:pt x="120587" y="179070"/>
                      <a:pt x="120587" y="195072"/>
                    </a:cubicBezTo>
                    <a:lnTo>
                      <a:pt x="120587" y="627507"/>
                    </a:lnTo>
                    <a:cubicBezTo>
                      <a:pt x="120587" y="644938"/>
                      <a:pt x="114300" y="657987"/>
                      <a:pt x="101727" y="666369"/>
                    </a:cubicBezTo>
                    <a:cubicBezTo>
                      <a:pt x="89154" y="674751"/>
                      <a:pt x="75438" y="678847"/>
                      <a:pt x="60674" y="678847"/>
                    </a:cubicBezTo>
                    <a:cubicBezTo>
                      <a:pt x="46768" y="678847"/>
                      <a:pt x="33338" y="674656"/>
                      <a:pt x="20384" y="666369"/>
                    </a:cubicBezTo>
                    <a:cubicBezTo>
                      <a:pt x="7430" y="657892"/>
                      <a:pt x="953" y="644938"/>
                      <a:pt x="953" y="627507"/>
                    </a:cubicBezTo>
                    <a:lnTo>
                      <a:pt x="953" y="19631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70" name="Forme libre : forme 69">
                <a:extLst>
                  <a:ext uri="{FF2B5EF4-FFF2-40B4-BE49-F238E27FC236}">
                    <a16:creationId xmlns:a16="http://schemas.microsoft.com/office/drawing/2014/main" id="{D1181CDF-8261-FC50-1EED-8FA72B1A14F8}"/>
                  </a:ext>
                </a:extLst>
              </p:cNvPr>
              <p:cNvSpPr/>
              <p:nvPr/>
            </p:nvSpPr>
            <p:spPr>
              <a:xfrm>
                <a:off x="6900858" y="3224547"/>
                <a:ext cx="68784" cy="390309"/>
              </a:xfrm>
              <a:custGeom>
                <a:avLst/>
                <a:gdLst>
                  <a:gd name="connsiteX0" fmla="*/ 119634 w 119633"/>
                  <a:gd name="connsiteY0" fmla="*/ 626459 h 678846"/>
                  <a:gd name="connsiteX1" fmla="*/ 102203 w 119633"/>
                  <a:gd name="connsiteY1" fmla="*/ 663130 h 678846"/>
                  <a:gd name="connsiteX2" fmla="*/ 59722 w 119633"/>
                  <a:gd name="connsiteY2" fmla="*/ 678847 h 678846"/>
                  <a:gd name="connsiteX3" fmla="*/ 16669 w 119633"/>
                  <a:gd name="connsiteY3" fmla="*/ 663130 h 678846"/>
                  <a:gd name="connsiteX4" fmla="*/ 0 w 119633"/>
                  <a:gd name="connsiteY4" fmla="*/ 626459 h 678846"/>
                  <a:gd name="connsiteX5" fmla="*/ 0 w 119633"/>
                  <a:gd name="connsiteY5" fmla="*/ 52388 h 678846"/>
                  <a:gd name="connsiteX6" fmla="*/ 16669 w 119633"/>
                  <a:gd name="connsiteY6" fmla="*/ 15716 h 678846"/>
                  <a:gd name="connsiteX7" fmla="*/ 59722 w 119633"/>
                  <a:gd name="connsiteY7" fmla="*/ 0 h 678846"/>
                  <a:gd name="connsiteX8" fmla="*/ 102203 w 119633"/>
                  <a:gd name="connsiteY8" fmla="*/ 15716 h 678846"/>
                  <a:gd name="connsiteX9" fmla="*/ 119634 w 119633"/>
                  <a:gd name="connsiteY9" fmla="*/ 52388 h 678846"/>
                  <a:gd name="connsiteX10" fmla="*/ 119634 w 119633"/>
                  <a:gd name="connsiteY10" fmla="*/ 626459 h 678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9633" h="678846">
                    <a:moveTo>
                      <a:pt x="119634" y="626459"/>
                    </a:moveTo>
                    <a:cubicBezTo>
                      <a:pt x="119634" y="640366"/>
                      <a:pt x="113824" y="652558"/>
                      <a:pt x="102203" y="663130"/>
                    </a:cubicBezTo>
                    <a:cubicBezTo>
                      <a:pt x="90678" y="673608"/>
                      <a:pt x="76486" y="678847"/>
                      <a:pt x="59722" y="678847"/>
                    </a:cubicBezTo>
                    <a:cubicBezTo>
                      <a:pt x="42958" y="678847"/>
                      <a:pt x="27908" y="673608"/>
                      <a:pt x="16669" y="663130"/>
                    </a:cubicBezTo>
                    <a:cubicBezTo>
                      <a:pt x="5525" y="652558"/>
                      <a:pt x="0" y="640271"/>
                      <a:pt x="0" y="626459"/>
                    </a:cubicBezTo>
                    <a:lnTo>
                      <a:pt x="0" y="52388"/>
                    </a:lnTo>
                    <a:cubicBezTo>
                      <a:pt x="0" y="38386"/>
                      <a:pt x="5525" y="26098"/>
                      <a:pt x="16669" y="15716"/>
                    </a:cubicBezTo>
                    <a:cubicBezTo>
                      <a:pt x="27908" y="5334"/>
                      <a:pt x="42291" y="0"/>
                      <a:pt x="59722" y="0"/>
                    </a:cubicBezTo>
                    <a:cubicBezTo>
                      <a:pt x="77153" y="0"/>
                      <a:pt x="90678" y="5239"/>
                      <a:pt x="102203" y="15716"/>
                    </a:cubicBezTo>
                    <a:cubicBezTo>
                      <a:pt x="113824" y="26194"/>
                      <a:pt x="119634" y="38481"/>
                      <a:pt x="119634" y="52388"/>
                    </a:cubicBezTo>
                    <a:lnTo>
                      <a:pt x="119634" y="62645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71" name="Forme libre : forme 70">
                <a:extLst>
                  <a:ext uri="{FF2B5EF4-FFF2-40B4-BE49-F238E27FC236}">
                    <a16:creationId xmlns:a16="http://schemas.microsoft.com/office/drawing/2014/main" id="{27F647EB-A6BF-260B-3E57-45C70F0AB005}"/>
                  </a:ext>
                </a:extLst>
              </p:cNvPr>
              <p:cNvSpPr/>
              <p:nvPr/>
            </p:nvSpPr>
            <p:spPr>
              <a:xfrm>
                <a:off x="7022764" y="3224547"/>
                <a:ext cx="68784" cy="390309"/>
              </a:xfrm>
              <a:custGeom>
                <a:avLst/>
                <a:gdLst>
                  <a:gd name="connsiteX0" fmla="*/ 119634 w 119633"/>
                  <a:gd name="connsiteY0" fmla="*/ 626459 h 678846"/>
                  <a:gd name="connsiteX1" fmla="*/ 102203 w 119633"/>
                  <a:gd name="connsiteY1" fmla="*/ 663130 h 678846"/>
                  <a:gd name="connsiteX2" fmla="*/ 59722 w 119633"/>
                  <a:gd name="connsiteY2" fmla="*/ 678847 h 678846"/>
                  <a:gd name="connsiteX3" fmla="*/ 16669 w 119633"/>
                  <a:gd name="connsiteY3" fmla="*/ 663130 h 678846"/>
                  <a:gd name="connsiteX4" fmla="*/ 0 w 119633"/>
                  <a:gd name="connsiteY4" fmla="*/ 626459 h 678846"/>
                  <a:gd name="connsiteX5" fmla="*/ 0 w 119633"/>
                  <a:gd name="connsiteY5" fmla="*/ 52388 h 678846"/>
                  <a:gd name="connsiteX6" fmla="*/ 16669 w 119633"/>
                  <a:gd name="connsiteY6" fmla="*/ 15716 h 678846"/>
                  <a:gd name="connsiteX7" fmla="*/ 59722 w 119633"/>
                  <a:gd name="connsiteY7" fmla="*/ 0 h 678846"/>
                  <a:gd name="connsiteX8" fmla="*/ 102203 w 119633"/>
                  <a:gd name="connsiteY8" fmla="*/ 15716 h 678846"/>
                  <a:gd name="connsiteX9" fmla="*/ 119634 w 119633"/>
                  <a:gd name="connsiteY9" fmla="*/ 52388 h 678846"/>
                  <a:gd name="connsiteX10" fmla="*/ 119634 w 119633"/>
                  <a:gd name="connsiteY10" fmla="*/ 626459 h 678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9633" h="678846">
                    <a:moveTo>
                      <a:pt x="119634" y="626459"/>
                    </a:moveTo>
                    <a:cubicBezTo>
                      <a:pt x="119634" y="640366"/>
                      <a:pt x="113824" y="652558"/>
                      <a:pt x="102203" y="663130"/>
                    </a:cubicBezTo>
                    <a:cubicBezTo>
                      <a:pt x="90678" y="673608"/>
                      <a:pt x="76486" y="678847"/>
                      <a:pt x="59722" y="678847"/>
                    </a:cubicBezTo>
                    <a:cubicBezTo>
                      <a:pt x="42958" y="678847"/>
                      <a:pt x="27908" y="673608"/>
                      <a:pt x="16669" y="663130"/>
                    </a:cubicBezTo>
                    <a:cubicBezTo>
                      <a:pt x="5524" y="652558"/>
                      <a:pt x="0" y="640271"/>
                      <a:pt x="0" y="626459"/>
                    </a:cubicBezTo>
                    <a:lnTo>
                      <a:pt x="0" y="52388"/>
                    </a:lnTo>
                    <a:cubicBezTo>
                      <a:pt x="0" y="38386"/>
                      <a:pt x="5524" y="26098"/>
                      <a:pt x="16669" y="15716"/>
                    </a:cubicBezTo>
                    <a:cubicBezTo>
                      <a:pt x="27908" y="5334"/>
                      <a:pt x="42291" y="0"/>
                      <a:pt x="59722" y="0"/>
                    </a:cubicBezTo>
                    <a:cubicBezTo>
                      <a:pt x="77153" y="0"/>
                      <a:pt x="90678" y="5239"/>
                      <a:pt x="102203" y="15716"/>
                    </a:cubicBezTo>
                    <a:cubicBezTo>
                      <a:pt x="113824" y="26194"/>
                      <a:pt x="119634" y="38481"/>
                      <a:pt x="119634" y="52388"/>
                    </a:cubicBezTo>
                    <a:lnTo>
                      <a:pt x="119634" y="62645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72" name="Forme libre : forme 71">
                <a:extLst>
                  <a:ext uri="{FF2B5EF4-FFF2-40B4-BE49-F238E27FC236}">
                    <a16:creationId xmlns:a16="http://schemas.microsoft.com/office/drawing/2014/main" id="{51EC9F8B-601C-E99C-A79A-D6C9F6C5766A}"/>
                  </a:ext>
                </a:extLst>
              </p:cNvPr>
              <p:cNvSpPr/>
              <p:nvPr/>
            </p:nvSpPr>
            <p:spPr>
              <a:xfrm>
                <a:off x="7130250" y="3301711"/>
                <a:ext cx="284684" cy="319005"/>
              </a:xfrm>
              <a:custGeom>
                <a:avLst/>
                <a:gdLst>
                  <a:gd name="connsiteX0" fmla="*/ 1935 w 495139"/>
                  <a:gd name="connsiteY0" fmla="*/ 419862 h 554831"/>
                  <a:gd name="connsiteX1" fmla="*/ 15461 w 495139"/>
                  <a:gd name="connsiteY1" fmla="*/ 372618 h 554831"/>
                  <a:gd name="connsiteX2" fmla="*/ 61657 w 495139"/>
                  <a:gd name="connsiteY2" fmla="*/ 354711 h 554831"/>
                  <a:gd name="connsiteX3" fmla="*/ 95185 w 495139"/>
                  <a:gd name="connsiteY3" fmla="*/ 365855 h 554831"/>
                  <a:gd name="connsiteX4" fmla="*/ 117188 w 495139"/>
                  <a:gd name="connsiteY4" fmla="*/ 398812 h 554831"/>
                  <a:gd name="connsiteX5" fmla="*/ 144620 w 495139"/>
                  <a:gd name="connsiteY5" fmla="*/ 429768 h 554831"/>
                  <a:gd name="connsiteX6" fmla="*/ 193483 w 495139"/>
                  <a:gd name="connsiteY6" fmla="*/ 447199 h 554831"/>
                  <a:gd name="connsiteX7" fmla="*/ 249680 w 495139"/>
                  <a:gd name="connsiteY7" fmla="*/ 452342 h 554831"/>
                  <a:gd name="connsiteX8" fmla="*/ 340739 w 495139"/>
                  <a:gd name="connsiteY8" fmla="*/ 431863 h 554831"/>
                  <a:gd name="connsiteX9" fmla="*/ 375505 w 495139"/>
                  <a:gd name="connsiteY9" fmla="*/ 379857 h 554831"/>
                  <a:gd name="connsiteX10" fmla="*/ 357027 w 495139"/>
                  <a:gd name="connsiteY10" fmla="*/ 347282 h 554831"/>
                  <a:gd name="connsiteX11" fmla="*/ 308830 w 495139"/>
                  <a:gd name="connsiteY11" fmla="*/ 332613 h 554831"/>
                  <a:gd name="connsiteX12" fmla="*/ 245489 w 495139"/>
                  <a:gd name="connsiteY12" fmla="*/ 326231 h 554831"/>
                  <a:gd name="connsiteX13" fmla="*/ 158812 w 495139"/>
                  <a:gd name="connsiteY13" fmla="*/ 315754 h 554831"/>
                  <a:gd name="connsiteX14" fmla="*/ 81659 w 495139"/>
                  <a:gd name="connsiteY14" fmla="*/ 294322 h 554831"/>
                  <a:gd name="connsiteX15" fmla="*/ 26129 w 495139"/>
                  <a:gd name="connsiteY15" fmla="*/ 249269 h 554831"/>
                  <a:gd name="connsiteX16" fmla="*/ 5269 w 495139"/>
                  <a:gd name="connsiteY16" fmla="*/ 167926 h 554831"/>
                  <a:gd name="connsiteX17" fmla="*/ 34606 w 495139"/>
                  <a:gd name="connsiteY17" fmla="*/ 79820 h 554831"/>
                  <a:gd name="connsiteX18" fmla="*/ 117378 w 495139"/>
                  <a:gd name="connsiteY18" fmla="*/ 21050 h 554831"/>
                  <a:gd name="connsiteX19" fmla="*/ 241203 w 495139"/>
                  <a:gd name="connsiteY19" fmla="*/ 0 h 554831"/>
                  <a:gd name="connsiteX20" fmla="*/ 329500 w 495139"/>
                  <a:gd name="connsiteY20" fmla="*/ 7906 h 554831"/>
                  <a:gd name="connsiteX21" fmla="*/ 417035 w 495139"/>
                  <a:gd name="connsiteY21" fmla="*/ 39815 h 554831"/>
                  <a:gd name="connsiteX22" fmla="*/ 476375 w 495139"/>
                  <a:gd name="connsiteY22" fmla="*/ 114205 h 554831"/>
                  <a:gd name="connsiteX23" fmla="*/ 475137 w 495139"/>
                  <a:gd name="connsiteY23" fmla="*/ 151543 h 554831"/>
                  <a:gd name="connsiteX24" fmla="*/ 450563 w 495139"/>
                  <a:gd name="connsiteY24" fmla="*/ 176117 h 554831"/>
                  <a:gd name="connsiteX25" fmla="*/ 417606 w 495139"/>
                  <a:gd name="connsiteY25" fmla="*/ 184499 h 554831"/>
                  <a:gd name="connsiteX26" fmla="*/ 386650 w 495139"/>
                  <a:gd name="connsiteY26" fmla="*/ 177165 h 554831"/>
                  <a:gd name="connsiteX27" fmla="*/ 366171 w 495139"/>
                  <a:gd name="connsiteY27" fmla="*/ 151924 h 554831"/>
                  <a:gd name="connsiteX28" fmla="*/ 333977 w 495139"/>
                  <a:gd name="connsiteY28" fmla="*/ 119348 h 554831"/>
                  <a:gd name="connsiteX29" fmla="*/ 285780 w 495139"/>
                  <a:gd name="connsiteY29" fmla="*/ 106204 h 554831"/>
                  <a:gd name="connsiteX30" fmla="*/ 241108 w 495139"/>
                  <a:gd name="connsiteY30" fmla="*/ 103632 h 554831"/>
                  <a:gd name="connsiteX31" fmla="*/ 156526 w 495139"/>
                  <a:gd name="connsiteY31" fmla="*/ 121539 h 554831"/>
                  <a:gd name="connsiteX32" fmla="*/ 124617 w 495139"/>
                  <a:gd name="connsiteY32" fmla="*/ 168783 h 554831"/>
                  <a:gd name="connsiteX33" fmla="*/ 141476 w 495139"/>
                  <a:gd name="connsiteY33" fmla="*/ 202883 h 554831"/>
                  <a:gd name="connsiteX34" fmla="*/ 187101 w 495139"/>
                  <a:gd name="connsiteY34" fmla="*/ 213360 h 554831"/>
                  <a:gd name="connsiteX35" fmla="*/ 251585 w 495139"/>
                  <a:gd name="connsiteY35" fmla="*/ 219075 h 554831"/>
                  <a:gd name="connsiteX36" fmla="*/ 338739 w 495139"/>
                  <a:gd name="connsiteY36" fmla="*/ 230600 h 554831"/>
                  <a:gd name="connsiteX37" fmla="*/ 417511 w 495139"/>
                  <a:gd name="connsiteY37" fmla="*/ 252222 h 554831"/>
                  <a:gd name="connsiteX38" fmla="*/ 474089 w 495139"/>
                  <a:gd name="connsiteY38" fmla="*/ 297275 h 554831"/>
                  <a:gd name="connsiteX39" fmla="*/ 495139 w 495139"/>
                  <a:gd name="connsiteY39" fmla="*/ 379667 h 554831"/>
                  <a:gd name="connsiteX40" fmla="*/ 464183 w 495139"/>
                  <a:gd name="connsiteY40" fmla="*/ 470916 h 554831"/>
                  <a:gd name="connsiteX41" fmla="*/ 378077 w 495139"/>
                  <a:gd name="connsiteY41" fmla="*/ 532829 h 554831"/>
                  <a:gd name="connsiteX42" fmla="*/ 249680 w 495139"/>
                  <a:gd name="connsiteY42" fmla="*/ 554831 h 554831"/>
                  <a:gd name="connsiteX43" fmla="*/ 178814 w 495139"/>
                  <a:gd name="connsiteY43" fmla="*/ 550069 h 554831"/>
                  <a:gd name="connsiteX44" fmla="*/ 104234 w 495139"/>
                  <a:gd name="connsiteY44" fmla="*/ 531209 h 554831"/>
                  <a:gd name="connsiteX45" fmla="*/ 40702 w 495139"/>
                  <a:gd name="connsiteY45" fmla="*/ 490347 h 554831"/>
                  <a:gd name="connsiteX46" fmla="*/ 2030 w 495139"/>
                  <a:gd name="connsiteY46" fmla="*/ 419481 h 554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95139" h="554831">
                    <a:moveTo>
                      <a:pt x="1935" y="419862"/>
                    </a:moveTo>
                    <a:cubicBezTo>
                      <a:pt x="-3018" y="400336"/>
                      <a:pt x="1554" y="384524"/>
                      <a:pt x="15461" y="372618"/>
                    </a:cubicBezTo>
                    <a:cubicBezTo>
                      <a:pt x="29462" y="360712"/>
                      <a:pt x="44893" y="354711"/>
                      <a:pt x="61657" y="354711"/>
                    </a:cubicBezTo>
                    <a:cubicBezTo>
                      <a:pt x="74230" y="354711"/>
                      <a:pt x="85374" y="358426"/>
                      <a:pt x="95185" y="365855"/>
                    </a:cubicBezTo>
                    <a:cubicBezTo>
                      <a:pt x="104996" y="373190"/>
                      <a:pt x="112330" y="384143"/>
                      <a:pt x="117188" y="398812"/>
                    </a:cubicBezTo>
                    <a:cubicBezTo>
                      <a:pt x="121379" y="411385"/>
                      <a:pt x="130522" y="421767"/>
                      <a:pt x="144620" y="429768"/>
                    </a:cubicBezTo>
                    <a:cubicBezTo>
                      <a:pt x="158621" y="437864"/>
                      <a:pt x="174909" y="443675"/>
                      <a:pt x="193483" y="447199"/>
                    </a:cubicBezTo>
                    <a:cubicBezTo>
                      <a:pt x="211961" y="450628"/>
                      <a:pt x="230726" y="452342"/>
                      <a:pt x="249680" y="452342"/>
                    </a:cubicBezTo>
                    <a:cubicBezTo>
                      <a:pt x="287399" y="452342"/>
                      <a:pt x="317784" y="445580"/>
                      <a:pt x="340739" y="431863"/>
                    </a:cubicBezTo>
                    <a:cubicBezTo>
                      <a:pt x="363885" y="418147"/>
                      <a:pt x="375505" y="400812"/>
                      <a:pt x="375505" y="379857"/>
                    </a:cubicBezTo>
                    <a:cubicBezTo>
                      <a:pt x="375505" y="365188"/>
                      <a:pt x="369314" y="354330"/>
                      <a:pt x="357027" y="347282"/>
                    </a:cubicBezTo>
                    <a:cubicBezTo>
                      <a:pt x="344835" y="340328"/>
                      <a:pt x="328738" y="335375"/>
                      <a:pt x="308830" y="332613"/>
                    </a:cubicBezTo>
                    <a:cubicBezTo>
                      <a:pt x="289019" y="329851"/>
                      <a:pt x="267873" y="327755"/>
                      <a:pt x="245489" y="326231"/>
                    </a:cubicBezTo>
                    <a:cubicBezTo>
                      <a:pt x="215962" y="323469"/>
                      <a:pt x="187006" y="319945"/>
                      <a:pt x="158812" y="315754"/>
                    </a:cubicBezTo>
                    <a:cubicBezTo>
                      <a:pt x="130522" y="311563"/>
                      <a:pt x="104710" y="304419"/>
                      <a:pt x="81659" y="294322"/>
                    </a:cubicBezTo>
                    <a:cubicBezTo>
                      <a:pt x="58609" y="284131"/>
                      <a:pt x="40130" y="269081"/>
                      <a:pt x="26129" y="249269"/>
                    </a:cubicBezTo>
                    <a:cubicBezTo>
                      <a:pt x="12222" y="229362"/>
                      <a:pt x="5269" y="202216"/>
                      <a:pt x="5269" y="167926"/>
                    </a:cubicBezTo>
                    <a:cubicBezTo>
                      <a:pt x="5269" y="133636"/>
                      <a:pt x="15079" y="104966"/>
                      <a:pt x="34606" y="79820"/>
                    </a:cubicBezTo>
                    <a:cubicBezTo>
                      <a:pt x="54132" y="54578"/>
                      <a:pt x="81755" y="34957"/>
                      <a:pt x="117378" y="21050"/>
                    </a:cubicBezTo>
                    <a:cubicBezTo>
                      <a:pt x="153097" y="7049"/>
                      <a:pt x="194340" y="0"/>
                      <a:pt x="241203" y="0"/>
                    </a:cubicBezTo>
                    <a:cubicBezTo>
                      <a:pt x="268635" y="0"/>
                      <a:pt x="297972" y="2667"/>
                      <a:pt x="329500" y="7906"/>
                    </a:cubicBezTo>
                    <a:cubicBezTo>
                      <a:pt x="360932" y="13049"/>
                      <a:pt x="390079" y="23717"/>
                      <a:pt x="417035" y="39815"/>
                    </a:cubicBezTo>
                    <a:cubicBezTo>
                      <a:pt x="443990" y="55817"/>
                      <a:pt x="463802" y="80677"/>
                      <a:pt x="476375" y="114205"/>
                    </a:cubicBezTo>
                    <a:cubicBezTo>
                      <a:pt x="481233" y="128207"/>
                      <a:pt x="480852" y="140684"/>
                      <a:pt x="475137" y="151543"/>
                    </a:cubicBezTo>
                    <a:cubicBezTo>
                      <a:pt x="469613" y="162401"/>
                      <a:pt x="461326" y="170593"/>
                      <a:pt x="450563" y="176117"/>
                    </a:cubicBezTo>
                    <a:cubicBezTo>
                      <a:pt x="439704" y="181642"/>
                      <a:pt x="428750" y="184499"/>
                      <a:pt x="417606" y="184499"/>
                    </a:cubicBezTo>
                    <a:cubicBezTo>
                      <a:pt x="405033" y="184499"/>
                      <a:pt x="394651" y="182023"/>
                      <a:pt x="386650" y="177165"/>
                    </a:cubicBezTo>
                    <a:cubicBezTo>
                      <a:pt x="378554" y="172307"/>
                      <a:pt x="371791" y="163830"/>
                      <a:pt x="366171" y="151924"/>
                    </a:cubicBezTo>
                    <a:cubicBezTo>
                      <a:pt x="359789" y="137255"/>
                      <a:pt x="349121" y="126397"/>
                      <a:pt x="333977" y="119348"/>
                    </a:cubicBezTo>
                    <a:cubicBezTo>
                      <a:pt x="319022" y="112395"/>
                      <a:pt x="302925" y="108013"/>
                      <a:pt x="285780" y="106204"/>
                    </a:cubicBezTo>
                    <a:cubicBezTo>
                      <a:pt x="268730" y="104489"/>
                      <a:pt x="253871" y="103632"/>
                      <a:pt x="241108" y="103632"/>
                    </a:cubicBezTo>
                    <a:cubicBezTo>
                      <a:pt x="206151" y="103632"/>
                      <a:pt x="177957" y="109633"/>
                      <a:pt x="156526" y="121539"/>
                    </a:cubicBezTo>
                    <a:cubicBezTo>
                      <a:pt x="135190" y="133445"/>
                      <a:pt x="124617" y="149257"/>
                      <a:pt x="124617" y="168783"/>
                    </a:cubicBezTo>
                    <a:cubicBezTo>
                      <a:pt x="124617" y="185642"/>
                      <a:pt x="130237" y="196977"/>
                      <a:pt x="141476" y="202883"/>
                    </a:cubicBezTo>
                    <a:cubicBezTo>
                      <a:pt x="152716" y="208883"/>
                      <a:pt x="167956" y="212312"/>
                      <a:pt x="187101" y="213360"/>
                    </a:cubicBezTo>
                    <a:cubicBezTo>
                      <a:pt x="206246" y="214408"/>
                      <a:pt x="227773" y="216313"/>
                      <a:pt x="251585" y="219075"/>
                    </a:cubicBezTo>
                    <a:cubicBezTo>
                      <a:pt x="280922" y="222504"/>
                      <a:pt x="309974" y="226409"/>
                      <a:pt x="338739" y="230600"/>
                    </a:cubicBezTo>
                    <a:cubicBezTo>
                      <a:pt x="367409" y="234887"/>
                      <a:pt x="393698" y="242030"/>
                      <a:pt x="417511" y="252222"/>
                    </a:cubicBezTo>
                    <a:cubicBezTo>
                      <a:pt x="441323" y="262319"/>
                      <a:pt x="460183" y="277368"/>
                      <a:pt x="474089" y="297275"/>
                    </a:cubicBezTo>
                    <a:cubicBezTo>
                      <a:pt x="488091" y="317087"/>
                      <a:pt x="495139" y="344615"/>
                      <a:pt x="495139" y="379667"/>
                    </a:cubicBezTo>
                    <a:cubicBezTo>
                      <a:pt x="495139" y="414719"/>
                      <a:pt x="484853" y="444341"/>
                      <a:pt x="464183" y="470916"/>
                    </a:cubicBezTo>
                    <a:cubicBezTo>
                      <a:pt x="443514" y="497491"/>
                      <a:pt x="414844" y="518160"/>
                      <a:pt x="378077" y="532829"/>
                    </a:cubicBezTo>
                    <a:cubicBezTo>
                      <a:pt x="341406" y="547497"/>
                      <a:pt x="298639" y="554831"/>
                      <a:pt x="249680" y="554831"/>
                    </a:cubicBezTo>
                    <a:cubicBezTo>
                      <a:pt x="227963" y="554831"/>
                      <a:pt x="204341" y="553212"/>
                      <a:pt x="178814" y="550069"/>
                    </a:cubicBezTo>
                    <a:cubicBezTo>
                      <a:pt x="153287" y="546926"/>
                      <a:pt x="128427" y="540639"/>
                      <a:pt x="104234" y="531209"/>
                    </a:cubicBezTo>
                    <a:cubicBezTo>
                      <a:pt x="80135" y="521875"/>
                      <a:pt x="58990" y="508159"/>
                      <a:pt x="40702" y="490347"/>
                    </a:cubicBezTo>
                    <a:cubicBezTo>
                      <a:pt x="22509" y="472440"/>
                      <a:pt x="9650" y="448913"/>
                      <a:pt x="2030" y="4194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73" name="Forme libre : forme 72">
                <a:extLst>
                  <a:ext uri="{FF2B5EF4-FFF2-40B4-BE49-F238E27FC236}">
                    <a16:creationId xmlns:a16="http://schemas.microsoft.com/office/drawing/2014/main" id="{4E958E4D-12C9-5681-53D4-6DFE080DF033}"/>
                  </a:ext>
                </a:extLst>
              </p:cNvPr>
              <p:cNvSpPr/>
              <p:nvPr/>
            </p:nvSpPr>
            <p:spPr>
              <a:xfrm>
                <a:off x="4777067" y="3262709"/>
                <a:ext cx="370858" cy="370745"/>
              </a:xfrm>
              <a:custGeom>
                <a:avLst/>
                <a:gdLst>
                  <a:gd name="connsiteX0" fmla="*/ 1927193 w 3012185"/>
                  <a:gd name="connsiteY0" fmla="*/ 3011281 h 3011281"/>
                  <a:gd name="connsiteX1" fmla="*/ 1159955 w 3012185"/>
                  <a:gd name="connsiteY1" fmla="*/ 2694003 h 3011281"/>
                  <a:gd name="connsiteX2" fmla="*/ 317754 w 3012185"/>
                  <a:gd name="connsiteY2" fmla="*/ 1851803 h 3011281"/>
                  <a:gd name="connsiteX3" fmla="*/ 0 w 3012185"/>
                  <a:gd name="connsiteY3" fmla="*/ 1084564 h 3011281"/>
                  <a:gd name="connsiteX4" fmla="*/ 317754 w 3012185"/>
                  <a:gd name="connsiteY4" fmla="*/ 317325 h 3011281"/>
                  <a:gd name="connsiteX5" fmla="*/ 1852232 w 3012185"/>
                  <a:gd name="connsiteY5" fmla="*/ 317325 h 3011281"/>
                  <a:gd name="connsiteX6" fmla="*/ 2694432 w 3012185"/>
                  <a:gd name="connsiteY6" fmla="*/ 1159526 h 3011281"/>
                  <a:gd name="connsiteX7" fmla="*/ 3012186 w 3012185"/>
                  <a:gd name="connsiteY7" fmla="*/ 1926765 h 3011281"/>
                  <a:gd name="connsiteX8" fmla="*/ 2694432 w 3012185"/>
                  <a:gd name="connsiteY8" fmla="*/ 2694003 h 3011281"/>
                  <a:gd name="connsiteX9" fmla="*/ 1927193 w 3012185"/>
                  <a:gd name="connsiteY9" fmla="*/ 3011281 h 3011281"/>
                  <a:gd name="connsiteX10" fmla="*/ 1084993 w 3012185"/>
                  <a:gd name="connsiteY10" fmla="*/ 480012 h 3011281"/>
                  <a:gd name="connsiteX11" fmla="*/ 657320 w 3012185"/>
                  <a:gd name="connsiteY11" fmla="*/ 656892 h 3011281"/>
                  <a:gd name="connsiteX12" fmla="*/ 480155 w 3012185"/>
                  <a:gd name="connsiteY12" fmla="*/ 1084564 h 3011281"/>
                  <a:gd name="connsiteX13" fmla="*/ 657320 w 3012185"/>
                  <a:gd name="connsiteY13" fmla="*/ 1512237 h 3011281"/>
                  <a:gd name="connsiteX14" fmla="*/ 1499521 w 3012185"/>
                  <a:gd name="connsiteY14" fmla="*/ 2354437 h 3011281"/>
                  <a:gd name="connsiteX15" fmla="*/ 2354961 w 3012185"/>
                  <a:gd name="connsiteY15" fmla="*/ 2354437 h 3011281"/>
                  <a:gd name="connsiteX16" fmla="*/ 2532126 w 3012185"/>
                  <a:gd name="connsiteY16" fmla="*/ 1926765 h 3011281"/>
                  <a:gd name="connsiteX17" fmla="*/ 2354961 w 3012185"/>
                  <a:gd name="connsiteY17" fmla="*/ 1499092 h 3011281"/>
                  <a:gd name="connsiteX18" fmla="*/ 1512761 w 3012185"/>
                  <a:gd name="connsiteY18" fmla="*/ 656892 h 3011281"/>
                  <a:gd name="connsiteX19" fmla="*/ 1084993 w 3012185"/>
                  <a:gd name="connsiteY19" fmla="*/ 480012 h 3011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012185" h="3011281">
                    <a:moveTo>
                      <a:pt x="1927193" y="3011281"/>
                    </a:moveTo>
                    <a:cubicBezTo>
                      <a:pt x="1649349" y="3011281"/>
                      <a:pt x="1371505" y="2905554"/>
                      <a:pt x="1159955" y="2694003"/>
                    </a:cubicBezTo>
                    <a:lnTo>
                      <a:pt x="317754" y="1851803"/>
                    </a:lnTo>
                    <a:cubicBezTo>
                      <a:pt x="112871" y="1646825"/>
                      <a:pt x="0" y="1374410"/>
                      <a:pt x="0" y="1084564"/>
                    </a:cubicBezTo>
                    <a:cubicBezTo>
                      <a:pt x="0" y="794718"/>
                      <a:pt x="112871" y="522303"/>
                      <a:pt x="317754" y="317325"/>
                    </a:cubicBezTo>
                    <a:cubicBezTo>
                      <a:pt x="740855" y="-105775"/>
                      <a:pt x="1429131" y="-105775"/>
                      <a:pt x="1852232" y="317325"/>
                    </a:cubicBezTo>
                    <a:lnTo>
                      <a:pt x="2694432" y="1159526"/>
                    </a:lnTo>
                    <a:cubicBezTo>
                      <a:pt x="2899410" y="1364504"/>
                      <a:pt x="3012186" y="1636919"/>
                      <a:pt x="3012186" y="1926765"/>
                    </a:cubicBezTo>
                    <a:cubicBezTo>
                      <a:pt x="3012186" y="2216611"/>
                      <a:pt x="2899315" y="2489025"/>
                      <a:pt x="2694432" y="2694003"/>
                    </a:cubicBezTo>
                    <a:cubicBezTo>
                      <a:pt x="2489549" y="2898982"/>
                      <a:pt x="2205038" y="3011281"/>
                      <a:pt x="1927193" y="3011281"/>
                    </a:cubicBezTo>
                    <a:close/>
                    <a:moveTo>
                      <a:pt x="1084993" y="480012"/>
                    </a:moveTo>
                    <a:cubicBezTo>
                      <a:pt x="930116" y="480012"/>
                      <a:pt x="775240" y="538972"/>
                      <a:pt x="657320" y="656892"/>
                    </a:cubicBezTo>
                    <a:cubicBezTo>
                      <a:pt x="543116" y="771096"/>
                      <a:pt x="480155" y="923020"/>
                      <a:pt x="480155" y="1084564"/>
                    </a:cubicBezTo>
                    <a:cubicBezTo>
                      <a:pt x="480155" y="1246108"/>
                      <a:pt x="543020" y="1398032"/>
                      <a:pt x="657320" y="1512237"/>
                    </a:cubicBezTo>
                    <a:lnTo>
                      <a:pt x="1499521" y="2354437"/>
                    </a:lnTo>
                    <a:cubicBezTo>
                      <a:pt x="1735360" y="2590276"/>
                      <a:pt x="2119122" y="2590276"/>
                      <a:pt x="2354961" y="2354437"/>
                    </a:cubicBezTo>
                    <a:cubicBezTo>
                      <a:pt x="2469166" y="2240233"/>
                      <a:pt x="2532126" y="2088309"/>
                      <a:pt x="2532126" y="1926765"/>
                    </a:cubicBezTo>
                    <a:cubicBezTo>
                      <a:pt x="2532126" y="1765221"/>
                      <a:pt x="2469261" y="1613297"/>
                      <a:pt x="2354961" y="1499092"/>
                    </a:cubicBezTo>
                    <a:lnTo>
                      <a:pt x="1512761" y="656892"/>
                    </a:lnTo>
                    <a:cubicBezTo>
                      <a:pt x="1394841" y="538972"/>
                      <a:pt x="1239964" y="480012"/>
                      <a:pt x="1084993" y="4800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74" name="Forme libre : forme 73">
                <a:extLst>
                  <a:ext uri="{FF2B5EF4-FFF2-40B4-BE49-F238E27FC236}">
                    <a16:creationId xmlns:a16="http://schemas.microsoft.com/office/drawing/2014/main" id="{06BA6DF8-EFC2-A418-D625-EF5A585E74D1}"/>
                  </a:ext>
                </a:extLst>
              </p:cNvPr>
              <p:cNvSpPr/>
              <p:nvPr/>
            </p:nvSpPr>
            <p:spPr>
              <a:xfrm>
                <a:off x="4881485" y="3262709"/>
                <a:ext cx="370846" cy="370745"/>
              </a:xfrm>
              <a:custGeom>
                <a:avLst/>
                <a:gdLst>
                  <a:gd name="connsiteX0" fmla="*/ 1084993 w 3012090"/>
                  <a:gd name="connsiteY0" fmla="*/ 3011281 h 3011281"/>
                  <a:gd name="connsiteX1" fmla="*/ 317754 w 3012090"/>
                  <a:gd name="connsiteY1" fmla="*/ 2694003 h 3011281"/>
                  <a:gd name="connsiteX2" fmla="*/ 0 w 3012090"/>
                  <a:gd name="connsiteY2" fmla="*/ 1926765 h 3011281"/>
                  <a:gd name="connsiteX3" fmla="*/ 317754 w 3012090"/>
                  <a:gd name="connsiteY3" fmla="*/ 1159526 h 3011281"/>
                  <a:gd name="connsiteX4" fmla="*/ 1159955 w 3012090"/>
                  <a:gd name="connsiteY4" fmla="*/ 317325 h 3011281"/>
                  <a:gd name="connsiteX5" fmla="*/ 2694337 w 3012090"/>
                  <a:gd name="connsiteY5" fmla="*/ 317325 h 3011281"/>
                  <a:gd name="connsiteX6" fmla="*/ 3012091 w 3012090"/>
                  <a:gd name="connsiteY6" fmla="*/ 1084564 h 3011281"/>
                  <a:gd name="connsiteX7" fmla="*/ 2694337 w 3012090"/>
                  <a:gd name="connsiteY7" fmla="*/ 1851803 h 3011281"/>
                  <a:gd name="connsiteX8" fmla="*/ 1852136 w 3012090"/>
                  <a:gd name="connsiteY8" fmla="*/ 2694003 h 3011281"/>
                  <a:gd name="connsiteX9" fmla="*/ 1084898 w 3012090"/>
                  <a:gd name="connsiteY9" fmla="*/ 3011281 h 3011281"/>
                  <a:gd name="connsiteX10" fmla="*/ 1927098 w 3012090"/>
                  <a:gd name="connsiteY10" fmla="*/ 480012 h 3011281"/>
                  <a:gd name="connsiteX11" fmla="*/ 1499426 w 3012090"/>
                  <a:gd name="connsiteY11" fmla="*/ 656892 h 3011281"/>
                  <a:gd name="connsiteX12" fmla="*/ 657225 w 3012090"/>
                  <a:gd name="connsiteY12" fmla="*/ 1499092 h 3011281"/>
                  <a:gd name="connsiteX13" fmla="*/ 480060 w 3012090"/>
                  <a:gd name="connsiteY13" fmla="*/ 1926765 h 3011281"/>
                  <a:gd name="connsiteX14" fmla="*/ 657225 w 3012090"/>
                  <a:gd name="connsiteY14" fmla="*/ 2354437 h 3011281"/>
                  <a:gd name="connsiteX15" fmla="*/ 1512570 w 3012090"/>
                  <a:gd name="connsiteY15" fmla="*/ 2354437 h 3011281"/>
                  <a:gd name="connsiteX16" fmla="*/ 2354771 w 3012090"/>
                  <a:gd name="connsiteY16" fmla="*/ 1512237 h 3011281"/>
                  <a:gd name="connsiteX17" fmla="*/ 2531935 w 3012090"/>
                  <a:gd name="connsiteY17" fmla="*/ 1084564 h 3011281"/>
                  <a:gd name="connsiteX18" fmla="*/ 2354771 w 3012090"/>
                  <a:gd name="connsiteY18" fmla="*/ 656892 h 3011281"/>
                  <a:gd name="connsiteX19" fmla="*/ 1927098 w 3012090"/>
                  <a:gd name="connsiteY19" fmla="*/ 480012 h 3011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012090" h="3011281">
                    <a:moveTo>
                      <a:pt x="1084993" y="3011281"/>
                    </a:moveTo>
                    <a:cubicBezTo>
                      <a:pt x="807149" y="3011281"/>
                      <a:pt x="529304" y="2905554"/>
                      <a:pt x="317754" y="2694003"/>
                    </a:cubicBezTo>
                    <a:cubicBezTo>
                      <a:pt x="106204" y="2482453"/>
                      <a:pt x="0" y="2216611"/>
                      <a:pt x="0" y="1926765"/>
                    </a:cubicBezTo>
                    <a:cubicBezTo>
                      <a:pt x="0" y="1636919"/>
                      <a:pt x="112871" y="1364504"/>
                      <a:pt x="317754" y="1159526"/>
                    </a:cubicBezTo>
                    <a:lnTo>
                      <a:pt x="1159955" y="317325"/>
                    </a:lnTo>
                    <a:cubicBezTo>
                      <a:pt x="1582960" y="-105775"/>
                      <a:pt x="2271332" y="-105775"/>
                      <a:pt x="2694337" y="317325"/>
                    </a:cubicBezTo>
                    <a:cubicBezTo>
                      <a:pt x="2899315" y="522303"/>
                      <a:pt x="3012091" y="794718"/>
                      <a:pt x="3012091" y="1084564"/>
                    </a:cubicBezTo>
                    <a:cubicBezTo>
                      <a:pt x="3012091" y="1374410"/>
                      <a:pt x="2899220" y="1646825"/>
                      <a:pt x="2694337" y="1851803"/>
                    </a:cubicBezTo>
                    <a:lnTo>
                      <a:pt x="1852136" y="2694003"/>
                    </a:lnTo>
                    <a:cubicBezTo>
                      <a:pt x="1640586" y="2905554"/>
                      <a:pt x="1362742" y="3011281"/>
                      <a:pt x="1084898" y="3011281"/>
                    </a:cubicBezTo>
                    <a:close/>
                    <a:moveTo>
                      <a:pt x="1927098" y="480012"/>
                    </a:moveTo>
                    <a:cubicBezTo>
                      <a:pt x="1772222" y="480012"/>
                      <a:pt x="1617345" y="538972"/>
                      <a:pt x="1499426" y="656892"/>
                    </a:cubicBezTo>
                    <a:lnTo>
                      <a:pt x="657225" y="1499092"/>
                    </a:lnTo>
                    <a:cubicBezTo>
                      <a:pt x="543020" y="1613297"/>
                      <a:pt x="480060" y="1765221"/>
                      <a:pt x="480060" y="1926765"/>
                    </a:cubicBezTo>
                    <a:cubicBezTo>
                      <a:pt x="480060" y="2088309"/>
                      <a:pt x="542925" y="2240233"/>
                      <a:pt x="657225" y="2354437"/>
                    </a:cubicBezTo>
                    <a:cubicBezTo>
                      <a:pt x="893064" y="2590276"/>
                      <a:pt x="1276731" y="2590276"/>
                      <a:pt x="1512570" y="2354437"/>
                    </a:cubicBezTo>
                    <a:lnTo>
                      <a:pt x="2354771" y="1512237"/>
                    </a:lnTo>
                    <a:cubicBezTo>
                      <a:pt x="2468975" y="1398032"/>
                      <a:pt x="2531935" y="1246108"/>
                      <a:pt x="2531935" y="1084564"/>
                    </a:cubicBezTo>
                    <a:cubicBezTo>
                      <a:pt x="2531935" y="923020"/>
                      <a:pt x="2469071" y="771096"/>
                      <a:pt x="2354771" y="656892"/>
                    </a:cubicBezTo>
                    <a:cubicBezTo>
                      <a:pt x="2236851" y="538972"/>
                      <a:pt x="2081975" y="480012"/>
                      <a:pt x="1927098" y="4800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  <p:sp>
        <p:nvSpPr>
          <p:cNvPr id="79" name="Rectangle 78">
            <a:extLst>
              <a:ext uri="{FF2B5EF4-FFF2-40B4-BE49-F238E27FC236}">
                <a16:creationId xmlns:a16="http://schemas.microsoft.com/office/drawing/2014/main" id="{81A7E78B-4E18-98F2-AF35-D27CCA82B37B}"/>
              </a:ext>
            </a:extLst>
          </p:cNvPr>
          <p:cNvSpPr/>
          <p:nvPr/>
        </p:nvSpPr>
        <p:spPr>
          <a:xfrm>
            <a:off x="0" y="4470400"/>
            <a:ext cx="12192000" cy="2387600"/>
          </a:xfrm>
          <a:prstGeom prst="rect">
            <a:avLst/>
          </a:prstGeom>
          <a:solidFill>
            <a:srgbClr val="9097B3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038964A0-9C9D-40AF-F38C-8ABB8F535B47}"/>
              </a:ext>
            </a:extLst>
          </p:cNvPr>
          <p:cNvGrpSpPr/>
          <p:nvPr/>
        </p:nvGrpSpPr>
        <p:grpSpPr>
          <a:xfrm>
            <a:off x="572667" y="487521"/>
            <a:ext cx="364153" cy="284070"/>
            <a:chOff x="1148496" y="1062130"/>
            <a:chExt cx="364153" cy="284070"/>
          </a:xfrm>
        </p:grpSpPr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986256FE-1AB0-8A3A-57AA-AC6A07ECCA2F}"/>
                </a:ext>
              </a:extLst>
            </p:cNvPr>
            <p:cNvSpPr/>
            <p:nvPr/>
          </p:nvSpPr>
          <p:spPr>
            <a:xfrm>
              <a:off x="1148496" y="1062130"/>
              <a:ext cx="284156" cy="284070"/>
            </a:xfrm>
            <a:custGeom>
              <a:avLst/>
              <a:gdLst>
                <a:gd name="connsiteX0" fmla="*/ 1927193 w 3012185"/>
                <a:gd name="connsiteY0" fmla="*/ 3011281 h 3011281"/>
                <a:gd name="connsiteX1" fmla="*/ 1159955 w 3012185"/>
                <a:gd name="connsiteY1" fmla="*/ 2694003 h 3011281"/>
                <a:gd name="connsiteX2" fmla="*/ 317754 w 3012185"/>
                <a:gd name="connsiteY2" fmla="*/ 1851803 h 3011281"/>
                <a:gd name="connsiteX3" fmla="*/ 0 w 3012185"/>
                <a:gd name="connsiteY3" fmla="*/ 1084564 h 3011281"/>
                <a:gd name="connsiteX4" fmla="*/ 317754 w 3012185"/>
                <a:gd name="connsiteY4" fmla="*/ 317325 h 3011281"/>
                <a:gd name="connsiteX5" fmla="*/ 1852232 w 3012185"/>
                <a:gd name="connsiteY5" fmla="*/ 317325 h 3011281"/>
                <a:gd name="connsiteX6" fmla="*/ 2694432 w 3012185"/>
                <a:gd name="connsiteY6" fmla="*/ 1159526 h 3011281"/>
                <a:gd name="connsiteX7" fmla="*/ 3012186 w 3012185"/>
                <a:gd name="connsiteY7" fmla="*/ 1926765 h 3011281"/>
                <a:gd name="connsiteX8" fmla="*/ 2694432 w 3012185"/>
                <a:gd name="connsiteY8" fmla="*/ 2694003 h 3011281"/>
                <a:gd name="connsiteX9" fmla="*/ 1927193 w 3012185"/>
                <a:gd name="connsiteY9" fmla="*/ 3011281 h 3011281"/>
                <a:gd name="connsiteX10" fmla="*/ 1084993 w 3012185"/>
                <a:gd name="connsiteY10" fmla="*/ 480012 h 3011281"/>
                <a:gd name="connsiteX11" fmla="*/ 657320 w 3012185"/>
                <a:gd name="connsiteY11" fmla="*/ 656892 h 3011281"/>
                <a:gd name="connsiteX12" fmla="*/ 480155 w 3012185"/>
                <a:gd name="connsiteY12" fmla="*/ 1084564 h 3011281"/>
                <a:gd name="connsiteX13" fmla="*/ 657320 w 3012185"/>
                <a:gd name="connsiteY13" fmla="*/ 1512237 h 3011281"/>
                <a:gd name="connsiteX14" fmla="*/ 1499521 w 3012185"/>
                <a:gd name="connsiteY14" fmla="*/ 2354437 h 3011281"/>
                <a:gd name="connsiteX15" fmla="*/ 2354961 w 3012185"/>
                <a:gd name="connsiteY15" fmla="*/ 2354437 h 3011281"/>
                <a:gd name="connsiteX16" fmla="*/ 2532126 w 3012185"/>
                <a:gd name="connsiteY16" fmla="*/ 1926765 h 3011281"/>
                <a:gd name="connsiteX17" fmla="*/ 2354961 w 3012185"/>
                <a:gd name="connsiteY17" fmla="*/ 1499092 h 3011281"/>
                <a:gd name="connsiteX18" fmla="*/ 1512761 w 3012185"/>
                <a:gd name="connsiteY18" fmla="*/ 656892 h 3011281"/>
                <a:gd name="connsiteX19" fmla="*/ 1084993 w 3012185"/>
                <a:gd name="connsiteY19" fmla="*/ 480012 h 301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12185" h="3011281">
                  <a:moveTo>
                    <a:pt x="1927193" y="3011281"/>
                  </a:moveTo>
                  <a:cubicBezTo>
                    <a:pt x="1649349" y="3011281"/>
                    <a:pt x="1371505" y="2905554"/>
                    <a:pt x="1159955" y="2694003"/>
                  </a:cubicBezTo>
                  <a:lnTo>
                    <a:pt x="317754" y="1851803"/>
                  </a:lnTo>
                  <a:cubicBezTo>
                    <a:pt x="112871" y="1646825"/>
                    <a:pt x="0" y="1374410"/>
                    <a:pt x="0" y="1084564"/>
                  </a:cubicBezTo>
                  <a:cubicBezTo>
                    <a:pt x="0" y="794718"/>
                    <a:pt x="112871" y="522303"/>
                    <a:pt x="317754" y="317325"/>
                  </a:cubicBezTo>
                  <a:cubicBezTo>
                    <a:pt x="740855" y="-105775"/>
                    <a:pt x="1429131" y="-105775"/>
                    <a:pt x="1852232" y="317325"/>
                  </a:cubicBezTo>
                  <a:lnTo>
                    <a:pt x="2694432" y="1159526"/>
                  </a:lnTo>
                  <a:cubicBezTo>
                    <a:pt x="2899410" y="1364504"/>
                    <a:pt x="3012186" y="1636919"/>
                    <a:pt x="3012186" y="1926765"/>
                  </a:cubicBezTo>
                  <a:cubicBezTo>
                    <a:pt x="3012186" y="2216611"/>
                    <a:pt x="2899315" y="2489025"/>
                    <a:pt x="2694432" y="2694003"/>
                  </a:cubicBezTo>
                  <a:cubicBezTo>
                    <a:pt x="2489549" y="2898982"/>
                    <a:pt x="2205038" y="3011281"/>
                    <a:pt x="1927193" y="3011281"/>
                  </a:cubicBezTo>
                  <a:close/>
                  <a:moveTo>
                    <a:pt x="1084993" y="480012"/>
                  </a:moveTo>
                  <a:cubicBezTo>
                    <a:pt x="930116" y="480012"/>
                    <a:pt x="775240" y="538972"/>
                    <a:pt x="657320" y="656892"/>
                  </a:cubicBezTo>
                  <a:cubicBezTo>
                    <a:pt x="543116" y="771096"/>
                    <a:pt x="480155" y="923020"/>
                    <a:pt x="480155" y="1084564"/>
                  </a:cubicBezTo>
                  <a:cubicBezTo>
                    <a:pt x="480155" y="1246108"/>
                    <a:pt x="543020" y="1398032"/>
                    <a:pt x="657320" y="1512237"/>
                  </a:cubicBezTo>
                  <a:lnTo>
                    <a:pt x="1499521" y="2354437"/>
                  </a:lnTo>
                  <a:cubicBezTo>
                    <a:pt x="1735360" y="2590276"/>
                    <a:pt x="2119122" y="2590276"/>
                    <a:pt x="2354961" y="2354437"/>
                  </a:cubicBezTo>
                  <a:cubicBezTo>
                    <a:pt x="2469166" y="2240233"/>
                    <a:pt x="2532126" y="2088309"/>
                    <a:pt x="2532126" y="1926765"/>
                  </a:cubicBezTo>
                  <a:cubicBezTo>
                    <a:pt x="2532126" y="1765221"/>
                    <a:pt x="2469261" y="1613297"/>
                    <a:pt x="2354961" y="1499092"/>
                  </a:cubicBezTo>
                  <a:lnTo>
                    <a:pt x="1512761" y="656892"/>
                  </a:lnTo>
                  <a:cubicBezTo>
                    <a:pt x="1394841" y="538972"/>
                    <a:pt x="1239964" y="480012"/>
                    <a:pt x="1084993" y="480012"/>
                  </a:cubicBezTo>
                  <a:close/>
                </a:path>
              </a:pathLst>
            </a:custGeom>
            <a:solidFill>
              <a:srgbClr val="9097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04603A64-7F5E-0C95-BBFF-7EFDAB8337E2}"/>
                </a:ext>
              </a:extLst>
            </p:cNvPr>
            <p:cNvSpPr/>
            <p:nvPr/>
          </p:nvSpPr>
          <p:spPr>
            <a:xfrm>
              <a:off x="1228502" y="1062130"/>
              <a:ext cx="284147" cy="284070"/>
            </a:xfrm>
            <a:custGeom>
              <a:avLst/>
              <a:gdLst>
                <a:gd name="connsiteX0" fmla="*/ 1084993 w 3012090"/>
                <a:gd name="connsiteY0" fmla="*/ 3011281 h 3011281"/>
                <a:gd name="connsiteX1" fmla="*/ 317754 w 3012090"/>
                <a:gd name="connsiteY1" fmla="*/ 2694003 h 3011281"/>
                <a:gd name="connsiteX2" fmla="*/ 0 w 3012090"/>
                <a:gd name="connsiteY2" fmla="*/ 1926765 h 3011281"/>
                <a:gd name="connsiteX3" fmla="*/ 317754 w 3012090"/>
                <a:gd name="connsiteY3" fmla="*/ 1159526 h 3011281"/>
                <a:gd name="connsiteX4" fmla="*/ 1159955 w 3012090"/>
                <a:gd name="connsiteY4" fmla="*/ 317325 h 3011281"/>
                <a:gd name="connsiteX5" fmla="*/ 2694337 w 3012090"/>
                <a:gd name="connsiteY5" fmla="*/ 317325 h 3011281"/>
                <a:gd name="connsiteX6" fmla="*/ 3012091 w 3012090"/>
                <a:gd name="connsiteY6" fmla="*/ 1084564 h 3011281"/>
                <a:gd name="connsiteX7" fmla="*/ 2694337 w 3012090"/>
                <a:gd name="connsiteY7" fmla="*/ 1851803 h 3011281"/>
                <a:gd name="connsiteX8" fmla="*/ 1852136 w 3012090"/>
                <a:gd name="connsiteY8" fmla="*/ 2694003 h 3011281"/>
                <a:gd name="connsiteX9" fmla="*/ 1084898 w 3012090"/>
                <a:gd name="connsiteY9" fmla="*/ 3011281 h 3011281"/>
                <a:gd name="connsiteX10" fmla="*/ 1927098 w 3012090"/>
                <a:gd name="connsiteY10" fmla="*/ 480012 h 3011281"/>
                <a:gd name="connsiteX11" fmla="*/ 1499426 w 3012090"/>
                <a:gd name="connsiteY11" fmla="*/ 656892 h 3011281"/>
                <a:gd name="connsiteX12" fmla="*/ 657225 w 3012090"/>
                <a:gd name="connsiteY12" fmla="*/ 1499092 h 3011281"/>
                <a:gd name="connsiteX13" fmla="*/ 480060 w 3012090"/>
                <a:gd name="connsiteY13" fmla="*/ 1926765 h 3011281"/>
                <a:gd name="connsiteX14" fmla="*/ 657225 w 3012090"/>
                <a:gd name="connsiteY14" fmla="*/ 2354437 h 3011281"/>
                <a:gd name="connsiteX15" fmla="*/ 1512570 w 3012090"/>
                <a:gd name="connsiteY15" fmla="*/ 2354437 h 3011281"/>
                <a:gd name="connsiteX16" fmla="*/ 2354771 w 3012090"/>
                <a:gd name="connsiteY16" fmla="*/ 1512237 h 3011281"/>
                <a:gd name="connsiteX17" fmla="*/ 2531935 w 3012090"/>
                <a:gd name="connsiteY17" fmla="*/ 1084564 h 3011281"/>
                <a:gd name="connsiteX18" fmla="*/ 2354771 w 3012090"/>
                <a:gd name="connsiteY18" fmla="*/ 656892 h 3011281"/>
                <a:gd name="connsiteX19" fmla="*/ 1927098 w 3012090"/>
                <a:gd name="connsiteY19" fmla="*/ 480012 h 301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12090" h="3011281">
                  <a:moveTo>
                    <a:pt x="1084993" y="3011281"/>
                  </a:moveTo>
                  <a:cubicBezTo>
                    <a:pt x="807149" y="3011281"/>
                    <a:pt x="529304" y="2905554"/>
                    <a:pt x="317754" y="2694003"/>
                  </a:cubicBezTo>
                  <a:cubicBezTo>
                    <a:pt x="106204" y="2482453"/>
                    <a:pt x="0" y="2216611"/>
                    <a:pt x="0" y="1926765"/>
                  </a:cubicBezTo>
                  <a:cubicBezTo>
                    <a:pt x="0" y="1636919"/>
                    <a:pt x="112871" y="1364504"/>
                    <a:pt x="317754" y="1159526"/>
                  </a:cubicBezTo>
                  <a:lnTo>
                    <a:pt x="1159955" y="317325"/>
                  </a:lnTo>
                  <a:cubicBezTo>
                    <a:pt x="1582960" y="-105775"/>
                    <a:pt x="2271332" y="-105775"/>
                    <a:pt x="2694337" y="317325"/>
                  </a:cubicBezTo>
                  <a:cubicBezTo>
                    <a:pt x="2899315" y="522303"/>
                    <a:pt x="3012091" y="794718"/>
                    <a:pt x="3012091" y="1084564"/>
                  </a:cubicBezTo>
                  <a:cubicBezTo>
                    <a:pt x="3012091" y="1374410"/>
                    <a:pt x="2899220" y="1646825"/>
                    <a:pt x="2694337" y="1851803"/>
                  </a:cubicBezTo>
                  <a:lnTo>
                    <a:pt x="1852136" y="2694003"/>
                  </a:lnTo>
                  <a:cubicBezTo>
                    <a:pt x="1640586" y="2905554"/>
                    <a:pt x="1362742" y="3011281"/>
                    <a:pt x="1084898" y="3011281"/>
                  </a:cubicBezTo>
                  <a:close/>
                  <a:moveTo>
                    <a:pt x="1927098" y="480012"/>
                  </a:moveTo>
                  <a:cubicBezTo>
                    <a:pt x="1772222" y="480012"/>
                    <a:pt x="1617345" y="538972"/>
                    <a:pt x="1499426" y="656892"/>
                  </a:cubicBezTo>
                  <a:lnTo>
                    <a:pt x="657225" y="1499092"/>
                  </a:lnTo>
                  <a:cubicBezTo>
                    <a:pt x="543020" y="1613297"/>
                    <a:pt x="480060" y="1765221"/>
                    <a:pt x="480060" y="1926765"/>
                  </a:cubicBezTo>
                  <a:cubicBezTo>
                    <a:pt x="480060" y="2088309"/>
                    <a:pt x="542925" y="2240233"/>
                    <a:pt x="657225" y="2354437"/>
                  </a:cubicBezTo>
                  <a:cubicBezTo>
                    <a:pt x="893064" y="2590276"/>
                    <a:pt x="1276731" y="2590276"/>
                    <a:pt x="1512570" y="2354437"/>
                  </a:cubicBezTo>
                  <a:lnTo>
                    <a:pt x="2354771" y="1512237"/>
                  </a:lnTo>
                  <a:cubicBezTo>
                    <a:pt x="2468975" y="1398032"/>
                    <a:pt x="2531935" y="1246108"/>
                    <a:pt x="2531935" y="1084564"/>
                  </a:cubicBezTo>
                  <a:cubicBezTo>
                    <a:pt x="2531935" y="923020"/>
                    <a:pt x="2469071" y="771096"/>
                    <a:pt x="2354771" y="656892"/>
                  </a:cubicBezTo>
                  <a:cubicBezTo>
                    <a:pt x="2236851" y="538972"/>
                    <a:pt x="2081975" y="480012"/>
                    <a:pt x="1927098" y="480012"/>
                  </a:cubicBezTo>
                  <a:close/>
                </a:path>
              </a:pathLst>
            </a:custGeom>
            <a:solidFill>
              <a:srgbClr val="4E966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475EC984-F67B-1E25-ECD4-6F098B3C8BDA}"/>
              </a:ext>
            </a:extLst>
          </p:cNvPr>
          <p:cNvGrpSpPr/>
          <p:nvPr/>
        </p:nvGrpSpPr>
        <p:grpSpPr>
          <a:xfrm>
            <a:off x="1253744" y="449942"/>
            <a:ext cx="10444847" cy="359228"/>
            <a:chOff x="1253744" y="406400"/>
            <a:chExt cx="10444847" cy="359228"/>
          </a:xfrm>
        </p:grpSpPr>
        <p:sp>
          <p:nvSpPr>
            <p:cNvPr id="14" name="Rectangle : coins arrondis 13">
              <a:extLst>
                <a:ext uri="{FF2B5EF4-FFF2-40B4-BE49-F238E27FC236}">
                  <a16:creationId xmlns:a16="http://schemas.microsoft.com/office/drawing/2014/main" id="{6C92C8FC-AA45-09AE-FF36-9C2D627B7C8C}"/>
                </a:ext>
              </a:extLst>
            </p:cNvPr>
            <p:cNvSpPr/>
            <p:nvPr/>
          </p:nvSpPr>
          <p:spPr>
            <a:xfrm>
              <a:off x="1253744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rgbClr val="C4C7D6"/>
                  </a:solidFill>
                </a:rPr>
                <a:t>Enjeu</a:t>
              </a:r>
            </a:p>
          </p:txBody>
        </p:sp>
        <p:sp>
          <p:nvSpPr>
            <p:cNvPr id="15" name="Rectangle : coins arrondis 14">
              <a:extLst>
                <a:ext uri="{FF2B5EF4-FFF2-40B4-BE49-F238E27FC236}">
                  <a16:creationId xmlns:a16="http://schemas.microsoft.com/office/drawing/2014/main" id="{303BDF06-9D46-4DB0-4A08-08865F602819}"/>
                </a:ext>
              </a:extLst>
            </p:cNvPr>
            <p:cNvSpPr/>
            <p:nvPr/>
          </p:nvSpPr>
          <p:spPr>
            <a:xfrm>
              <a:off x="3047725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rgbClr val="C4C7D6"/>
                  </a:solidFill>
                </a:rPr>
                <a:t>Mission</a:t>
              </a:r>
            </a:p>
          </p:txBody>
        </p:sp>
        <p:sp>
          <p:nvSpPr>
            <p:cNvPr id="16" name="Rectangle : coins arrondis 15">
              <a:extLst>
                <a:ext uri="{FF2B5EF4-FFF2-40B4-BE49-F238E27FC236}">
                  <a16:creationId xmlns:a16="http://schemas.microsoft.com/office/drawing/2014/main" id="{06992E18-5AA0-F141-3060-85E39F81BD6A}"/>
                </a:ext>
              </a:extLst>
            </p:cNvPr>
            <p:cNvSpPr/>
            <p:nvPr/>
          </p:nvSpPr>
          <p:spPr>
            <a:xfrm>
              <a:off x="6635687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rgbClr val="C4C7D6"/>
                  </a:solidFill>
                </a:rPr>
                <a:t>Fonctionnement</a:t>
              </a:r>
            </a:p>
          </p:txBody>
        </p:sp>
        <p:sp>
          <p:nvSpPr>
            <p:cNvPr id="17" name="Rectangle : coins arrondis 16">
              <a:extLst>
                <a:ext uri="{FF2B5EF4-FFF2-40B4-BE49-F238E27FC236}">
                  <a16:creationId xmlns:a16="http://schemas.microsoft.com/office/drawing/2014/main" id="{0C4865A7-97CE-8F63-C91D-E7D2FEC089CC}"/>
                </a:ext>
              </a:extLst>
            </p:cNvPr>
            <p:cNvSpPr/>
            <p:nvPr/>
          </p:nvSpPr>
          <p:spPr>
            <a:xfrm>
              <a:off x="8429668" y="406400"/>
              <a:ext cx="1474942" cy="359228"/>
            </a:xfrm>
            <a:prstGeom prst="roundRect">
              <a:avLst>
                <a:gd name="adj" fmla="val 50000"/>
              </a:avLst>
            </a:prstGeom>
            <a:solidFill>
              <a:srgbClr val="4E966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chemeClr val="bg1"/>
                  </a:solidFill>
                  <a:latin typeface="Montserrat Alternates SemiBold" panose="00000700000000000000" pitchFamily="2" charset="0"/>
                </a:rPr>
                <a:t>Offre</a:t>
              </a:r>
            </a:p>
          </p:txBody>
        </p:sp>
        <p:sp>
          <p:nvSpPr>
            <p:cNvPr id="18" name="Rectangle : coins arrondis 17">
              <a:extLst>
                <a:ext uri="{FF2B5EF4-FFF2-40B4-BE49-F238E27FC236}">
                  <a16:creationId xmlns:a16="http://schemas.microsoft.com/office/drawing/2014/main" id="{78A75858-03B6-C547-EE17-E71F83FF4C6A}"/>
                </a:ext>
              </a:extLst>
            </p:cNvPr>
            <p:cNvSpPr/>
            <p:nvPr/>
          </p:nvSpPr>
          <p:spPr>
            <a:xfrm>
              <a:off x="4841706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rgbClr val="C4C7D6"/>
                  </a:solidFill>
                </a:rPr>
                <a:t>Solution</a:t>
              </a:r>
            </a:p>
          </p:txBody>
        </p:sp>
        <p:sp>
          <p:nvSpPr>
            <p:cNvPr id="19" name="Rectangle : coins arrondis 18">
              <a:extLst>
                <a:ext uri="{FF2B5EF4-FFF2-40B4-BE49-F238E27FC236}">
                  <a16:creationId xmlns:a16="http://schemas.microsoft.com/office/drawing/2014/main" id="{5CF120AA-42F8-514B-C48E-3ABA25620E9D}"/>
                </a:ext>
              </a:extLst>
            </p:cNvPr>
            <p:cNvSpPr/>
            <p:nvPr/>
          </p:nvSpPr>
          <p:spPr>
            <a:xfrm>
              <a:off x="10223649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rgbClr val="C4C7D6"/>
                  </a:solidFill>
                </a:rPr>
                <a:t>Fondateur</a:t>
              </a:r>
            </a:p>
          </p:txBody>
        </p:sp>
      </p:grpSp>
      <p:sp>
        <p:nvSpPr>
          <p:cNvPr id="6" name="ZoneTexte 5">
            <a:extLst>
              <a:ext uri="{FF2B5EF4-FFF2-40B4-BE49-F238E27FC236}">
                <a16:creationId xmlns:a16="http://schemas.microsoft.com/office/drawing/2014/main" id="{63E6DCB0-456C-BB01-F37C-9EF9A7DD710F}"/>
              </a:ext>
            </a:extLst>
          </p:cNvPr>
          <p:cNvSpPr txBox="1"/>
          <p:nvPr/>
        </p:nvSpPr>
        <p:spPr>
          <a:xfrm>
            <a:off x="3295641" y="1131913"/>
            <a:ext cx="5629746" cy="43088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/>
            <a:r>
              <a:rPr lang="fr-FR" sz="2800" b="1" cap="all">
                <a:solidFill>
                  <a:srgbClr val="4E9664"/>
                </a:solidFill>
                <a:latin typeface="+mj-lt"/>
              </a:rPr>
              <a:t>Intégrer le service Ecopills </a:t>
            </a:r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515DFA25-8D3E-2190-BD52-006CB8BC6159}"/>
              </a:ext>
            </a:extLst>
          </p:cNvPr>
          <p:cNvSpPr/>
          <p:nvPr/>
        </p:nvSpPr>
        <p:spPr>
          <a:xfrm>
            <a:off x="914996" y="2342446"/>
            <a:ext cx="4266008" cy="4072119"/>
          </a:xfrm>
          <a:prstGeom prst="roundRect">
            <a:avLst>
              <a:gd name="adj" fmla="val 5045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288000" rIns="288000" bIns="288000" rtlCol="0" anchor="ctr" anchorCtr="0"/>
          <a:lstStyle/>
          <a:p>
            <a:pPr marL="285750" indent="-285750">
              <a:spcBef>
                <a:spcPts val="3000"/>
              </a:spcBef>
              <a:buFont typeface="Arial" panose="020B0604020202020204" pitchFamily="34" charset="0"/>
              <a:buChar char="•"/>
            </a:pPr>
            <a:r>
              <a:rPr lang="fr-FR" sz="1400" b="1">
                <a:solidFill>
                  <a:schemeClr val="tx2"/>
                </a:solidFill>
              </a:rPr>
              <a:t>Intégration possible en marque grise </a:t>
            </a:r>
            <a:r>
              <a:rPr lang="fr-FR" sz="1400">
                <a:solidFill>
                  <a:schemeClr val="tx2"/>
                </a:solidFill>
              </a:rPr>
              <a:t>via une app mobile </a:t>
            </a:r>
            <a:br>
              <a:rPr lang="fr-FR" sz="1400">
                <a:solidFill>
                  <a:schemeClr val="tx2"/>
                </a:solidFill>
              </a:rPr>
            </a:br>
            <a:r>
              <a:rPr lang="fr-FR" sz="1400">
                <a:solidFill>
                  <a:schemeClr val="tx2"/>
                </a:solidFill>
              </a:rPr>
              <a:t>pour l’assuré</a:t>
            </a:r>
          </a:p>
          <a:p>
            <a:pPr marL="285750" indent="-285750">
              <a:spcBef>
                <a:spcPts val="3000"/>
              </a:spcBef>
              <a:buFont typeface="Arial" panose="020B0604020202020204" pitchFamily="34" charset="0"/>
              <a:buChar char="•"/>
            </a:pPr>
            <a:r>
              <a:rPr lang="fr-FR" sz="1400" b="1">
                <a:solidFill>
                  <a:schemeClr val="tx2"/>
                </a:solidFill>
              </a:rPr>
              <a:t>Interface d’administration </a:t>
            </a:r>
            <a:br>
              <a:rPr lang="fr-FR" sz="1400" b="1">
                <a:solidFill>
                  <a:schemeClr val="tx2"/>
                </a:solidFill>
              </a:rPr>
            </a:br>
            <a:r>
              <a:rPr lang="fr-FR" sz="1400">
                <a:solidFill>
                  <a:schemeClr val="tx2"/>
                </a:solidFill>
              </a:rPr>
              <a:t>pour l’assureur via un portail web</a:t>
            </a:r>
          </a:p>
          <a:p>
            <a:pPr marL="285750" indent="-285750">
              <a:spcBef>
                <a:spcPts val="3000"/>
              </a:spcBef>
              <a:buFont typeface="Arial" panose="020B0604020202020204" pitchFamily="34" charset="0"/>
              <a:buChar char="•"/>
            </a:pPr>
            <a:r>
              <a:rPr lang="fr-FR" sz="1400" b="1">
                <a:solidFill>
                  <a:schemeClr val="tx2"/>
                </a:solidFill>
              </a:rPr>
              <a:t>Tarification</a:t>
            </a:r>
            <a:r>
              <a:rPr lang="fr-FR" sz="1400">
                <a:solidFill>
                  <a:schemeClr val="tx2"/>
                </a:solidFill>
              </a:rPr>
              <a:t> sous forme de licence </a:t>
            </a:r>
            <a:br>
              <a:rPr lang="fr-FR" sz="1400">
                <a:solidFill>
                  <a:schemeClr val="tx2"/>
                </a:solidFill>
              </a:rPr>
            </a:br>
            <a:r>
              <a:rPr lang="fr-FR" sz="1400">
                <a:solidFill>
                  <a:schemeClr val="tx2"/>
                </a:solidFill>
              </a:rPr>
              <a:t>à l’utilisateur</a:t>
            </a:r>
          </a:p>
          <a:p>
            <a:pPr marL="285750" indent="-285750">
              <a:spcBef>
                <a:spcPts val="3000"/>
              </a:spcBef>
              <a:buFont typeface="Arial" panose="020B0604020202020204" pitchFamily="34" charset="0"/>
              <a:buChar char="•"/>
            </a:pPr>
            <a:r>
              <a:rPr lang="fr-FR" sz="1400" b="1">
                <a:solidFill>
                  <a:schemeClr val="tx2"/>
                </a:solidFill>
              </a:rPr>
              <a:t>Seulement 2€ / utilisateur / an</a:t>
            </a:r>
            <a:br>
              <a:rPr lang="fr-FR" sz="1400" b="1">
                <a:solidFill>
                  <a:schemeClr val="tx2"/>
                </a:solidFill>
              </a:rPr>
            </a:br>
            <a:r>
              <a:rPr lang="fr-FR" sz="1400">
                <a:solidFill>
                  <a:schemeClr val="tx2"/>
                </a:solidFill>
              </a:rPr>
              <a:t>Soit 0,004% du PASS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99BE5833-E2D4-8DD5-64CD-DCD554B4F81F}"/>
              </a:ext>
            </a:extLst>
          </p:cNvPr>
          <p:cNvSpPr txBox="1"/>
          <p:nvPr/>
        </p:nvSpPr>
        <p:spPr>
          <a:xfrm>
            <a:off x="2587755" y="1506347"/>
            <a:ext cx="7045518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tabLst>
                <a:tab pos="4749800" algn="l"/>
              </a:tabLst>
            </a:pPr>
            <a:r>
              <a:rPr lang="fr-FR" sz="2400">
                <a:solidFill>
                  <a:srgbClr val="555D7D"/>
                </a:solidFill>
                <a:latin typeface="Montserrat Alternates SemiBold" panose="00000700000000000000" pitchFamily="2" charset="0"/>
              </a:rPr>
              <a:t>dans votre offre de services aux adhérents </a:t>
            </a:r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0EFBF848-977B-9AAB-D19B-B8B735F9414E}"/>
              </a:ext>
            </a:extLst>
          </p:cNvPr>
          <p:cNvSpPr/>
          <p:nvPr/>
        </p:nvSpPr>
        <p:spPr>
          <a:xfrm>
            <a:off x="7010996" y="2973551"/>
            <a:ext cx="4266008" cy="3441015"/>
          </a:xfrm>
          <a:prstGeom prst="roundRect">
            <a:avLst>
              <a:gd name="adj" fmla="val 5045"/>
            </a:avLst>
          </a:prstGeom>
          <a:solidFill>
            <a:schemeClr val="tx1"/>
          </a:solidFill>
          <a:ln>
            <a:noFill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396000" rIns="288000" bIns="288000" rtlCol="0" anchor="t" anchorCtr="0"/>
          <a:lstStyle/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fr-FR" sz="1400" b="1">
                <a:solidFill>
                  <a:schemeClr val="bg1"/>
                </a:solidFill>
              </a:rPr>
              <a:t>Vous positionner comme précurseur </a:t>
            </a:r>
            <a:r>
              <a:rPr lang="fr-FR" sz="1400">
                <a:solidFill>
                  <a:schemeClr val="bg1"/>
                </a:solidFill>
              </a:rPr>
              <a:t>avec une offre </a:t>
            </a:r>
            <a:br>
              <a:rPr lang="fr-FR" sz="1400">
                <a:solidFill>
                  <a:schemeClr val="bg1"/>
                </a:solidFill>
              </a:rPr>
            </a:br>
            <a:r>
              <a:rPr lang="fr-FR" sz="1400">
                <a:solidFill>
                  <a:schemeClr val="bg1"/>
                </a:solidFill>
              </a:rPr>
              <a:t>exclusive pour vos adhérents, inédite sur le marché 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fr-FR" sz="1400" b="1">
                <a:solidFill>
                  <a:schemeClr val="bg1"/>
                </a:solidFill>
              </a:rPr>
              <a:t>Proposer un service gratuit </a:t>
            </a:r>
            <a:br>
              <a:rPr lang="fr-FR" sz="1400" b="1">
                <a:solidFill>
                  <a:schemeClr val="bg1"/>
                </a:solidFill>
              </a:rPr>
            </a:br>
            <a:r>
              <a:rPr lang="fr-FR" sz="1400">
                <a:solidFill>
                  <a:schemeClr val="bg1"/>
                </a:solidFill>
              </a:rPr>
              <a:t>pour faciliter la gestion </a:t>
            </a:r>
            <a:br>
              <a:rPr lang="fr-FR" sz="1400">
                <a:solidFill>
                  <a:schemeClr val="bg1"/>
                </a:solidFill>
              </a:rPr>
            </a:br>
            <a:r>
              <a:rPr lang="fr-FR" sz="1400">
                <a:solidFill>
                  <a:schemeClr val="bg1"/>
                </a:solidFill>
              </a:rPr>
              <a:t>des stocks des familles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fr-FR" sz="1400" b="1">
                <a:solidFill>
                  <a:schemeClr val="bg1"/>
                </a:solidFill>
              </a:rPr>
              <a:t>Réaliser des économies, </a:t>
            </a:r>
            <a:r>
              <a:rPr lang="fr-FR" sz="1400">
                <a:solidFill>
                  <a:schemeClr val="bg1"/>
                </a:solidFill>
              </a:rPr>
              <a:t>dès </a:t>
            </a:r>
            <a:br>
              <a:rPr lang="fr-FR" sz="1400">
                <a:solidFill>
                  <a:schemeClr val="bg1"/>
                </a:solidFill>
              </a:rPr>
            </a:br>
            <a:r>
              <a:rPr lang="fr-FR" sz="1400">
                <a:solidFill>
                  <a:schemeClr val="bg1"/>
                </a:solidFill>
              </a:rPr>
              <a:t>la première boîte de médicament </a:t>
            </a:r>
            <a:br>
              <a:rPr lang="fr-FR" sz="1400">
                <a:solidFill>
                  <a:schemeClr val="bg1"/>
                </a:solidFill>
              </a:rPr>
            </a:br>
            <a:r>
              <a:rPr lang="fr-FR" sz="1400">
                <a:solidFill>
                  <a:schemeClr val="bg1"/>
                </a:solidFill>
              </a:rPr>
              <a:t>non achetée par le pati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2817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3.7037E-6 L 0.07097 3.7037E-6 " pathEditMode="relative" rAng="0" ptsTypes="AA">
                                      <p:cBhvr>
                                        <p:cTn id="9" dur="20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42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4.07407E-6 L 0 0.08518 " pathEditMode="relative" rAng="0" ptsTypes="AA">
                                      <p:cBhvr>
                                        <p:cTn id="14" dur="2000" spd="-100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259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-7.40741E-7 L -0.075 -7.40741E-7 " pathEditMode="relative" rAng="0" ptsTypes="AA">
                                      <p:cBhvr>
                                        <p:cTn id="19" dur="20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50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mph" presetSubtype="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24" dur="750" fill="hold"/>
                                        <p:tgtEl>
                                          <p:spTgt spid="8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6" presetClass="emph" presetSubtype="0" decel="100000" fill="hold" grpId="2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26" dur="1000" fill="hold"/>
                                        <p:tgtEl>
                                          <p:spTgt spid="8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" presetClass="emph" presetSubtype="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Scale>
                                      <p:cBhvr>
                                        <p:cTn id="31" dur="750" fill="hold"/>
                                        <p:tgtEl>
                                          <p:spTgt spid="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2" presetID="6" presetClass="emph" presetSubtype="0" decel="100000" fill="hold" grpId="2" nodeType="withEffect">
                                  <p:stCondLst>
                                    <p:cond delay="800"/>
                                  </p:stCondLst>
                                  <p:childTnLst>
                                    <p:animScale>
                                      <p:cBhvr>
                                        <p:cTn id="33" dur="1000" fill="hold"/>
                                        <p:tgtEl>
                                          <p:spTgt spid="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11022E-16 -3.7037E-6 L 1.11022E-16 0.08519 " pathEditMode="relative" rAng="0" ptsTypes="AA">
                                      <p:cBhvr>
                                        <p:cTn id="38" dur="20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25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" grpId="0" animBg="1"/>
      <p:bldP spid="79" grpId="1" animBg="1"/>
      <p:bldP spid="6" grpId="0"/>
      <p:bldP spid="6" grpId="1"/>
      <p:bldP spid="8" grpId="0" animBg="1"/>
      <p:bldP spid="8" grpId="1" animBg="1"/>
      <p:bldP spid="8" grpId="2" animBg="1"/>
      <p:bldP spid="5" grpId="0"/>
      <p:bldP spid="5" grpId="1"/>
      <p:bldP spid="9" grpId="0" animBg="1"/>
      <p:bldP spid="9" grpId="1" animBg="1"/>
      <p:bldP spid="9" grpId="2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4C7D6">
            <a:alpha val="5000"/>
          </a:srgb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4497E6F-7236-77C9-4A05-C2E388A483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Forme libre : forme 98">
            <a:extLst>
              <a:ext uri="{FF2B5EF4-FFF2-40B4-BE49-F238E27FC236}">
                <a16:creationId xmlns:a16="http://schemas.microsoft.com/office/drawing/2014/main" id="{6512603A-18A6-4FB1-412B-64A4ECAAE35D}"/>
              </a:ext>
            </a:extLst>
          </p:cNvPr>
          <p:cNvSpPr/>
          <p:nvPr/>
        </p:nvSpPr>
        <p:spPr>
          <a:xfrm>
            <a:off x="0" y="-1"/>
            <a:ext cx="6655987" cy="6886289"/>
          </a:xfrm>
          <a:custGeom>
            <a:avLst/>
            <a:gdLst>
              <a:gd name="connsiteX0" fmla="*/ 0 w 6655987"/>
              <a:gd name="connsiteY0" fmla="*/ 0 h 6886289"/>
              <a:gd name="connsiteX1" fmla="*/ 2567765 w 6655987"/>
              <a:gd name="connsiteY1" fmla="*/ 0 h 6886289"/>
              <a:gd name="connsiteX2" fmla="*/ 2567765 w 6655987"/>
              <a:gd name="connsiteY2" fmla="*/ 2 h 6886289"/>
              <a:gd name="connsiteX3" fmla="*/ 5147711 w 6655987"/>
              <a:gd name="connsiteY3" fmla="*/ 2 h 6886289"/>
              <a:gd name="connsiteX4" fmla="*/ 5281456 w 6655987"/>
              <a:gd name="connsiteY4" fmla="*/ 38717 h 6886289"/>
              <a:gd name="connsiteX5" fmla="*/ 5987494 w 6655987"/>
              <a:gd name="connsiteY5" fmla="*/ 2230922 h 6886289"/>
              <a:gd name="connsiteX6" fmla="*/ 6622619 w 6655987"/>
              <a:gd name="connsiteY6" fmla="*/ 5086643 h 6886289"/>
              <a:gd name="connsiteX7" fmla="*/ 5275898 w 6655987"/>
              <a:gd name="connsiteY7" fmla="*/ 6800239 h 6886289"/>
              <a:gd name="connsiteX8" fmla="*/ 5117478 w 6655987"/>
              <a:gd name="connsiteY8" fmla="*/ 6840657 h 6886289"/>
              <a:gd name="connsiteX9" fmla="*/ 5117477 w 6655987"/>
              <a:gd name="connsiteY9" fmla="*/ 6857999 h 6886289"/>
              <a:gd name="connsiteX10" fmla="*/ 5032443 w 6655987"/>
              <a:gd name="connsiteY10" fmla="*/ 6857999 h 6886289"/>
              <a:gd name="connsiteX11" fmla="*/ 4862598 w 6655987"/>
              <a:gd name="connsiteY11" fmla="*/ 6881494 h 6886289"/>
              <a:gd name="connsiteX12" fmla="*/ 4457209 w 6655987"/>
              <a:gd name="connsiteY12" fmla="*/ 6858297 h 6886289"/>
              <a:gd name="connsiteX13" fmla="*/ 4456086 w 6655987"/>
              <a:gd name="connsiteY13" fmla="*/ 6858000 h 6886289"/>
              <a:gd name="connsiteX14" fmla="*/ 0 w 6655987"/>
              <a:gd name="connsiteY14" fmla="*/ 6858000 h 6886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655987" h="6886289">
                <a:moveTo>
                  <a:pt x="0" y="0"/>
                </a:moveTo>
                <a:lnTo>
                  <a:pt x="2567765" y="0"/>
                </a:lnTo>
                <a:lnTo>
                  <a:pt x="2567765" y="2"/>
                </a:lnTo>
                <a:lnTo>
                  <a:pt x="5147711" y="2"/>
                </a:lnTo>
                <a:lnTo>
                  <a:pt x="5281456" y="38717"/>
                </a:lnTo>
                <a:cubicBezTo>
                  <a:pt x="6013885" y="308217"/>
                  <a:pt x="6401735" y="1215178"/>
                  <a:pt x="5987494" y="2230922"/>
                </a:cubicBezTo>
                <a:cubicBezTo>
                  <a:pt x="5477580" y="3481118"/>
                  <a:pt x="6316552" y="4044865"/>
                  <a:pt x="6622619" y="5086643"/>
                </a:cubicBezTo>
                <a:cubicBezTo>
                  <a:pt x="6822236" y="5766279"/>
                  <a:pt x="6094938" y="6544791"/>
                  <a:pt x="5275898" y="6800239"/>
                </a:cubicBezTo>
                <a:lnTo>
                  <a:pt x="5117478" y="6840657"/>
                </a:lnTo>
                <a:lnTo>
                  <a:pt x="5117477" y="6857999"/>
                </a:lnTo>
                <a:lnTo>
                  <a:pt x="5032443" y="6857999"/>
                </a:lnTo>
                <a:lnTo>
                  <a:pt x="4862598" y="6881494"/>
                </a:lnTo>
                <a:cubicBezTo>
                  <a:pt x="4724862" y="6892131"/>
                  <a:pt x="4588442" y="6885358"/>
                  <a:pt x="4457209" y="6858297"/>
                </a:cubicBezTo>
                <a:lnTo>
                  <a:pt x="4456086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FF0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81" name="ZoneTexte 80">
            <a:extLst>
              <a:ext uri="{FF2B5EF4-FFF2-40B4-BE49-F238E27FC236}">
                <a16:creationId xmlns:a16="http://schemas.microsoft.com/office/drawing/2014/main" id="{570E7010-AD38-1C5B-8B4A-2F2627477DC5}"/>
              </a:ext>
            </a:extLst>
          </p:cNvPr>
          <p:cNvSpPr txBox="1"/>
          <p:nvPr/>
        </p:nvSpPr>
        <p:spPr>
          <a:xfrm>
            <a:off x="3030940" y="4789018"/>
            <a:ext cx="1195840" cy="55399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fr-FR"/>
            </a:defPPr>
            <a:lvl1pPr algn="ctr">
              <a:defRPr sz="2400">
                <a:solidFill>
                  <a:srgbClr val="444A64"/>
                </a:solidFill>
                <a:latin typeface="Montserrat Alternates SemiBold" panose="00000700000000000000" pitchFamily="2" charset="0"/>
              </a:defRPr>
            </a:lvl1pPr>
          </a:lstStyle>
          <a:p>
            <a:pPr algn="l"/>
            <a:r>
              <a:rPr lang="fr-FR" sz="2000"/>
              <a:t>Thibault </a:t>
            </a:r>
            <a:br>
              <a:rPr lang="fr-FR" sz="2000"/>
            </a:br>
            <a:r>
              <a:rPr lang="fr-FR" sz="1600">
                <a:latin typeface="+mn-lt"/>
              </a:rPr>
              <a:t>Saint Jevin </a:t>
            </a:r>
            <a:endParaRPr lang="fr-FR" sz="2000">
              <a:latin typeface="+mn-lt"/>
            </a:endParaRPr>
          </a:p>
        </p:txBody>
      </p:sp>
      <p:grpSp>
        <p:nvGrpSpPr>
          <p:cNvPr id="83" name="Groupe 82">
            <a:extLst>
              <a:ext uri="{FF2B5EF4-FFF2-40B4-BE49-F238E27FC236}">
                <a16:creationId xmlns:a16="http://schemas.microsoft.com/office/drawing/2014/main" id="{B017BFAD-50DB-7809-485C-41D76427AC9F}"/>
              </a:ext>
            </a:extLst>
          </p:cNvPr>
          <p:cNvGrpSpPr/>
          <p:nvPr/>
        </p:nvGrpSpPr>
        <p:grpSpPr>
          <a:xfrm>
            <a:off x="4410601" y="4804229"/>
            <a:ext cx="1208140" cy="448853"/>
            <a:chOff x="3771972" y="5318760"/>
            <a:chExt cx="814542" cy="302622"/>
          </a:xfrm>
        </p:grpSpPr>
        <p:sp>
          <p:nvSpPr>
            <p:cNvPr id="84" name="Rectangle : coins arrondis 83">
              <a:extLst>
                <a:ext uri="{FF2B5EF4-FFF2-40B4-BE49-F238E27FC236}">
                  <a16:creationId xmlns:a16="http://schemas.microsoft.com/office/drawing/2014/main" id="{C7AD7561-89FC-B42E-E955-CF62803B76DE}"/>
                </a:ext>
              </a:extLst>
            </p:cNvPr>
            <p:cNvSpPr/>
            <p:nvPr/>
          </p:nvSpPr>
          <p:spPr>
            <a:xfrm>
              <a:off x="3771972" y="5318760"/>
              <a:ext cx="814542" cy="302622"/>
            </a:xfrm>
            <a:prstGeom prst="roundRect">
              <a:avLst>
                <a:gd name="adj" fmla="val 50000"/>
              </a:avLst>
            </a:prstGeom>
            <a:solidFill>
              <a:srgbClr val="4E966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100">
                <a:solidFill>
                  <a:schemeClr val="bg1"/>
                </a:solidFill>
                <a:latin typeface="Montserrat Alternates SemiBold" panose="00000700000000000000" pitchFamily="2" charset="0"/>
              </a:endParaRPr>
            </a:p>
          </p:txBody>
        </p:sp>
        <p:cxnSp>
          <p:nvCxnSpPr>
            <p:cNvPr id="85" name="Connecteur droit avec flèche 84">
              <a:extLst>
                <a:ext uri="{FF2B5EF4-FFF2-40B4-BE49-F238E27FC236}">
                  <a16:creationId xmlns:a16="http://schemas.microsoft.com/office/drawing/2014/main" id="{32ADB2F8-943B-15A2-F150-B6BA0211E025}"/>
                </a:ext>
              </a:extLst>
            </p:cNvPr>
            <p:cNvCxnSpPr>
              <a:cxnSpLocks/>
            </p:cNvCxnSpPr>
            <p:nvPr/>
          </p:nvCxnSpPr>
          <p:spPr>
            <a:xfrm>
              <a:off x="3950643" y="5470071"/>
              <a:ext cx="457200" cy="0"/>
            </a:xfrm>
            <a:prstGeom prst="straightConnector1">
              <a:avLst/>
            </a:prstGeom>
            <a:ln w="19050">
              <a:solidFill>
                <a:schemeClr val="bg1"/>
              </a:solidFill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6AB2B1DF-2E86-47E8-8C85-161895DAF548}"/>
              </a:ext>
            </a:extLst>
          </p:cNvPr>
          <p:cNvGrpSpPr/>
          <p:nvPr/>
        </p:nvGrpSpPr>
        <p:grpSpPr>
          <a:xfrm>
            <a:off x="572667" y="487521"/>
            <a:ext cx="364153" cy="284070"/>
            <a:chOff x="1148496" y="1062130"/>
            <a:chExt cx="364153" cy="284070"/>
          </a:xfrm>
        </p:grpSpPr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43BB74F2-A418-1FD4-D463-94C85EB66F8F}"/>
                </a:ext>
              </a:extLst>
            </p:cNvPr>
            <p:cNvSpPr/>
            <p:nvPr/>
          </p:nvSpPr>
          <p:spPr>
            <a:xfrm>
              <a:off x="1148496" y="1062130"/>
              <a:ext cx="284156" cy="284070"/>
            </a:xfrm>
            <a:custGeom>
              <a:avLst/>
              <a:gdLst>
                <a:gd name="connsiteX0" fmla="*/ 1927193 w 3012185"/>
                <a:gd name="connsiteY0" fmla="*/ 3011281 h 3011281"/>
                <a:gd name="connsiteX1" fmla="*/ 1159955 w 3012185"/>
                <a:gd name="connsiteY1" fmla="*/ 2694003 h 3011281"/>
                <a:gd name="connsiteX2" fmla="*/ 317754 w 3012185"/>
                <a:gd name="connsiteY2" fmla="*/ 1851803 h 3011281"/>
                <a:gd name="connsiteX3" fmla="*/ 0 w 3012185"/>
                <a:gd name="connsiteY3" fmla="*/ 1084564 h 3011281"/>
                <a:gd name="connsiteX4" fmla="*/ 317754 w 3012185"/>
                <a:gd name="connsiteY4" fmla="*/ 317325 h 3011281"/>
                <a:gd name="connsiteX5" fmla="*/ 1852232 w 3012185"/>
                <a:gd name="connsiteY5" fmla="*/ 317325 h 3011281"/>
                <a:gd name="connsiteX6" fmla="*/ 2694432 w 3012185"/>
                <a:gd name="connsiteY6" fmla="*/ 1159526 h 3011281"/>
                <a:gd name="connsiteX7" fmla="*/ 3012186 w 3012185"/>
                <a:gd name="connsiteY7" fmla="*/ 1926765 h 3011281"/>
                <a:gd name="connsiteX8" fmla="*/ 2694432 w 3012185"/>
                <a:gd name="connsiteY8" fmla="*/ 2694003 h 3011281"/>
                <a:gd name="connsiteX9" fmla="*/ 1927193 w 3012185"/>
                <a:gd name="connsiteY9" fmla="*/ 3011281 h 3011281"/>
                <a:gd name="connsiteX10" fmla="*/ 1084993 w 3012185"/>
                <a:gd name="connsiteY10" fmla="*/ 480012 h 3011281"/>
                <a:gd name="connsiteX11" fmla="*/ 657320 w 3012185"/>
                <a:gd name="connsiteY11" fmla="*/ 656892 h 3011281"/>
                <a:gd name="connsiteX12" fmla="*/ 480155 w 3012185"/>
                <a:gd name="connsiteY12" fmla="*/ 1084564 h 3011281"/>
                <a:gd name="connsiteX13" fmla="*/ 657320 w 3012185"/>
                <a:gd name="connsiteY13" fmla="*/ 1512237 h 3011281"/>
                <a:gd name="connsiteX14" fmla="*/ 1499521 w 3012185"/>
                <a:gd name="connsiteY14" fmla="*/ 2354437 h 3011281"/>
                <a:gd name="connsiteX15" fmla="*/ 2354961 w 3012185"/>
                <a:gd name="connsiteY15" fmla="*/ 2354437 h 3011281"/>
                <a:gd name="connsiteX16" fmla="*/ 2532126 w 3012185"/>
                <a:gd name="connsiteY16" fmla="*/ 1926765 h 3011281"/>
                <a:gd name="connsiteX17" fmla="*/ 2354961 w 3012185"/>
                <a:gd name="connsiteY17" fmla="*/ 1499092 h 3011281"/>
                <a:gd name="connsiteX18" fmla="*/ 1512761 w 3012185"/>
                <a:gd name="connsiteY18" fmla="*/ 656892 h 3011281"/>
                <a:gd name="connsiteX19" fmla="*/ 1084993 w 3012185"/>
                <a:gd name="connsiteY19" fmla="*/ 480012 h 301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12185" h="3011281">
                  <a:moveTo>
                    <a:pt x="1927193" y="3011281"/>
                  </a:moveTo>
                  <a:cubicBezTo>
                    <a:pt x="1649349" y="3011281"/>
                    <a:pt x="1371505" y="2905554"/>
                    <a:pt x="1159955" y="2694003"/>
                  </a:cubicBezTo>
                  <a:lnTo>
                    <a:pt x="317754" y="1851803"/>
                  </a:lnTo>
                  <a:cubicBezTo>
                    <a:pt x="112871" y="1646825"/>
                    <a:pt x="0" y="1374410"/>
                    <a:pt x="0" y="1084564"/>
                  </a:cubicBezTo>
                  <a:cubicBezTo>
                    <a:pt x="0" y="794718"/>
                    <a:pt x="112871" y="522303"/>
                    <a:pt x="317754" y="317325"/>
                  </a:cubicBezTo>
                  <a:cubicBezTo>
                    <a:pt x="740855" y="-105775"/>
                    <a:pt x="1429131" y="-105775"/>
                    <a:pt x="1852232" y="317325"/>
                  </a:cubicBezTo>
                  <a:lnTo>
                    <a:pt x="2694432" y="1159526"/>
                  </a:lnTo>
                  <a:cubicBezTo>
                    <a:pt x="2899410" y="1364504"/>
                    <a:pt x="3012186" y="1636919"/>
                    <a:pt x="3012186" y="1926765"/>
                  </a:cubicBezTo>
                  <a:cubicBezTo>
                    <a:pt x="3012186" y="2216611"/>
                    <a:pt x="2899315" y="2489025"/>
                    <a:pt x="2694432" y="2694003"/>
                  </a:cubicBezTo>
                  <a:cubicBezTo>
                    <a:pt x="2489549" y="2898982"/>
                    <a:pt x="2205038" y="3011281"/>
                    <a:pt x="1927193" y="3011281"/>
                  </a:cubicBezTo>
                  <a:close/>
                  <a:moveTo>
                    <a:pt x="1084993" y="480012"/>
                  </a:moveTo>
                  <a:cubicBezTo>
                    <a:pt x="930116" y="480012"/>
                    <a:pt x="775240" y="538972"/>
                    <a:pt x="657320" y="656892"/>
                  </a:cubicBezTo>
                  <a:cubicBezTo>
                    <a:pt x="543116" y="771096"/>
                    <a:pt x="480155" y="923020"/>
                    <a:pt x="480155" y="1084564"/>
                  </a:cubicBezTo>
                  <a:cubicBezTo>
                    <a:pt x="480155" y="1246108"/>
                    <a:pt x="543020" y="1398032"/>
                    <a:pt x="657320" y="1512237"/>
                  </a:cubicBezTo>
                  <a:lnTo>
                    <a:pt x="1499521" y="2354437"/>
                  </a:lnTo>
                  <a:cubicBezTo>
                    <a:pt x="1735360" y="2590276"/>
                    <a:pt x="2119122" y="2590276"/>
                    <a:pt x="2354961" y="2354437"/>
                  </a:cubicBezTo>
                  <a:cubicBezTo>
                    <a:pt x="2469166" y="2240233"/>
                    <a:pt x="2532126" y="2088309"/>
                    <a:pt x="2532126" y="1926765"/>
                  </a:cubicBezTo>
                  <a:cubicBezTo>
                    <a:pt x="2532126" y="1765221"/>
                    <a:pt x="2469261" y="1613297"/>
                    <a:pt x="2354961" y="1499092"/>
                  </a:cubicBezTo>
                  <a:lnTo>
                    <a:pt x="1512761" y="656892"/>
                  </a:lnTo>
                  <a:cubicBezTo>
                    <a:pt x="1394841" y="538972"/>
                    <a:pt x="1239964" y="480012"/>
                    <a:pt x="1084993" y="480012"/>
                  </a:cubicBezTo>
                  <a:close/>
                </a:path>
              </a:pathLst>
            </a:custGeom>
            <a:solidFill>
              <a:srgbClr val="9097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EB4555F6-9A23-D29A-D7E3-170A4E0DD0AC}"/>
                </a:ext>
              </a:extLst>
            </p:cNvPr>
            <p:cNvSpPr/>
            <p:nvPr/>
          </p:nvSpPr>
          <p:spPr>
            <a:xfrm>
              <a:off x="1228502" y="1062130"/>
              <a:ext cx="284147" cy="284070"/>
            </a:xfrm>
            <a:custGeom>
              <a:avLst/>
              <a:gdLst>
                <a:gd name="connsiteX0" fmla="*/ 1084993 w 3012090"/>
                <a:gd name="connsiteY0" fmla="*/ 3011281 h 3011281"/>
                <a:gd name="connsiteX1" fmla="*/ 317754 w 3012090"/>
                <a:gd name="connsiteY1" fmla="*/ 2694003 h 3011281"/>
                <a:gd name="connsiteX2" fmla="*/ 0 w 3012090"/>
                <a:gd name="connsiteY2" fmla="*/ 1926765 h 3011281"/>
                <a:gd name="connsiteX3" fmla="*/ 317754 w 3012090"/>
                <a:gd name="connsiteY3" fmla="*/ 1159526 h 3011281"/>
                <a:gd name="connsiteX4" fmla="*/ 1159955 w 3012090"/>
                <a:gd name="connsiteY4" fmla="*/ 317325 h 3011281"/>
                <a:gd name="connsiteX5" fmla="*/ 2694337 w 3012090"/>
                <a:gd name="connsiteY5" fmla="*/ 317325 h 3011281"/>
                <a:gd name="connsiteX6" fmla="*/ 3012091 w 3012090"/>
                <a:gd name="connsiteY6" fmla="*/ 1084564 h 3011281"/>
                <a:gd name="connsiteX7" fmla="*/ 2694337 w 3012090"/>
                <a:gd name="connsiteY7" fmla="*/ 1851803 h 3011281"/>
                <a:gd name="connsiteX8" fmla="*/ 1852136 w 3012090"/>
                <a:gd name="connsiteY8" fmla="*/ 2694003 h 3011281"/>
                <a:gd name="connsiteX9" fmla="*/ 1084898 w 3012090"/>
                <a:gd name="connsiteY9" fmla="*/ 3011281 h 3011281"/>
                <a:gd name="connsiteX10" fmla="*/ 1927098 w 3012090"/>
                <a:gd name="connsiteY10" fmla="*/ 480012 h 3011281"/>
                <a:gd name="connsiteX11" fmla="*/ 1499426 w 3012090"/>
                <a:gd name="connsiteY11" fmla="*/ 656892 h 3011281"/>
                <a:gd name="connsiteX12" fmla="*/ 657225 w 3012090"/>
                <a:gd name="connsiteY12" fmla="*/ 1499092 h 3011281"/>
                <a:gd name="connsiteX13" fmla="*/ 480060 w 3012090"/>
                <a:gd name="connsiteY13" fmla="*/ 1926765 h 3011281"/>
                <a:gd name="connsiteX14" fmla="*/ 657225 w 3012090"/>
                <a:gd name="connsiteY14" fmla="*/ 2354437 h 3011281"/>
                <a:gd name="connsiteX15" fmla="*/ 1512570 w 3012090"/>
                <a:gd name="connsiteY15" fmla="*/ 2354437 h 3011281"/>
                <a:gd name="connsiteX16" fmla="*/ 2354771 w 3012090"/>
                <a:gd name="connsiteY16" fmla="*/ 1512237 h 3011281"/>
                <a:gd name="connsiteX17" fmla="*/ 2531935 w 3012090"/>
                <a:gd name="connsiteY17" fmla="*/ 1084564 h 3011281"/>
                <a:gd name="connsiteX18" fmla="*/ 2354771 w 3012090"/>
                <a:gd name="connsiteY18" fmla="*/ 656892 h 3011281"/>
                <a:gd name="connsiteX19" fmla="*/ 1927098 w 3012090"/>
                <a:gd name="connsiteY19" fmla="*/ 480012 h 301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12090" h="3011281">
                  <a:moveTo>
                    <a:pt x="1084993" y="3011281"/>
                  </a:moveTo>
                  <a:cubicBezTo>
                    <a:pt x="807149" y="3011281"/>
                    <a:pt x="529304" y="2905554"/>
                    <a:pt x="317754" y="2694003"/>
                  </a:cubicBezTo>
                  <a:cubicBezTo>
                    <a:pt x="106204" y="2482453"/>
                    <a:pt x="0" y="2216611"/>
                    <a:pt x="0" y="1926765"/>
                  </a:cubicBezTo>
                  <a:cubicBezTo>
                    <a:pt x="0" y="1636919"/>
                    <a:pt x="112871" y="1364504"/>
                    <a:pt x="317754" y="1159526"/>
                  </a:cubicBezTo>
                  <a:lnTo>
                    <a:pt x="1159955" y="317325"/>
                  </a:lnTo>
                  <a:cubicBezTo>
                    <a:pt x="1582960" y="-105775"/>
                    <a:pt x="2271332" y="-105775"/>
                    <a:pt x="2694337" y="317325"/>
                  </a:cubicBezTo>
                  <a:cubicBezTo>
                    <a:pt x="2899315" y="522303"/>
                    <a:pt x="3012091" y="794718"/>
                    <a:pt x="3012091" y="1084564"/>
                  </a:cubicBezTo>
                  <a:cubicBezTo>
                    <a:pt x="3012091" y="1374410"/>
                    <a:pt x="2899220" y="1646825"/>
                    <a:pt x="2694337" y="1851803"/>
                  </a:cubicBezTo>
                  <a:lnTo>
                    <a:pt x="1852136" y="2694003"/>
                  </a:lnTo>
                  <a:cubicBezTo>
                    <a:pt x="1640586" y="2905554"/>
                    <a:pt x="1362742" y="3011281"/>
                    <a:pt x="1084898" y="3011281"/>
                  </a:cubicBezTo>
                  <a:close/>
                  <a:moveTo>
                    <a:pt x="1927098" y="480012"/>
                  </a:moveTo>
                  <a:cubicBezTo>
                    <a:pt x="1772222" y="480012"/>
                    <a:pt x="1617345" y="538972"/>
                    <a:pt x="1499426" y="656892"/>
                  </a:cubicBezTo>
                  <a:lnTo>
                    <a:pt x="657225" y="1499092"/>
                  </a:lnTo>
                  <a:cubicBezTo>
                    <a:pt x="543020" y="1613297"/>
                    <a:pt x="480060" y="1765221"/>
                    <a:pt x="480060" y="1926765"/>
                  </a:cubicBezTo>
                  <a:cubicBezTo>
                    <a:pt x="480060" y="2088309"/>
                    <a:pt x="542925" y="2240233"/>
                    <a:pt x="657225" y="2354437"/>
                  </a:cubicBezTo>
                  <a:cubicBezTo>
                    <a:pt x="893064" y="2590276"/>
                    <a:pt x="1276731" y="2590276"/>
                    <a:pt x="1512570" y="2354437"/>
                  </a:cubicBezTo>
                  <a:lnTo>
                    <a:pt x="2354771" y="1512237"/>
                  </a:lnTo>
                  <a:cubicBezTo>
                    <a:pt x="2468975" y="1398032"/>
                    <a:pt x="2531935" y="1246108"/>
                    <a:pt x="2531935" y="1084564"/>
                  </a:cubicBezTo>
                  <a:cubicBezTo>
                    <a:pt x="2531935" y="923020"/>
                    <a:pt x="2469071" y="771096"/>
                    <a:pt x="2354771" y="656892"/>
                  </a:cubicBezTo>
                  <a:cubicBezTo>
                    <a:pt x="2236851" y="538972"/>
                    <a:pt x="2081975" y="480012"/>
                    <a:pt x="1927098" y="480012"/>
                  </a:cubicBezTo>
                  <a:close/>
                </a:path>
              </a:pathLst>
            </a:custGeom>
            <a:solidFill>
              <a:srgbClr val="4E966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sp>
        <p:nvSpPr>
          <p:cNvPr id="6" name="ZoneTexte 5">
            <a:extLst>
              <a:ext uri="{FF2B5EF4-FFF2-40B4-BE49-F238E27FC236}">
                <a16:creationId xmlns:a16="http://schemas.microsoft.com/office/drawing/2014/main" id="{FA7A611D-7F79-B882-A411-439FF0EE3E59}"/>
              </a:ext>
            </a:extLst>
          </p:cNvPr>
          <p:cNvSpPr txBox="1"/>
          <p:nvPr/>
        </p:nvSpPr>
        <p:spPr>
          <a:xfrm>
            <a:off x="732324" y="1122293"/>
            <a:ext cx="2285882" cy="3077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fr-FR"/>
            </a:defPPr>
            <a:lvl1pPr algn="ctr">
              <a:defRPr sz="2400">
                <a:solidFill>
                  <a:srgbClr val="444A64"/>
                </a:solidFill>
                <a:latin typeface="Montserrat Alternates SemiBold" panose="00000700000000000000" pitchFamily="2" charset="0"/>
              </a:defRPr>
            </a:lvl1pPr>
          </a:lstStyle>
          <a:p>
            <a:pPr algn="l"/>
            <a:r>
              <a:rPr lang="fr-FR" sz="2000"/>
              <a:t>EcoPills combine</a:t>
            </a:r>
          </a:p>
        </p:txBody>
      </p: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188A62A6-67AE-C6A8-21F1-370F2E1A6B22}"/>
              </a:ext>
            </a:extLst>
          </p:cNvPr>
          <p:cNvGrpSpPr/>
          <p:nvPr/>
        </p:nvGrpSpPr>
        <p:grpSpPr>
          <a:xfrm>
            <a:off x="1253744" y="449942"/>
            <a:ext cx="10444847" cy="359228"/>
            <a:chOff x="1253744" y="406400"/>
            <a:chExt cx="10444847" cy="359228"/>
          </a:xfrm>
        </p:grpSpPr>
        <p:sp>
          <p:nvSpPr>
            <p:cNvPr id="14" name="Rectangle : coins arrondis 13">
              <a:extLst>
                <a:ext uri="{FF2B5EF4-FFF2-40B4-BE49-F238E27FC236}">
                  <a16:creationId xmlns:a16="http://schemas.microsoft.com/office/drawing/2014/main" id="{30DC2FA1-87CE-1C56-73AB-779EDC2064D2}"/>
                </a:ext>
              </a:extLst>
            </p:cNvPr>
            <p:cNvSpPr/>
            <p:nvPr/>
          </p:nvSpPr>
          <p:spPr>
            <a:xfrm>
              <a:off x="1253744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rgbClr val="C4C7D6"/>
                  </a:solidFill>
                </a:rPr>
                <a:t>Enjeu</a:t>
              </a:r>
            </a:p>
          </p:txBody>
        </p:sp>
        <p:sp>
          <p:nvSpPr>
            <p:cNvPr id="15" name="Rectangle : coins arrondis 14">
              <a:extLst>
                <a:ext uri="{FF2B5EF4-FFF2-40B4-BE49-F238E27FC236}">
                  <a16:creationId xmlns:a16="http://schemas.microsoft.com/office/drawing/2014/main" id="{89472361-E993-143E-8A9D-30E7706E4183}"/>
                </a:ext>
              </a:extLst>
            </p:cNvPr>
            <p:cNvSpPr/>
            <p:nvPr/>
          </p:nvSpPr>
          <p:spPr>
            <a:xfrm>
              <a:off x="3047725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rgbClr val="C4C7D6"/>
                  </a:solidFill>
                </a:rPr>
                <a:t>Mission</a:t>
              </a:r>
            </a:p>
          </p:txBody>
        </p:sp>
        <p:sp>
          <p:nvSpPr>
            <p:cNvPr id="16" name="Rectangle : coins arrondis 15">
              <a:extLst>
                <a:ext uri="{FF2B5EF4-FFF2-40B4-BE49-F238E27FC236}">
                  <a16:creationId xmlns:a16="http://schemas.microsoft.com/office/drawing/2014/main" id="{BB3D7B4B-F1BF-F8DE-68FF-4BD63B1D0E1B}"/>
                </a:ext>
              </a:extLst>
            </p:cNvPr>
            <p:cNvSpPr/>
            <p:nvPr/>
          </p:nvSpPr>
          <p:spPr>
            <a:xfrm>
              <a:off x="6635687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rgbClr val="C4C7D6"/>
                  </a:solidFill>
                </a:rPr>
                <a:t>Fonctionnement</a:t>
              </a:r>
            </a:p>
          </p:txBody>
        </p:sp>
        <p:sp>
          <p:nvSpPr>
            <p:cNvPr id="17" name="Rectangle : coins arrondis 16">
              <a:extLst>
                <a:ext uri="{FF2B5EF4-FFF2-40B4-BE49-F238E27FC236}">
                  <a16:creationId xmlns:a16="http://schemas.microsoft.com/office/drawing/2014/main" id="{82F48A5D-5B77-A6AD-F34F-87D192F22A6C}"/>
                </a:ext>
              </a:extLst>
            </p:cNvPr>
            <p:cNvSpPr/>
            <p:nvPr/>
          </p:nvSpPr>
          <p:spPr>
            <a:xfrm>
              <a:off x="8429668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rgbClr val="C4C7D6"/>
                  </a:solidFill>
                </a:rPr>
                <a:t>Offre</a:t>
              </a:r>
            </a:p>
          </p:txBody>
        </p:sp>
        <p:sp>
          <p:nvSpPr>
            <p:cNvPr id="18" name="Rectangle : coins arrondis 17">
              <a:extLst>
                <a:ext uri="{FF2B5EF4-FFF2-40B4-BE49-F238E27FC236}">
                  <a16:creationId xmlns:a16="http://schemas.microsoft.com/office/drawing/2014/main" id="{BB708C0D-4540-C624-8918-F4602102EC8C}"/>
                </a:ext>
              </a:extLst>
            </p:cNvPr>
            <p:cNvSpPr/>
            <p:nvPr/>
          </p:nvSpPr>
          <p:spPr>
            <a:xfrm>
              <a:off x="4841706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rgbClr val="C4C7D6"/>
                  </a:solidFill>
                </a:rPr>
                <a:t>Solution</a:t>
              </a:r>
            </a:p>
          </p:txBody>
        </p:sp>
        <p:sp>
          <p:nvSpPr>
            <p:cNvPr id="19" name="Rectangle : coins arrondis 18">
              <a:extLst>
                <a:ext uri="{FF2B5EF4-FFF2-40B4-BE49-F238E27FC236}">
                  <a16:creationId xmlns:a16="http://schemas.microsoft.com/office/drawing/2014/main" id="{3533B787-FCC4-8443-B457-C540B27C44C8}"/>
                </a:ext>
              </a:extLst>
            </p:cNvPr>
            <p:cNvSpPr/>
            <p:nvPr/>
          </p:nvSpPr>
          <p:spPr>
            <a:xfrm>
              <a:off x="10223649" y="406400"/>
              <a:ext cx="1474942" cy="359228"/>
            </a:xfrm>
            <a:prstGeom prst="roundRect">
              <a:avLst>
                <a:gd name="adj" fmla="val 50000"/>
              </a:avLst>
            </a:prstGeom>
            <a:solidFill>
              <a:srgbClr val="4E966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chemeClr val="bg1"/>
                  </a:solidFill>
                  <a:latin typeface="Montserrat Alternates SemiBold" panose="00000700000000000000" pitchFamily="2" charset="0"/>
                </a:rPr>
                <a:t>Fondateur</a:t>
              </a:r>
            </a:p>
          </p:txBody>
        </p:sp>
      </p:grpSp>
      <p:sp>
        <p:nvSpPr>
          <p:cNvPr id="3" name="ZoneTexte 2">
            <a:extLst>
              <a:ext uri="{FF2B5EF4-FFF2-40B4-BE49-F238E27FC236}">
                <a16:creationId xmlns:a16="http://schemas.microsoft.com/office/drawing/2014/main" id="{8198DED6-06A2-5E2D-1FAC-7AD5DA99FE66}"/>
              </a:ext>
            </a:extLst>
          </p:cNvPr>
          <p:cNvSpPr txBox="1"/>
          <p:nvPr/>
        </p:nvSpPr>
        <p:spPr>
          <a:xfrm>
            <a:off x="732324" y="1461867"/>
            <a:ext cx="4329711" cy="43088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fr-FR"/>
            </a:defPPr>
            <a:lvl1pPr algn="ctr">
              <a:defRPr sz="2800" b="1" cap="all">
                <a:solidFill>
                  <a:srgbClr val="4E9664"/>
                </a:solidFill>
                <a:latin typeface="+mj-lt"/>
              </a:defRPr>
            </a:lvl1pPr>
          </a:lstStyle>
          <a:p>
            <a:pPr algn="l"/>
            <a:r>
              <a:rPr lang="fr-FR"/>
              <a:t>20 ans de savoir-faire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79EFB970-A863-AC9D-C9A3-4C064B47E307}"/>
              </a:ext>
            </a:extLst>
          </p:cNvPr>
          <p:cNvSpPr txBox="1"/>
          <p:nvPr/>
        </p:nvSpPr>
        <p:spPr>
          <a:xfrm>
            <a:off x="732324" y="1924551"/>
            <a:ext cx="631583" cy="3077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fr-FR"/>
            </a:defPPr>
            <a:lvl1pPr algn="ctr">
              <a:defRPr sz="2400">
                <a:solidFill>
                  <a:srgbClr val="444A64"/>
                </a:solidFill>
                <a:latin typeface="Montserrat Alternates SemiBold" panose="00000700000000000000" pitchFamily="2" charset="0"/>
              </a:defRPr>
            </a:lvl1pPr>
          </a:lstStyle>
          <a:p>
            <a:pPr algn="l"/>
            <a:r>
              <a:rPr lang="fr-FR" sz="2000"/>
              <a:t>avec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7C1357AD-C7A2-29E6-081F-E95EFB9DD182}"/>
              </a:ext>
            </a:extLst>
          </p:cNvPr>
          <p:cNvSpPr txBox="1"/>
          <p:nvPr/>
        </p:nvSpPr>
        <p:spPr>
          <a:xfrm>
            <a:off x="732324" y="2264125"/>
            <a:ext cx="3473708" cy="43088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fr-FR"/>
            </a:defPPr>
            <a:lvl1pPr algn="ctr">
              <a:defRPr sz="2800" b="1" cap="all">
                <a:solidFill>
                  <a:srgbClr val="4E9664"/>
                </a:solidFill>
                <a:latin typeface="+mj-lt"/>
              </a:defRPr>
            </a:lvl1pPr>
          </a:lstStyle>
          <a:p>
            <a:pPr algn="l"/>
            <a:r>
              <a:rPr lang="fr-FR"/>
              <a:t>un désir profond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994BC51-3290-78D0-7E24-C821C6784783}"/>
              </a:ext>
            </a:extLst>
          </p:cNvPr>
          <p:cNvSpPr txBox="1"/>
          <p:nvPr/>
        </p:nvSpPr>
        <p:spPr>
          <a:xfrm>
            <a:off x="732324" y="2726809"/>
            <a:ext cx="2343590" cy="43088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fr-FR"/>
            </a:defPPr>
            <a:lvl1pPr algn="ctr">
              <a:defRPr sz="2800" b="1" cap="all">
                <a:solidFill>
                  <a:srgbClr val="4E9664"/>
                </a:solidFill>
                <a:latin typeface="+mj-lt"/>
              </a:defRPr>
            </a:lvl1pPr>
          </a:lstStyle>
          <a:p>
            <a:pPr algn="l"/>
            <a:r>
              <a:rPr lang="fr-FR"/>
              <a:t>de réécrire </a:t>
            </a: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FFBB595E-EA37-C5CD-7EC0-9E59739FCFBC}"/>
              </a:ext>
            </a:extLst>
          </p:cNvPr>
          <p:cNvSpPr/>
          <p:nvPr/>
        </p:nvSpPr>
        <p:spPr>
          <a:xfrm>
            <a:off x="856823" y="4215054"/>
            <a:ext cx="1770263" cy="1770263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1" name="Image 30">
            <a:extLst>
              <a:ext uri="{FF2B5EF4-FFF2-40B4-BE49-F238E27FC236}">
                <a16:creationId xmlns:a16="http://schemas.microsoft.com/office/drawing/2014/main" id="{FDC163FA-142B-80FA-1FDC-51EA7BD5C3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8954" y="3599544"/>
            <a:ext cx="1648222" cy="2474686"/>
          </a:xfrm>
          <a:prstGeom prst="rect">
            <a:avLst/>
          </a:prstGeom>
        </p:spPr>
      </p:pic>
      <p:sp>
        <p:nvSpPr>
          <p:cNvPr id="94" name="ZoneTexte 93">
            <a:extLst>
              <a:ext uri="{FF2B5EF4-FFF2-40B4-BE49-F238E27FC236}">
                <a16:creationId xmlns:a16="http://schemas.microsoft.com/office/drawing/2014/main" id="{CEF54598-5E10-FD4F-DFDA-AEE89B44C016}"/>
              </a:ext>
            </a:extLst>
          </p:cNvPr>
          <p:cNvSpPr txBox="1"/>
          <p:nvPr/>
        </p:nvSpPr>
        <p:spPr>
          <a:xfrm>
            <a:off x="732324" y="3189494"/>
            <a:ext cx="3416000" cy="43088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fr-FR"/>
            </a:defPPr>
            <a:lvl1pPr algn="ctr">
              <a:defRPr sz="2800" b="1" cap="all">
                <a:solidFill>
                  <a:srgbClr val="4E9664"/>
                </a:solidFill>
                <a:latin typeface="+mj-lt"/>
              </a:defRPr>
            </a:lvl1pPr>
          </a:lstStyle>
          <a:p>
            <a:pPr algn="l"/>
            <a:r>
              <a:rPr lang="fr-FR"/>
              <a:t>les règles du jeu</a:t>
            </a:r>
          </a:p>
        </p:txBody>
      </p:sp>
      <p:grpSp>
        <p:nvGrpSpPr>
          <p:cNvPr id="136" name="Groupe 135">
            <a:extLst>
              <a:ext uri="{FF2B5EF4-FFF2-40B4-BE49-F238E27FC236}">
                <a16:creationId xmlns:a16="http://schemas.microsoft.com/office/drawing/2014/main" id="{18A01AF8-CD39-3E3F-DACE-D5D8008D7F18}"/>
              </a:ext>
            </a:extLst>
          </p:cNvPr>
          <p:cNvGrpSpPr/>
          <p:nvPr/>
        </p:nvGrpSpPr>
        <p:grpSpPr>
          <a:xfrm>
            <a:off x="6986814" y="1122293"/>
            <a:ext cx="4876877" cy="2047943"/>
            <a:chOff x="6986814" y="1122293"/>
            <a:chExt cx="4876877" cy="2047943"/>
          </a:xfrm>
        </p:grpSpPr>
        <p:sp>
          <p:nvSpPr>
            <p:cNvPr id="87" name="ZoneTexte 86">
              <a:extLst>
                <a:ext uri="{FF2B5EF4-FFF2-40B4-BE49-F238E27FC236}">
                  <a16:creationId xmlns:a16="http://schemas.microsoft.com/office/drawing/2014/main" id="{F9CDCA3C-D5CD-3E45-D2D6-2A333A3B3428}"/>
                </a:ext>
              </a:extLst>
            </p:cNvPr>
            <p:cNvSpPr txBox="1"/>
            <p:nvPr/>
          </p:nvSpPr>
          <p:spPr>
            <a:xfrm>
              <a:off x="7404908" y="1122293"/>
              <a:ext cx="4325433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1600" b="1"/>
                <a:t>Des expériences business marquantes  </a:t>
              </a:r>
              <a:endParaRPr lang="fr-FR" sz="1600" b="1">
                <a:highlight>
                  <a:srgbClr val="FFFF00"/>
                </a:highlight>
              </a:endParaRPr>
            </a:p>
          </p:txBody>
        </p:sp>
        <p:sp>
          <p:nvSpPr>
            <p:cNvPr id="89" name="ZoneTexte 88">
              <a:extLst>
                <a:ext uri="{FF2B5EF4-FFF2-40B4-BE49-F238E27FC236}">
                  <a16:creationId xmlns:a16="http://schemas.microsoft.com/office/drawing/2014/main" id="{772BE124-0CA0-2EB7-FA16-B1364BE05118}"/>
                </a:ext>
              </a:extLst>
            </p:cNvPr>
            <p:cNvSpPr txBox="1"/>
            <p:nvPr/>
          </p:nvSpPr>
          <p:spPr>
            <a:xfrm>
              <a:off x="6986814" y="1492854"/>
              <a:ext cx="4876877" cy="16773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marR="0" lvl="0" indent="-285750" algn="l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kumimoji="0" lang="fr-FR" altLang="fr-FR" sz="1100" b="1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20 ans d'expérience </a:t>
              </a:r>
              <a:r>
                <a:rPr kumimoji="0" lang="fr-FR" altLang="fr-FR" sz="11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dans l'assurance, </a:t>
              </a:r>
              <a:r>
                <a:rPr lang="fr-FR" altLang="fr-FR" sz="1100">
                  <a:solidFill>
                    <a:schemeClr val="tx2"/>
                  </a:solidFill>
                </a:rPr>
                <a:t>e</a:t>
              </a:r>
              <a:r>
                <a:rPr kumimoji="0" lang="fr-FR" altLang="fr-FR" sz="11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n compagnies </a:t>
              </a:r>
              <a:br>
                <a:rPr kumimoji="0" lang="fr-FR" altLang="fr-FR" sz="11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</a:br>
              <a:r>
                <a:rPr kumimoji="0" lang="fr-FR" altLang="fr-FR" sz="11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&amp; cabinets de courtage</a:t>
              </a:r>
              <a:endParaRPr lang="fr-FR" altLang="fr-FR" sz="1100">
                <a:solidFill>
                  <a:schemeClr val="tx2"/>
                </a:solidFill>
              </a:endParaRPr>
            </a:p>
            <a:p>
              <a:pPr marL="285750" indent="-285750" eaLnBrk="0" fontAlgn="base" hangingPunct="0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kumimoji="0" lang="fr-FR" altLang="fr-FR" sz="1100" b="1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Expérience enrichissante </a:t>
              </a:r>
              <a:r>
                <a:rPr kumimoji="0" lang="fr-FR" altLang="fr-FR" sz="11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dans</a:t>
              </a:r>
              <a:r>
                <a:rPr lang="fr-FR" altLang="fr-FR" sz="1100">
                  <a:solidFill>
                    <a:schemeClr val="tx2"/>
                  </a:solidFill>
                </a:rPr>
                <a:t> l’a</a:t>
              </a:r>
              <a:r>
                <a:rPr kumimoji="0" lang="fr-FR" altLang="fr-FR" sz="11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ccompagnement d’entreprises sur la protection sociale et mise en place de régimes frais de santé</a:t>
              </a:r>
              <a:endParaRPr lang="fr-FR" altLang="fr-FR" sz="1100">
                <a:solidFill>
                  <a:schemeClr val="tx2"/>
                </a:solidFill>
              </a:endParaRPr>
            </a:p>
            <a:p>
              <a:pPr marL="285750" indent="-285750" eaLnBrk="0" fontAlgn="base" hangingPunct="0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kumimoji="0" lang="fr-FR" altLang="fr-FR" sz="1100" b="1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Expert</a:t>
              </a:r>
              <a:r>
                <a:rPr kumimoji="0" lang="fr-FR" altLang="fr-FR" sz="11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 des sujets liés à la complémentaire santé</a:t>
              </a:r>
            </a:p>
            <a:p>
              <a:pPr marL="285750" marR="0" lvl="0" indent="-285750" algn="l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kumimoji="0" lang="fr-FR" altLang="fr-FR" sz="1100" b="1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Anciennement</a:t>
              </a:r>
              <a:r>
                <a:rPr lang="fr-FR" altLang="fr-FR" sz="1100" b="1">
                  <a:solidFill>
                    <a:schemeClr val="tx2"/>
                  </a:solidFill>
                </a:rPr>
                <a:t> associé</a:t>
              </a:r>
              <a:r>
                <a:rPr kumimoji="0" lang="fr-FR" altLang="fr-FR" sz="1100" b="1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 </a:t>
              </a:r>
              <a:r>
                <a:rPr kumimoji="0" lang="fr-FR" altLang="fr-FR" sz="11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chez +Simple, acteur majeur</a:t>
              </a:r>
              <a:br>
                <a:rPr kumimoji="0" lang="fr-FR" altLang="fr-FR" sz="11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</a:br>
              <a:r>
                <a:rPr kumimoji="0" lang="fr-FR" altLang="fr-FR" sz="11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du courtage digital en Europe</a:t>
              </a:r>
            </a:p>
          </p:txBody>
        </p:sp>
        <p:grpSp>
          <p:nvGrpSpPr>
            <p:cNvPr id="109" name="Groupe 108">
              <a:extLst>
                <a:ext uri="{FF2B5EF4-FFF2-40B4-BE49-F238E27FC236}">
                  <a16:creationId xmlns:a16="http://schemas.microsoft.com/office/drawing/2014/main" id="{FA67F492-148A-DFFA-79B5-968F9EA1A0AC}"/>
                </a:ext>
              </a:extLst>
            </p:cNvPr>
            <p:cNvGrpSpPr/>
            <p:nvPr/>
          </p:nvGrpSpPr>
          <p:grpSpPr>
            <a:xfrm>
              <a:off x="7052429" y="1142999"/>
              <a:ext cx="259595" cy="227011"/>
              <a:chOff x="3800475" y="1419225"/>
              <a:chExt cx="4591050" cy="4014786"/>
            </a:xfrm>
          </p:grpSpPr>
          <p:sp>
            <p:nvSpPr>
              <p:cNvPr id="105" name="Forme libre : forme 104">
                <a:extLst>
                  <a:ext uri="{FF2B5EF4-FFF2-40B4-BE49-F238E27FC236}">
                    <a16:creationId xmlns:a16="http://schemas.microsoft.com/office/drawing/2014/main" id="{EE48A44F-287F-A926-7DD8-53A0D30D16F3}"/>
                  </a:ext>
                </a:extLst>
              </p:cNvPr>
              <p:cNvSpPr/>
              <p:nvPr/>
            </p:nvSpPr>
            <p:spPr>
              <a:xfrm>
                <a:off x="4991100" y="1419225"/>
                <a:ext cx="2209800" cy="731043"/>
              </a:xfrm>
              <a:custGeom>
                <a:avLst/>
                <a:gdLst>
                  <a:gd name="connsiteX0" fmla="*/ 0 w 2209800"/>
                  <a:gd name="connsiteY0" fmla="*/ 731044 h 731043"/>
                  <a:gd name="connsiteX1" fmla="*/ 0 w 2209800"/>
                  <a:gd name="connsiteY1" fmla="*/ 306896 h 731043"/>
                  <a:gd name="connsiteX2" fmla="*/ 306896 w 2209800"/>
                  <a:gd name="connsiteY2" fmla="*/ 0 h 731043"/>
                  <a:gd name="connsiteX3" fmla="*/ 1902905 w 2209800"/>
                  <a:gd name="connsiteY3" fmla="*/ 0 h 731043"/>
                  <a:gd name="connsiteX4" fmla="*/ 2209800 w 2209800"/>
                  <a:gd name="connsiteY4" fmla="*/ 306896 h 731043"/>
                  <a:gd name="connsiteX5" fmla="*/ 2209800 w 2209800"/>
                  <a:gd name="connsiteY5" fmla="*/ 731044 h 731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09800" h="731043">
                    <a:moveTo>
                      <a:pt x="0" y="731044"/>
                    </a:moveTo>
                    <a:lnTo>
                      <a:pt x="0" y="306896"/>
                    </a:lnTo>
                    <a:cubicBezTo>
                      <a:pt x="0" y="138113"/>
                      <a:pt x="138113" y="0"/>
                      <a:pt x="306896" y="0"/>
                    </a:cubicBezTo>
                    <a:lnTo>
                      <a:pt x="1902905" y="0"/>
                    </a:lnTo>
                    <a:cubicBezTo>
                      <a:pt x="2071688" y="0"/>
                      <a:pt x="2209800" y="138113"/>
                      <a:pt x="2209800" y="306896"/>
                    </a:cubicBezTo>
                    <a:lnTo>
                      <a:pt x="2209800" y="731044"/>
                    </a:lnTo>
                  </a:path>
                </a:pathLst>
              </a:custGeom>
              <a:noFill/>
              <a:ln w="254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06" name="Forme libre : forme 105">
                <a:extLst>
                  <a:ext uri="{FF2B5EF4-FFF2-40B4-BE49-F238E27FC236}">
                    <a16:creationId xmlns:a16="http://schemas.microsoft.com/office/drawing/2014/main" id="{AD6BACF4-7131-D110-FAD1-1DE153BD2344}"/>
                  </a:ext>
                </a:extLst>
              </p:cNvPr>
              <p:cNvSpPr/>
              <p:nvPr/>
            </p:nvSpPr>
            <p:spPr>
              <a:xfrm>
                <a:off x="3990975" y="3521868"/>
                <a:ext cx="4210050" cy="1912143"/>
              </a:xfrm>
              <a:custGeom>
                <a:avLst/>
                <a:gdLst>
                  <a:gd name="connsiteX0" fmla="*/ 4210050 w 4210050"/>
                  <a:gd name="connsiteY0" fmla="*/ 0 h 1912143"/>
                  <a:gd name="connsiteX1" fmla="*/ 4210050 w 4210050"/>
                  <a:gd name="connsiteY1" fmla="*/ 1626394 h 1912143"/>
                  <a:gd name="connsiteX2" fmla="*/ 3924300 w 4210050"/>
                  <a:gd name="connsiteY2" fmla="*/ 1912144 h 1912143"/>
                  <a:gd name="connsiteX3" fmla="*/ 285750 w 4210050"/>
                  <a:gd name="connsiteY3" fmla="*/ 1912144 h 1912143"/>
                  <a:gd name="connsiteX4" fmla="*/ 0 w 4210050"/>
                  <a:gd name="connsiteY4" fmla="*/ 1626394 h 1912143"/>
                  <a:gd name="connsiteX5" fmla="*/ 0 w 4210050"/>
                  <a:gd name="connsiteY5" fmla="*/ 9525 h 1912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210050" h="1912143">
                    <a:moveTo>
                      <a:pt x="4210050" y="0"/>
                    </a:moveTo>
                    <a:lnTo>
                      <a:pt x="4210050" y="1626394"/>
                    </a:lnTo>
                    <a:cubicBezTo>
                      <a:pt x="4210050" y="1783556"/>
                      <a:pt x="4081463" y="1912144"/>
                      <a:pt x="3924300" y="1912144"/>
                    </a:cubicBezTo>
                    <a:lnTo>
                      <a:pt x="285750" y="1912144"/>
                    </a:lnTo>
                    <a:cubicBezTo>
                      <a:pt x="128588" y="1912144"/>
                      <a:pt x="0" y="1783556"/>
                      <a:pt x="0" y="1626394"/>
                    </a:cubicBezTo>
                    <a:lnTo>
                      <a:pt x="0" y="9525"/>
                    </a:lnTo>
                  </a:path>
                </a:pathLst>
              </a:custGeom>
              <a:noFill/>
              <a:ln w="254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07" name="Forme libre : forme 106">
                <a:extLst>
                  <a:ext uri="{FF2B5EF4-FFF2-40B4-BE49-F238E27FC236}">
                    <a16:creationId xmlns:a16="http://schemas.microsoft.com/office/drawing/2014/main" id="{12C420BE-61FC-A398-78AF-A57A1D0F2EE7}"/>
                  </a:ext>
                </a:extLst>
              </p:cNvPr>
              <p:cNvSpPr/>
              <p:nvPr/>
            </p:nvSpPr>
            <p:spPr>
              <a:xfrm>
                <a:off x="3800475" y="2176462"/>
                <a:ext cx="4591050" cy="1827466"/>
              </a:xfrm>
              <a:custGeom>
                <a:avLst/>
                <a:gdLst>
                  <a:gd name="connsiteX0" fmla="*/ 1914525 w 4591050"/>
                  <a:gd name="connsiteY0" fmla="*/ 1826419 h 1827466"/>
                  <a:gd name="connsiteX1" fmla="*/ 0 w 4591050"/>
                  <a:gd name="connsiteY1" fmla="*/ 962025 h 1827466"/>
                  <a:gd name="connsiteX2" fmla="*/ 0 w 4591050"/>
                  <a:gd name="connsiteY2" fmla="*/ 285750 h 1827466"/>
                  <a:gd name="connsiteX3" fmla="*/ 285750 w 4591050"/>
                  <a:gd name="connsiteY3" fmla="*/ 0 h 1827466"/>
                  <a:gd name="connsiteX4" fmla="*/ 4305300 w 4591050"/>
                  <a:gd name="connsiteY4" fmla="*/ 0 h 1827466"/>
                  <a:gd name="connsiteX5" fmla="*/ 4591050 w 4591050"/>
                  <a:gd name="connsiteY5" fmla="*/ 285750 h 1827466"/>
                  <a:gd name="connsiteX6" fmla="*/ 4591050 w 4591050"/>
                  <a:gd name="connsiteY6" fmla="*/ 962025 h 1827466"/>
                  <a:gd name="connsiteX7" fmla="*/ 2657475 w 4591050"/>
                  <a:gd name="connsiteY7" fmla="*/ 1827466 h 1827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91050" h="1827466">
                    <a:moveTo>
                      <a:pt x="1914525" y="1826419"/>
                    </a:moveTo>
                    <a:cubicBezTo>
                      <a:pt x="906875" y="1768793"/>
                      <a:pt x="0" y="1480661"/>
                      <a:pt x="0" y="962025"/>
                    </a:cubicBezTo>
                    <a:lnTo>
                      <a:pt x="0" y="285750"/>
                    </a:lnTo>
                    <a:cubicBezTo>
                      <a:pt x="0" y="128397"/>
                      <a:pt x="128397" y="0"/>
                      <a:pt x="285750" y="0"/>
                    </a:cubicBezTo>
                    <a:lnTo>
                      <a:pt x="4305300" y="0"/>
                    </a:lnTo>
                    <a:cubicBezTo>
                      <a:pt x="4462653" y="0"/>
                      <a:pt x="4591050" y="128397"/>
                      <a:pt x="4591050" y="285750"/>
                    </a:cubicBezTo>
                    <a:lnTo>
                      <a:pt x="4591050" y="962025"/>
                    </a:lnTo>
                    <a:cubicBezTo>
                      <a:pt x="4591050" y="1483900"/>
                      <a:pt x="3672745" y="1772412"/>
                      <a:pt x="2657475" y="1827466"/>
                    </a:cubicBezTo>
                  </a:path>
                </a:pathLst>
              </a:custGeom>
              <a:noFill/>
              <a:ln w="254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08" name="Forme libre : forme 107">
                <a:extLst>
                  <a:ext uri="{FF2B5EF4-FFF2-40B4-BE49-F238E27FC236}">
                    <a16:creationId xmlns:a16="http://schemas.microsoft.com/office/drawing/2014/main" id="{227A3292-C1A1-DFDC-158A-45558A776305}"/>
                  </a:ext>
                </a:extLst>
              </p:cNvPr>
              <p:cNvSpPr/>
              <p:nvPr/>
            </p:nvSpPr>
            <p:spPr>
              <a:xfrm>
                <a:off x="5743575" y="3719512"/>
                <a:ext cx="704850" cy="657225"/>
              </a:xfrm>
              <a:custGeom>
                <a:avLst/>
                <a:gdLst>
                  <a:gd name="connsiteX0" fmla="*/ 0 w 704850"/>
                  <a:gd name="connsiteY0" fmla="*/ 0 h 657225"/>
                  <a:gd name="connsiteX1" fmla="*/ 704850 w 704850"/>
                  <a:gd name="connsiteY1" fmla="*/ 0 h 657225"/>
                  <a:gd name="connsiteX2" fmla="*/ 704850 w 704850"/>
                  <a:gd name="connsiteY2" fmla="*/ 328613 h 657225"/>
                  <a:gd name="connsiteX3" fmla="*/ 376238 w 704850"/>
                  <a:gd name="connsiteY3" fmla="*/ 657225 h 657225"/>
                  <a:gd name="connsiteX4" fmla="*/ 328613 w 704850"/>
                  <a:gd name="connsiteY4" fmla="*/ 657225 h 657225"/>
                  <a:gd name="connsiteX5" fmla="*/ 0 w 704850"/>
                  <a:gd name="connsiteY5" fmla="*/ 328613 h 657225"/>
                  <a:gd name="connsiteX6" fmla="*/ 0 w 704850"/>
                  <a:gd name="connsiteY6" fmla="*/ 0 h 657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04850" h="657225">
                    <a:moveTo>
                      <a:pt x="0" y="0"/>
                    </a:moveTo>
                    <a:lnTo>
                      <a:pt x="704850" y="0"/>
                    </a:lnTo>
                    <a:lnTo>
                      <a:pt x="704850" y="328613"/>
                    </a:lnTo>
                    <a:cubicBezTo>
                      <a:pt x="704850" y="509397"/>
                      <a:pt x="557022" y="657225"/>
                      <a:pt x="376238" y="657225"/>
                    </a:cubicBezTo>
                    <a:lnTo>
                      <a:pt x="328613" y="657225"/>
                    </a:lnTo>
                    <a:cubicBezTo>
                      <a:pt x="147828" y="657225"/>
                      <a:pt x="0" y="509397"/>
                      <a:pt x="0" y="328613"/>
                    </a:cubicBezTo>
                    <a:lnTo>
                      <a:pt x="0" y="0"/>
                    </a:lnTo>
                    <a:close/>
                  </a:path>
                </a:pathLst>
              </a:custGeom>
              <a:noFill/>
              <a:ln w="254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  <p:grpSp>
        <p:nvGrpSpPr>
          <p:cNvPr id="135" name="Groupe 134">
            <a:extLst>
              <a:ext uri="{FF2B5EF4-FFF2-40B4-BE49-F238E27FC236}">
                <a16:creationId xmlns:a16="http://schemas.microsoft.com/office/drawing/2014/main" id="{4507E50C-FD08-B35F-74C5-E43431482BDA}"/>
              </a:ext>
            </a:extLst>
          </p:cNvPr>
          <p:cNvGrpSpPr/>
          <p:nvPr/>
        </p:nvGrpSpPr>
        <p:grpSpPr>
          <a:xfrm>
            <a:off x="6986814" y="3500423"/>
            <a:ext cx="4876877" cy="1069839"/>
            <a:chOff x="6986814" y="3500423"/>
            <a:chExt cx="4876877" cy="1069839"/>
          </a:xfrm>
        </p:grpSpPr>
        <p:sp>
          <p:nvSpPr>
            <p:cNvPr id="90" name="ZoneTexte 89">
              <a:extLst>
                <a:ext uri="{FF2B5EF4-FFF2-40B4-BE49-F238E27FC236}">
                  <a16:creationId xmlns:a16="http://schemas.microsoft.com/office/drawing/2014/main" id="{8E36CF0E-2DFA-2DE1-2E89-431ED3EF1D43}"/>
                </a:ext>
              </a:extLst>
            </p:cNvPr>
            <p:cNvSpPr txBox="1"/>
            <p:nvPr/>
          </p:nvSpPr>
          <p:spPr>
            <a:xfrm>
              <a:off x="7404908" y="3522593"/>
              <a:ext cx="4325433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1600" b="1"/>
                <a:t>Un réseau bien établi </a:t>
              </a:r>
              <a:endParaRPr lang="fr-FR" sz="1600" b="1">
                <a:highlight>
                  <a:srgbClr val="FFFF00"/>
                </a:highlight>
              </a:endParaRPr>
            </a:p>
          </p:txBody>
        </p:sp>
        <p:sp>
          <p:nvSpPr>
            <p:cNvPr id="91" name="ZoneTexte 90">
              <a:extLst>
                <a:ext uri="{FF2B5EF4-FFF2-40B4-BE49-F238E27FC236}">
                  <a16:creationId xmlns:a16="http://schemas.microsoft.com/office/drawing/2014/main" id="{7BE6FBEB-170E-54A2-DB90-7CE9227A5A0C}"/>
                </a:ext>
              </a:extLst>
            </p:cNvPr>
            <p:cNvSpPr txBox="1"/>
            <p:nvPr/>
          </p:nvSpPr>
          <p:spPr>
            <a:xfrm>
              <a:off x="6986814" y="3893154"/>
              <a:ext cx="4876877" cy="67710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marR="0" lvl="0" indent="-285750" algn="l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kumimoji="0" lang="fr-FR" altLang="fr-FR" sz="1100" b="1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Membre</a:t>
              </a:r>
              <a:r>
                <a:rPr kumimoji="0" lang="fr-FR" altLang="fr-FR" sz="11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 du bureau de l'Union des Jeunes Assureurs </a:t>
              </a:r>
              <a:br>
                <a:rPr kumimoji="0" lang="fr-FR" altLang="fr-FR" sz="11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</a:br>
              <a:r>
                <a:rPr kumimoji="0" lang="fr-FR" altLang="fr-FR" sz="11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et Réassureurs Français (UJARF)</a:t>
              </a:r>
            </a:p>
            <a:p>
              <a:pPr marL="285750" marR="0" lvl="0" indent="-285750" algn="l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kumimoji="0" lang="fr-FR" altLang="fr-FR" sz="1100" b="1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Solide réseau </a:t>
              </a:r>
              <a:r>
                <a:rPr kumimoji="0" lang="fr-FR" altLang="fr-FR" sz="11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dans le secteur de l’assurance complémentaire</a:t>
              </a:r>
            </a:p>
          </p:txBody>
        </p:sp>
        <p:grpSp>
          <p:nvGrpSpPr>
            <p:cNvPr id="112" name="Graphique 110">
              <a:extLst>
                <a:ext uri="{FF2B5EF4-FFF2-40B4-BE49-F238E27FC236}">
                  <a16:creationId xmlns:a16="http://schemas.microsoft.com/office/drawing/2014/main" id="{CF13C929-7D86-E021-D307-8BB13A2577A1}"/>
                </a:ext>
              </a:extLst>
            </p:cNvPr>
            <p:cNvGrpSpPr/>
            <p:nvPr/>
          </p:nvGrpSpPr>
          <p:grpSpPr>
            <a:xfrm>
              <a:off x="7046594" y="3500423"/>
              <a:ext cx="311120" cy="311114"/>
              <a:chOff x="3033712" y="366712"/>
              <a:chExt cx="6121431" cy="6121336"/>
            </a:xfrm>
            <a:noFill/>
          </p:grpSpPr>
          <p:sp>
            <p:nvSpPr>
              <p:cNvPr id="113" name="Forme libre : forme 112">
                <a:extLst>
                  <a:ext uri="{FF2B5EF4-FFF2-40B4-BE49-F238E27FC236}">
                    <a16:creationId xmlns:a16="http://schemas.microsoft.com/office/drawing/2014/main" id="{90E8F2BC-F822-51BD-AAFB-6C5071E12A28}"/>
                  </a:ext>
                </a:extLst>
              </p:cNvPr>
              <p:cNvSpPr/>
              <p:nvPr/>
            </p:nvSpPr>
            <p:spPr>
              <a:xfrm>
                <a:off x="3033712" y="5303805"/>
                <a:ext cx="1944052" cy="1184242"/>
              </a:xfrm>
              <a:custGeom>
                <a:avLst/>
                <a:gdLst>
                  <a:gd name="connsiteX0" fmla="*/ 972026 w 1944052"/>
                  <a:gd name="connsiteY0" fmla="*/ 0 h 1184242"/>
                  <a:gd name="connsiteX1" fmla="*/ 972026 w 1944052"/>
                  <a:gd name="connsiteY1" fmla="*/ 0 h 1184242"/>
                  <a:gd name="connsiteX2" fmla="*/ 0 w 1944052"/>
                  <a:gd name="connsiteY2" fmla="*/ 972026 h 1184242"/>
                  <a:gd name="connsiteX3" fmla="*/ 0 w 1944052"/>
                  <a:gd name="connsiteY3" fmla="*/ 1184243 h 1184242"/>
                  <a:gd name="connsiteX4" fmla="*/ 1944053 w 1944052"/>
                  <a:gd name="connsiteY4" fmla="*/ 1184243 h 1184242"/>
                  <a:gd name="connsiteX5" fmla="*/ 1944053 w 1944052"/>
                  <a:gd name="connsiteY5" fmla="*/ 972026 h 1184242"/>
                  <a:gd name="connsiteX6" fmla="*/ 972026 w 1944052"/>
                  <a:gd name="connsiteY6" fmla="*/ 0 h 1184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44052" h="1184242">
                    <a:moveTo>
                      <a:pt x="972026" y="0"/>
                    </a:moveTo>
                    <a:lnTo>
                      <a:pt x="972026" y="0"/>
                    </a:lnTo>
                    <a:cubicBezTo>
                      <a:pt x="435197" y="0"/>
                      <a:pt x="0" y="435197"/>
                      <a:pt x="0" y="972026"/>
                    </a:cubicBezTo>
                    <a:lnTo>
                      <a:pt x="0" y="1184243"/>
                    </a:lnTo>
                    <a:lnTo>
                      <a:pt x="1944053" y="1184243"/>
                    </a:lnTo>
                    <a:lnTo>
                      <a:pt x="1944053" y="972026"/>
                    </a:lnTo>
                    <a:cubicBezTo>
                      <a:pt x="1944053" y="435197"/>
                      <a:pt x="1508855" y="0"/>
                      <a:pt x="972026" y="0"/>
                    </a:cubicBezTo>
                    <a:close/>
                  </a:path>
                </a:pathLst>
              </a:custGeom>
              <a:noFill/>
              <a:ln w="254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14" name="Forme libre : forme 113">
                <a:extLst>
                  <a:ext uri="{FF2B5EF4-FFF2-40B4-BE49-F238E27FC236}">
                    <a16:creationId xmlns:a16="http://schemas.microsoft.com/office/drawing/2014/main" id="{40572BA4-173A-2B95-6614-6303C9961D85}"/>
                  </a:ext>
                </a:extLst>
              </p:cNvPr>
              <p:cNvSpPr/>
              <p:nvPr/>
            </p:nvSpPr>
            <p:spPr>
              <a:xfrm>
                <a:off x="3434238" y="4160805"/>
                <a:ext cx="1143000" cy="1143000"/>
              </a:xfrm>
              <a:custGeom>
                <a:avLst/>
                <a:gdLst>
                  <a:gd name="connsiteX0" fmla="*/ 1143000 w 1143000"/>
                  <a:gd name="connsiteY0" fmla="*/ 571500 h 1143000"/>
                  <a:gd name="connsiteX1" fmla="*/ 571500 w 1143000"/>
                  <a:gd name="connsiteY1" fmla="*/ 1143000 h 1143000"/>
                  <a:gd name="connsiteX2" fmla="*/ 0 w 1143000"/>
                  <a:gd name="connsiteY2" fmla="*/ 571500 h 1143000"/>
                  <a:gd name="connsiteX3" fmla="*/ 571500 w 1143000"/>
                  <a:gd name="connsiteY3" fmla="*/ 0 h 1143000"/>
                  <a:gd name="connsiteX4" fmla="*/ 1143000 w 1143000"/>
                  <a:gd name="connsiteY4" fmla="*/ 571500 h 1143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3000" h="1143000">
                    <a:moveTo>
                      <a:pt x="1143000" y="571500"/>
                    </a:moveTo>
                    <a:cubicBezTo>
                      <a:pt x="1143000" y="887159"/>
                      <a:pt x="887159" y="1143000"/>
                      <a:pt x="571500" y="1143000"/>
                    </a:cubicBezTo>
                    <a:cubicBezTo>
                      <a:pt x="255842" y="1143000"/>
                      <a:pt x="0" y="887159"/>
                      <a:pt x="0" y="571500"/>
                    </a:cubicBezTo>
                    <a:cubicBezTo>
                      <a:pt x="0" y="255842"/>
                      <a:pt x="255842" y="0"/>
                      <a:pt x="571500" y="0"/>
                    </a:cubicBezTo>
                    <a:cubicBezTo>
                      <a:pt x="887159" y="0"/>
                      <a:pt x="1143000" y="255842"/>
                      <a:pt x="1143000" y="571500"/>
                    </a:cubicBezTo>
                    <a:close/>
                  </a:path>
                </a:pathLst>
              </a:custGeom>
              <a:noFill/>
              <a:ln w="254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15" name="Forme libre : forme 114">
                <a:extLst>
                  <a:ext uri="{FF2B5EF4-FFF2-40B4-BE49-F238E27FC236}">
                    <a16:creationId xmlns:a16="http://schemas.microsoft.com/office/drawing/2014/main" id="{168C6D87-5829-E266-20A6-4B2291AD67E6}"/>
                  </a:ext>
                </a:extLst>
              </p:cNvPr>
              <p:cNvSpPr/>
              <p:nvPr/>
            </p:nvSpPr>
            <p:spPr>
              <a:xfrm>
                <a:off x="7211091" y="5303805"/>
                <a:ext cx="1944052" cy="1184242"/>
              </a:xfrm>
              <a:custGeom>
                <a:avLst/>
                <a:gdLst>
                  <a:gd name="connsiteX0" fmla="*/ 972026 w 1944052"/>
                  <a:gd name="connsiteY0" fmla="*/ 0 h 1184242"/>
                  <a:gd name="connsiteX1" fmla="*/ 972026 w 1944052"/>
                  <a:gd name="connsiteY1" fmla="*/ 0 h 1184242"/>
                  <a:gd name="connsiteX2" fmla="*/ 0 w 1944052"/>
                  <a:gd name="connsiteY2" fmla="*/ 972026 h 1184242"/>
                  <a:gd name="connsiteX3" fmla="*/ 0 w 1944052"/>
                  <a:gd name="connsiteY3" fmla="*/ 1184243 h 1184242"/>
                  <a:gd name="connsiteX4" fmla="*/ 1944052 w 1944052"/>
                  <a:gd name="connsiteY4" fmla="*/ 1184243 h 1184242"/>
                  <a:gd name="connsiteX5" fmla="*/ 1944052 w 1944052"/>
                  <a:gd name="connsiteY5" fmla="*/ 972026 h 1184242"/>
                  <a:gd name="connsiteX6" fmla="*/ 972026 w 1944052"/>
                  <a:gd name="connsiteY6" fmla="*/ 0 h 1184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44052" h="1184242">
                    <a:moveTo>
                      <a:pt x="972026" y="0"/>
                    </a:moveTo>
                    <a:lnTo>
                      <a:pt x="972026" y="0"/>
                    </a:lnTo>
                    <a:cubicBezTo>
                      <a:pt x="435197" y="0"/>
                      <a:pt x="0" y="435197"/>
                      <a:pt x="0" y="972026"/>
                    </a:cubicBezTo>
                    <a:lnTo>
                      <a:pt x="0" y="1184243"/>
                    </a:lnTo>
                    <a:lnTo>
                      <a:pt x="1944052" y="1184243"/>
                    </a:lnTo>
                    <a:lnTo>
                      <a:pt x="1944052" y="972026"/>
                    </a:lnTo>
                    <a:cubicBezTo>
                      <a:pt x="1944052" y="435197"/>
                      <a:pt x="1508855" y="0"/>
                      <a:pt x="972026" y="0"/>
                    </a:cubicBezTo>
                    <a:close/>
                  </a:path>
                </a:pathLst>
              </a:custGeom>
              <a:noFill/>
              <a:ln w="254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16" name="Forme libre : forme 115">
                <a:extLst>
                  <a:ext uri="{FF2B5EF4-FFF2-40B4-BE49-F238E27FC236}">
                    <a16:creationId xmlns:a16="http://schemas.microsoft.com/office/drawing/2014/main" id="{6B939936-704A-4439-44D7-0BBDB29D2A84}"/>
                  </a:ext>
                </a:extLst>
              </p:cNvPr>
              <p:cNvSpPr/>
              <p:nvPr/>
            </p:nvSpPr>
            <p:spPr>
              <a:xfrm>
                <a:off x="7611617" y="4160805"/>
                <a:ext cx="1143000" cy="1143000"/>
              </a:xfrm>
              <a:custGeom>
                <a:avLst/>
                <a:gdLst>
                  <a:gd name="connsiteX0" fmla="*/ 1143000 w 1143000"/>
                  <a:gd name="connsiteY0" fmla="*/ 571500 h 1143000"/>
                  <a:gd name="connsiteX1" fmla="*/ 571500 w 1143000"/>
                  <a:gd name="connsiteY1" fmla="*/ 1143000 h 1143000"/>
                  <a:gd name="connsiteX2" fmla="*/ 0 w 1143000"/>
                  <a:gd name="connsiteY2" fmla="*/ 571500 h 1143000"/>
                  <a:gd name="connsiteX3" fmla="*/ 571500 w 1143000"/>
                  <a:gd name="connsiteY3" fmla="*/ 0 h 1143000"/>
                  <a:gd name="connsiteX4" fmla="*/ 1143000 w 1143000"/>
                  <a:gd name="connsiteY4" fmla="*/ 571500 h 1143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3000" h="1143000">
                    <a:moveTo>
                      <a:pt x="1143000" y="571500"/>
                    </a:moveTo>
                    <a:cubicBezTo>
                      <a:pt x="1143000" y="887159"/>
                      <a:pt x="887159" y="1143000"/>
                      <a:pt x="571500" y="1143000"/>
                    </a:cubicBezTo>
                    <a:cubicBezTo>
                      <a:pt x="255841" y="1143000"/>
                      <a:pt x="0" y="887159"/>
                      <a:pt x="0" y="571500"/>
                    </a:cubicBezTo>
                    <a:cubicBezTo>
                      <a:pt x="0" y="255842"/>
                      <a:pt x="255841" y="0"/>
                      <a:pt x="571500" y="0"/>
                    </a:cubicBezTo>
                    <a:cubicBezTo>
                      <a:pt x="887159" y="0"/>
                      <a:pt x="1143000" y="255842"/>
                      <a:pt x="1143000" y="571500"/>
                    </a:cubicBezTo>
                    <a:close/>
                  </a:path>
                </a:pathLst>
              </a:custGeom>
              <a:noFill/>
              <a:ln w="254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17" name="Forme libre : forme 116">
                <a:extLst>
                  <a:ext uri="{FF2B5EF4-FFF2-40B4-BE49-F238E27FC236}">
                    <a16:creationId xmlns:a16="http://schemas.microsoft.com/office/drawing/2014/main" id="{F2638B91-67C4-FF11-CA9D-335612C554B8}"/>
                  </a:ext>
                </a:extLst>
              </p:cNvPr>
              <p:cNvSpPr/>
              <p:nvPr/>
            </p:nvSpPr>
            <p:spPr>
              <a:xfrm>
                <a:off x="5122353" y="1509712"/>
                <a:ext cx="1944052" cy="1184243"/>
              </a:xfrm>
              <a:custGeom>
                <a:avLst/>
                <a:gdLst>
                  <a:gd name="connsiteX0" fmla="*/ 972026 w 1944052"/>
                  <a:gd name="connsiteY0" fmla="*/ 0 h 1184243"/>
                  <a:gd name="connsiteX1" fmla="*/ 972026 w 1944052"/>
                  <a:gd name="connsiteY1" fmla="*/ 0 h 1184243"/>
                  <a:gd name="connsiteX2" fmla="*/ 0 w 1944052"/>
                  <a:gd name="connsiteY2" fmla="*/ 972026 h 1184243"/>
                  <a:gd name="connsiteX3" fmla="*/ 0 w 1944052"/>
                  <a:gd name="connsiteY3" fmla="*/ 1184243 h 1184243"/>
                  <a:gd name="connsiteX4" fmla="*/ 1944053 w 1944052"/>
                  <a:gd name="connsiteY4" fmla="*/ 1184243 h 1184243"/>
                  <a:gd name="connsiteX5" fmla="*/ 1944053 w 1944052"/>
                  <a:gd name="connsiteY5" fmla="*/ 972026 h 1184243"/>
                  <a:gd name="connsiteX6" fmla="*/ 972026 w 1944052"/>
                  <a:gd name="connsiteY6" fmla="*/ 0 h 1184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44052" h="1184243">
                    <a:moveTo>
                      <a:pt x="972026" y="0"/>
                    </a:moveTo>
                    <a:lnTo>
                      <a:pt x="972026" y="0"/>
                    </a:lnTo>
                    <a:cubicBezTo>
                      <a:pt x="435197" y="0"/>
                      <a:pt x="0" y="435197"/>
                      <a:pt x="0" y="972026"/>
                    </a:cubicBezTo>
                    <a:lnTo>
                      <a:pt x="0" y="1184243"/>
                    </a:lnTo>
                    <a:lnTo>
                      <a:pt x="1944053" y="1184243"/>
                    </a:lnTo>
                    <a:lnTo>
                      <a:pt x="1944053" y="972026"/>
                    </a:lnTo>
                    <a:cubicBezTo>
                      <a:pt x="1944053" y="435197"/>
                      <a:pt x="1508855" y="0"/>
                      <a:pt x="972026" y="0"/>
                    </a:cubicBezTo>
                    <a:close/>
                  </a:path>
                </a:pathLst>
              </a:custGeom>
              <a:noFill/>
              <a:ln w="254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18" name="Forme libre : forme 117">
                <a:extLst>
                  <a:ext uri="{FF2B5EF4-FFF2-40B4-BE49-F238E27FC236}">
                    <a16:creationId xmlns:a16="http://schemas.microsoft.com/office/drawing/2014/main" id="{E626D939-93AF-3FD2-6460-3092B02BDA1B}"/>
                  </a:ext>
                </a:extLst>
              </p:cNvPr>
              <p:cNvSpPr/>
              <p:nvPr/>
            </p:nvSpPr>
            <p:spPr>
              <a:xfrm>
                <a:off x="5522880" y="366712"/>
                <a:ext cx="1143000" cy="1143000"/>
              </a:xfrm>
              <a:custGeom>
                <a:avLst/>
                <a:gdLst>
                  <a:gd name="connsiteX0" fmla="*/ 1143000 w 1143000"/>
                  <a:gd name="connsiteY0" fmla="*/ 571500 h 1143000"/>
                  <a:gd name="connsiteX1" fmla="*/ 571500 w 1143000"/>
                  <a:gd name="connsiteY1" fmla="*/ 1143000 h 1143000"/>
                  <a:gd name="connsiteX2" fmla="*/ 0 w 1143000"/>
                  <a:gd name="connsiteY2" fmla="*/ 571500 h 1143000"/>
                  <a:gd name="connsiteX3" fmla="*/ 571500 w 1143000"/>
                  <a:gd name="connsiteY3" fmla="*/ 0 h 1143000"/>
                  <a:gd name="connsiteX4" fmla="*/ 1143000 w 1143000"/>
                  <a:gd name="connsiteY4" fmla="*/ 571500 h 1143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3000" h="1143000">
                    <a:moveTo>
                      <a:pt x="1143000" y="571500"/>
                    </a:moveTo>
                    <a:cubicBezTo>
                      <a:pt x="1143000" y="887159"/>
                      <a:pt x="887159" y="1143000"/>
                      <a:pt x="571500" y="1143000"/>
                    </a:cubicBezTo>
                    <a:cubicBezTo>
                      <a:pt x="255842" y="1143000"/>
                      <a:pt x="0" y="887159"/>
                      <a:pt x="0" y="571500"/>
                    </a:cubicBezTo>
                    <a:cubicBezTo>
                      <a:pt x="0" y="255842"/>
                      <a:pt x="255842" y="0"/>
                      <a:pt x="571500" y="0"/>
                    </a:cubicBezTo>
                    <a:cubicBezTo>
                      <a:pt x="887159" y="0"/>
                      <a:pt x="1143000" y="255842"/>
                      <a:pt x="1143000" y="571500"/>
                    </a:cubicBezTo>
                    <a:close/>
                  </a:path>
                </a:pathLst>
              </a:custGeom>
              <a:noFill/>
              <a:ln w="254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19" name="Forme libre : forme 118">
                <a:extLst>
                  <a:ext uri="{FF2B5EF4-FFF2-40B4-BE49-F238E27FC236}">
                    <a16:creationId xmlns:a16="http://schemas.microsoft.com/office/drawing/2014/main" id="{3047DD79-41F0-CBEC-3809-A11B128E6A2B}"/>
                  </a:ext>
                </a:extLst>
              </p:cNvPr>
              <p:cNvSpPr/>
              <p:nvPr/>
            </p:nvSpPr>
            <p:spPr>
              <a:xfrm>
                <a:off x="5271991" y="5171122"/>
                <a:ext cx="1651444" cy="132683"/>
              </a:xfrm>
              <a:custGeom>
                <a:avLst/>
                <a:gdLst>
                  <a:gd name="connsiteX0" fmla="*/ 0 w 1651444"/>
                  <a:gd name="connsiteY0" fmla="*/ 8763 h 132683"/>
                  <a:gd name="connsiteX1" fmla="*/ 812006 w 1651444"/>
                  <a:gd name="connsiteY1" fmla="*/ 132683 h 132683"/>
                  <a:gd name="connsiteX2" fmla="*/ 1651444 w 1651444"/>
                  <a:gd name="connsiteY2" fmla="*/ 0 h 132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51444" h="132683">
                    <a:moveTo>
                      <a:pt x="0" y="8763"/>
                    </a:moveTo>
                    <a:cubicBezTo>
                      <a:pt x="253746" y="89059"/>
                      <a:pt x="527018" y="132683"/>
                      <a:pt x="812006" y="132683"/>
                    </a:cubicBezTo>
                    <a:cubicBezTo>
                      <a:pt x="1096994" y="132683"/>
                      <a:pt x="1390078" y="85820"/>
                      <a:pt x="1651444" y="0"/>
                    </a:cubicBezTo>
                  </a:path>
                </a:pathLst>
              </a:custGeom>
              <a:noFill/>
              <a:ln w="254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20" name="Forme libre : forme 119">
                <a:extLst>
                  <a:ext uri="{FF2B5EF4-FFF2-40B4-BE49-F238E27FC236}">
                    <a16:creationId xmlns:a16="http://schemas.microsoft.com/office/drawing/2014/main" id="{4F9D5201-F776-446E-FD32-5E9417457215}"/>
                  </a:ext>
                </a:extLst>
              </p:cNvPr>
              <p:cNvSpPr/>
              <p:nvPr/>
            </p:nvSpPr>
            <p:spPr>
              <a:xfrm>
                <a:off x="3690270" y="1892140"/>
                <a:ext cx="780288" cy="1455515"/>
              </a:xfrm>
              <a:custGeom>
                <a:avLst/>
                <a:gdLst>
                  <a:gd name="connsiteX0" fmla="*/ 780288 w 780288"/>
                  <a:gd name="connsiteY0" fmla="*/ 0 h 1455515"/>
                  <a:gd name="connsiteX1" fmla="*/ 283940 w 780288"/>
                  <a:gd name="connsiteY1" fmla="*/ 654463 h 1455515"/>
                  <a:gd name="connsiteX2" fmla="*/ 0 w 780288"/>
                  <a:gd name="connsiteY2" fmla="*/ 1455515 h 14555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80288" h="1455515">
                    <a:moveTo>
                      <a:pt x="780288" y="0"/>
                    </a:moveTo>
                    <a:cubicBezTo>
                      <a:pt x="588645" y="184690"/>
                      <a:pt x="419862" y="404051"/>
                      <a:pt x="283940" y="654463"/>
                    </a:cubicBezTo>
                    <a:cubicBezTo>
                      <a:pt x="143065" y="913924"/>
                      <a:pt x="49244" y="1184910"/>
                      <a:pt x="0" y="1455515"/>
                    </a:cubicBezTo>
                  </a:path>
                </a:pathLst>
              </a:custGeom>
              <a:noFill/>
              <a:ln w="254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21" name="Forme libre : forme 120">
                <a:extLst>
                  <a:ext uri="{FF2B5EF4-FFF2-40B4-BE49-F238E27FC236}">
                    <a16:creationId xmlns:a16="http://schemas.microsoft.com/office/drawing/2014/main" id="{3A48EF14-1DE6-5FA4-9450-F3A01B18A1BD}"/>
                  </a:ext>
                </a:extLst>
              </p:cNvPr>
              <p:cNvSpPr/>
              <p:nvPr/>
            </p:nvSpPr>
            <p:spPr>
              <a:xfrm>
                <a:off x="7718202" y="1892140"/>
                <a:ext cx="780383" cy="1455515"/>
              </a:xfrm>
              <a:custGeom>
                <a:avLst/>
                <a:gdLst>
                  <a:gd name="connsiteX0" fmla="*/ 780383 w 780383"/>
                  <a:gd name="connsiteY0" fmla="*/ 1455515 h 1455515"/>
                  <a:gd name="connsiteX1" fmla="*/ 496443 w 780383"/>
                  <a:gd name="connsiteY1" fmla="*/ 654463 h 1455515"/>
                  <a:gd name="connsiteX2" fmla="*/ 0 w 780383"/>
                  <a:gd name="connsiteY2" fmla="*/ 0 h 14555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80383" h="1455515">
                    <a:moveTo>
                      <a:pt x="780383" y="1455515"/>
                    </a:moveTo>
                    <a:cubicBezTo>
                      <a:pt x="731139" y="1184815"/>
                      <a:pt x="637318" y="913924"/>
                      <a:pt x="496443" y="654463"/>
                    </a:cubicBezTo>
                    <a:cubicBezTo>
                      <a:pt x="360426" y="404051"/>
                      <a:pt x="191643" y="184690"/>
                      <a:pt x="0" y="0"/>
                    </a:cubicBezTo>
                  </a:path>
                </a:pathLst>
              </a:custGeom>
              <a:noFill/>
              <a:ln w="254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  <p:grpSp>
        <p:nvGrpSpPr>
          <p:cNvPr id="137" name="Groupe 136">
            <a:extLst>
              <a:ext uri="{FF2B5EF4-FFF2-40B4-BE49-F238E27FC236}">
                <a16:creationId xmlns:a16="http://schemas.microsoft.com/office/drawing/2014/main" id="{BDF9A4DA-F0EA-0D73-B8CC-F847542F8182}"/>
              </a:ext>
            </a:extLst>
          </p:cNvPr>
          <p:cNvGrpSpPr/>
          <p:nvPr/>
        </p:nvGrpSpPr>
        <p:grpSpPr>
          <a:xfrm>
            <a:off x="6986814" y="5035842"/>
            <a:ext cx="4876877" cy="1355442"/>
            <a:chOff x="6986814" y="5035842"/>
            <a:chExt cx="4876877" cy="1355442"/>
          </a:xfrm>
        </p:grpSpPr>
        <p:sp>
          <p:nvSpPr>
            <p:cNvPr id="92" name="ZoneTexte 91">
              <a:extLst>
                <a:ext uri="{FF2B5EF4-FFF2-40B4-BE49-F238E27FC236}">
                  <a16:creationId xmlns:a16="http://schemas.microsoft.com/office/drawing/2014/main" id="{530D4A42-EED6-59B4-F923-6B35316A2060}"/>
                </a:ext>
              </a:extLst>
            </p:cNvPr>
            <p:cNvSpPr txBox="1"/>
            <p:nvPr/>
          </p:nvSpPr>
          <p:spPr>
            <a:xfrm>
              <a:off x="7404908" y="5097393"/>
              <a:ext cx="4325433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1600" b="1"/>
                <a:t>Une volonté d’engagement</a:t>
              </a:r>
            </a:p>
          </p:txBody>
        </p:sp>
        <p:sp>
          <p:nvSpPr>
            <p:cNvPr id="93" name="ZoneTexte 92">
              <a:extLst>
                <a:ext uri="{FF2B5EF4-FFF2-40B4-BE49-F238E27FC236}">
                  <a16:creationId xmlns:a16="http://schemas.microsoft.com/office/drawing/2014/main" id="{F3BF7114-6C48-C2B6-0091-955335256957}"/>
                </a:ext>
              </a:extLst>
            </p:cNvPr>
            <p:cNvSpPr txBox="1"/>
            <p:nvPr/>
          </p:nvSpPr>
          <p:spPr>
            <a:xfrm>
              <a:off x="6986814" y="5467954"/>
              <a:ext cx="4876877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marR="0" lvl="0" indent="-285750" algn="l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kumimoji="0" lang="fr-FR" altLang="fr-FR" sz="110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Entreprendre pour faire </a:t>
              </a:r>
              <a:r>
                <a:rPr kumimoji="0" lang="fr-FR" altLang="fr-FR" sz="1100" b="1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bouger les lignes </a:t>
              </a:r>
            </a:p>
            <a:p>
              <a:pPr marL="285750" marR="0" lvl="0" indent="-285750" algn="l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kumimoji="0" lang="fr-FR" altLang="fr-FR" sz="110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Avoir un </a:t>
              </a:r>
              <a:r>
                <a:rPr kumimoji="0" lang="fr-FR" altLang="fr-FR" sz="1100" b="1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impact durable </a:t>
              </a:r>
              <a:r>
                <a:rPr kumimoji="0" lang="fr-FR" altLang="fr-FR" sz="110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&amp; </a:t>
              </a:r>
              <a:r>
                <a:rPr kumimoji="0" lang="fr-FR" altLang="fr-FR" sz="1100" b="1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responsable</a:t>
              </a:r>
              <a:r>
                <a:rPr kumimoji="0" lang="fr-FR" altLang="fr-FR" sz="110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 sur nos sociétés</a:t>
              </a:r>
            </a:p>
            <a:p>
              <a:pPr marL="285750" marR="0" lvl="0" indent="-285750" algn="l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kumimoji="0" lang="fr-FR" altLang="fr-FR" sz="1100" b="1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Lutter contre le gaspillage </a:t>
              </a:r>
              <a:r>
                <a:rPr kumimoji="0" lang="fr-FR" altLang="fr-FR" sz="110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et l’optimisation des dépenses pour les professionnels de l’assurance la santé</a:t>
              </a:r>
            </a:p>
          </p:txBody>
        </p:sp>
        <p:grpSp>
          <p:nvGrpSpPr>
            <p:cNvPr id="124" name="Graphique 122">
              <a:extLst>
                <a:ext uri="{FF2B5EF4-FFF2-40B4-BE49-F238E27FC236}">
                  <a16:creationId xmlns:a16="http://schemas.microsoft.com/office/drawing/2014/main" id="{6E49F5DE-A988-DE71-1AB2-3CC0BB73EC9A}"/>
                </a:ext>
              </a:extLst>
            </p:cNvPr>
            <p:cNvGrpSpPr/>
            <p:nvPr/>
          </p:nvGrpSpPr>
          <p:grpSpPr>
            <a:xfrm>
              <a:off x="7046594" y="5035842"/>
              <a:ext cx="311120" cy="356810"/>
              <a:chOff x="3429000" y="371475"/>
              <a:chExt cx="5334000" cy="6117335"/>
            </a:xfrm>
            <a:noFill/>
          </p:grpSpPr>
          <p:grpSp>
            <p:nvGrpSpPr>
              <p:cNvPr id="125" name="Graphique 122">
                <a:extLst>
                  <a:ext uri="{FF2B5EF4-FFF2-40B4-BE49-F238E27FC236}">
                    <a16:creationId xmlns:a16="http://schemas.microsoft.com/office/drawing/2014/main" id="{B1C0A0F4-C383-DD20-40CD-DD9BC764E585}"/>
                  </a:ext>
                </a:extLst>
              </p:cNvPr>
              <p:cNvGrpSpPr/>
              <p:nvPr/>
            </p:nvGrpSpPr>
            <p:grpSpPr>
              <a:xfrm>
                <a:off x="3429000" y="2678810"/>
                <a:ext cx="5334000" cy="3810000"/>
                <a:chOff x="3429000" y="2678810"/>
                <a:chExt cx="5334000" cy="3810000"/>
              </a:xfrm>
              <a:noFill/>
            </p:grpSpPr>
            <p:sp>
              <p:nvSpPr>
                <p:cNvPr id="126" name="Forme libre : forme 125">
                  <a:extLst>
                    <a:ext uri="{FF2B5EF4-FFF2-40B4-BE49-F238E27FC236}">
                      <a16:creationId xmlns:a16="http://schemas.microsoft.com/office/drawing/2014/main" id="{4E455DF1-CF06-CF5A-92F6-FCF6884CBE27}"/>
                    </a:ext>
                  </a:extLst>
                </p:cNvPr>
                <p:cNvSpPr/>
                <p:nvPr/>
              </p:nvSpPr>
              <p:spPr>
                <a:xfrm>
                  <a:off x="3429000" y="2678810"/>
                  <a:ext cx="5334000" cy="3810000"/>
                </a:xfrm>
                <a:custGeom>
                  <a:avLst/>
                  <a:gdLst>
                    <a:gd name="connsiteX0" fmla="*/ 1143000 w 5334000"/>
                    <a:gd name="connsiteY0" fmla="*/ 0 h 3810000"/>
                    <a:gd name="connsiteX1" fmla="*/ 4191000 w 5334000"/>
                    <a:gd name="connsiteY1" fmla="*/ 0 h 3810000"/>
                    <a:gd name="connsiteX2" fmla="*/ 5334000 w 5334000"/>
                    <a:gd name="connsiteY2" fmla="*/ 1143000 h 3810000"/>
                    <a:gd name="connsiteX3" fmla="*/ 2667000 w 5334000"/>
                    <a:gd name="connsiteY3" fmla="*/ 3810000 h 3810000"/>
                    <a:gd name="connsiteX4" fmla="*/ 0 w 5334000"/>
                    <a:gd name="connsiteY4" fmla="*/ 1143000 h 3810000"/>
                    <a:gd name="connsiteX5" fmla="*/ 1143000 w 5334000"/>
                    <a:gd name="connsiteY5" fmla="*/ 0 h 38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334000" h="3810000">
                      <a:moveTo>
                        <a:pt x="1143000" y="0"/>
                      </a:moveTo>
                      <a:lnTo>
                        <a:pt x="4191000" y="0"/>
                      </a:lnTo>
                      <a:lnTo>
                        <a:pt x="5334000" y="1143000"/>
                      </a:lnTo>
                      <a:lnTo>
                        <a:pt x="2667000" y="3810000"/>
                      </a:lnTo>
                      <a:lnTo>
                        <a:pt x="0" y="1143000"/>
                      </a:lnTo>
                      <a:lnTo>
                        <a:pt x="1143000" y="0"/>
                      </a:lnTo>
                      <a:close/>
                    </a:path>
                  </a:pathLst>
                </a:custGeom>
                <a:noFill/>
                <a:ln w="25400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127" name="Forme libre : forme 126">
                  <a:extLst>
                    <a:ext uri="{FF2B5EF4-FFF2-40B4-BE49-F238E27FC236}">
                      <a16:creationId xmlns:a16="http://schemas.microsoft.com/office/drawing/2014/main" id="{8267FA2C-0B10-3379-9C25-A79E45549E25}"/>
                    </a:ext>
                  </a:extLst>
                </p:cNvPr>
                <p:cNvSpPr/>
                <p:nvPr/>
              </p:nvSpPr>
              <p:spPr>
                <a:xfrm>
                  <a:off x="5334000" y="3821810"/>
                  <a:ext cx="762000" cy="2667000"/>
                </a:xfrm>
                <a:custGeom>
                  <a:avLst/>
                  <a:gdLst>
                    <a:gd name="connsiteX0" fmla="*/ 762000 w 762000"/>
                    <a:gd name="connsiteY0" fmla="*/ 2667000 h 2667000"/>
                    <a:gd name="connsiteX1" fmla="*/ 0 w 762000"/>
                    <a:gd name="connsiteY1" fmla="*/ 0 h 266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62000" h="2667000">
                      <a:moveTo>
                        <a:pt x="762000" y="2667000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25400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</p:grpSp>
          <p:sp>
            <p:nvSpPr>
              <p:cNvPr id="128" name="Forme libre : forme 127">
                <a:extLst>
                  <a:ext uri="{FF2B5EF4-FFF2-40B4-BE49-F238E27FC236}">
                    <a16:creationId xmlns:a16="http://schemas.microsoft.com/office/drawing/2014/main" id="{165D61E8-0CA0-9B6F-C69F-6D205AE23FA1}"/>
                  </a:ext>
                </a:extLst>
              </p:cNvPr>
              <p:cNvSpPr/>
              <p:nvPr/>
            </p:nvSpPr>
            <p:spPr>
              <a:xfrm>
                <a:off x="5334000" y="2678810"/>
                <a:ext cx="1524000" cy="1143000"/>
              </a:xfrm>
              <a:custGeom>
                <a:avLst/>
                <a:gdLst>
                  <a:gd name="connsiteX0" fmla="*/ 0 w 1524000"/>
                  <a:gd name="connsiteY0" fmla="*/ 1143000 h 1143000"/>
                  <a:gd name="connsiteX1" fmla="*/ 762000 w 1524000"/>
                  <a:gd name="connsiteY1" fmla="*/ 0 h 1143000"/>
                  <a:gd name="connsiteX2" fmla="*/ 1524000 w 1524000"/>
                  <a:gd name="connsiteY2" fmla="*/ 1143000 h 1143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24000" h="1143000">
                    <a:moveTo>
                      <a:pt x="0" y="1143000"/>
                    </a:moveTo>
                    <a:lnTo>
                      <a:pt x="762000" y="0"/>
                    </a:lnTo>
                    <a:lnTo>
                      <a:pt x="1524000" y="1143000"/>
                    </a:lnTo>
                  </a:path>
                </a:pathLst>
              </a:custGeom>
              <a:noFill/>
              <a:ln w="254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grpSp>
            <p:nvGrpSpPr>
              <p:cNvPr id="129" name="Graphique 122">
                <a:extLst>
                  <a:ext uri="{FF2B5EF4-FFF2-40B4-BE49-F238E27FC236}">
                    <a16:creationId xmlns:a16="http://schemas.microsoft.com/office/drawing/2014/main" id="{18335EE8-11BE-1CCE-75C2-7B40B5AA2B39}"/>
                  </a:ext>
                </a:extLst>
              </p:cNvPr>
              <p:cNvGrpSpPr/>
              <p:nvPr/>
            </p:nvGrpSpPr>
            <p:grpSpPr>
              <a:xfrm>
                <a:off x="3429000" y="371475"/>
                <a:ext cx="5334000" cy="6117335"/>
                <a:chOff x="3429000" y="371475"/>
                <a:chExt cx="5334000" cy="6117335"/>
              </a:xfrm>
              <a:noFill/>
            </p:grpSpPr>
            <p:sp>
              <p:nvSpPr>
                <p:cNvPr id="130" name="Forme libre : forme 129">
                  <a:extLst>
                    <a:ext uri="{FF2B5EF4-FFF2-40B4-BE49-F238E27FC236}">
                      <a16:creationId xmlns:a16="http://schemas.microsoft.com/office/drawing/2014/main" id="{97A1C247-8DF5-D39A-4271-63D454202F84}"/>
                    </a:ext>
                  </a:extLst>
                </p:cNvPr>
                <p:cNvSpPr/>
                <p:nvPr/>
              </p:nvSpPr>
              <p:spPr>
                <a:xfrm>
                  <a:off x="6096000" y="3821810"/>
                  <a:ext cx="762000" cy="2667000"/>
                </a:xfrm>
                <a:custGeom>
                  <a:avLst/>
                  <a:gdLst>
                    <a:gd name="connsiteX0" fmla="*/ 762000 w 762000"/>
                    <a:gd name="connsiteY0" fmla="*/ 0 h 2667000"/>
                    <a:gd name="connsiteX1" fmla="*/ 0 w 762000"/>
                    <a:gd name="connsiteY1" fmla="*/ 2667000 h 266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62000" h="2667000">
                      <a:moveTo>
                        <a:pt x="762000" y="0"/>
                      </a:moveTo>
                      <a:lnTo>
                        <a:pt x="0" y="2667000"/>
                      </a:lnTo>
                    </a:path>
                  </a:pathLst>
                </a:custGeom>
                <a:noFill/>
                <a:ln w="25400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131" name="Forme libre : forme 130">
                  <a:extLst>
                    <a:ext uri="{FF2B5EF4-FFF2-40B4-BE49-F238E27FC236}">
                      <a16:creationId xmlns:a16="http://schemas.microsoft.com/office/drawing/2014/main" id="{ACA2BF35-B4B7-80B2-562B-E4F949CD3757}"/>
                    </a:ext>
                  </a:extLst>
                </p:cNvPr>
                <p:cNvSpPr/>
                <p:nvPr/>
              </p:nvSpPr>
              <p:spPr>
                <a:xfrm>
                  <a:off x="3429000" y="3821810"/>
                  <a:ext cx="5334000" cy="9525"/>
                </a:xfrm>
                <a:custGeom>
                  <a:avLst/>
                  <a:gdLst>
                    <a:gd name="connsiteX0" fmla="*/ 0 w 5334000"/>
                    <a:gd name="connsiteY0" fmla="*/ 0 h 9525"/>
                    <a:gd name="connsiteX1" fmla="*/ 5334000 w 5334000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334000" h="9525">
                      <a:moveTo>
                        <a:pt x="0" y="0"/>
                      </a:moveTo>
                      <a:lnTo>
                        <a:pt x="5334000" y="0"/>
                      </a:lnTo>
                    </a:path>
                  </a:pathLst>
                </a:custGeom>
                <a:noFill/>
                <a:ln w="25400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132" name="Forme libre : forme 131">
                  <a:extLst>
                    <a:ext uri="{FF2B5EF4-FFF2-40B4-BE49-F238E27FC236}">
                      <a16:creationId xmlns:a16="http://schemas.microsoft.com/office/drawing/2014/main" id="{FC015F83-A906-C2A1-289B-20FF6E8C39E6}"/>
                    </a:ext>
                  </a:extLst>
                </p:cNvPr>
                <p:cNvSpPr/>
                <p:nvPr/>
              </p:nvSpPr>
              <p:spPr>
                <a:xfrm>
                  <a:off x="6096000" y="371475"/>
                  <a:ext cx="9525" cy="705231"/>
                </a:xfrm>
                <a:custGeom>
                  <a:avLst/>
                  <a:gdLst>
                    <a:gd name="connsiteX0" fmla="*/ 0 w 9525"/>
                    <a:gd name="connsiteY0" fmla="*/ 705231 h 705231"/>
                    <a:gd name="connsiteX1" fmla="*/ 0 w 9525"/>
                    <a:gd name="connsiteY1" fmla="*/ 0 h 7052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705231">
                      <a:moveTo>
                        <a:pt x="0" y="705231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25400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</p:grpSp>
          <p:sp>
            <p:nvSpPr>
              <p:cNvPr id="133" name="Forme libre : forme 132">
                <a:extLst>
                  <a:ext uri="{FF2B5EF4-FFF2-40B4-BE49-F238E27FC236}">
                    <a16:creationId xmlns:a16="http://schemas.microsoft.com/office/drawing/2014/main" id="{F274846C-9993-4B76-BFFC-9C311A145BFC}"/>
                  </a:ext>
                </a:extLst>
              </p:cNvPr>
              <p:cNvSpPr/>
              <p:nvPr/>
            </p:nvSpPr>
            <p:spPr>
              <a:xfrm>
                <a:off x="4014692" y="954595"/>
                <a:ext cx="352615" cy="610742"/>
              </a:xfrm>
              <a:custGeom>
                <a:avLst/>
                <a:gdLst>
                  <a:gd name="connsiteX0" fmla="*/ 352616 w 352615"/>
                  <a:gd name="connsiteY0" fmla="*/ 610743 h 610742"/>
                  <a:gd name="connsiteX1" fmla="*/ 0 w 352615"/>
                  <a:gd name="connsiteY1" fmla="*/ 0 h 610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2615" h="610742">
                    <a:moveTo>
                      <a:pt x="352616" y="610743"/>
                    </a:moveTo>
                    <a:lnTo>
                      <a:pt x="0" y="0"/>
                    </a:lnTo>
                  </a:path>
                </a:pathLst>
              </a:custGeom>
              <a:noFill/>
              <a:ln w="254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34" name="Forme libre : forme 133">
                <a:extLst>
                  <a:ext uri="{FF2B5EF4-FFF2-40B4-BE49-F238E27FC236}">
                    <a16:creationId xmlns:a16="http://schemas.microsoft.com/office/drawing/2014/main" id="{B12CA168-13E3-48C6-1D9B-AA54D9783988}"/>
                  </a:ext>
                </a:extLst>
              </p:cNvPr>
              <p:cNvSpPr/>
              <p:nvPr/>
            </p:nvSpPr>
            <p:spPr>
              <a:xfrm>
                <a:off x="7824692" y="954595"/>
                <a:ext cx="352615" cy="610742"/>
              </a:xfrm>
              <a:custGeom>
                <a:avLst/>
                <a:gdLst>
                  <a:gd name="connsiteX0" fmla="*/ 0 w 352615"/>
                  <a:gd name="connsiteY0" fmla="*/ 610743 h 610742"/>
                  <a:gd name="connsiteX1" fmla="*/ 352616 w 352615"/>
                  <a:gd name="connsiteY1" fmla="*/ 0 h 610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2615" h="610742">
                    <a:moveTo>
                      <a:pt x="0" y="610743"/>
                    </a:moveTo>
                    <a:lnTo>
                      <a:pt x="352616" y="0"/>
                    </a:lnTo>
                  </a:path>
                </a:pathLst>
              </a:custGeom>
              <a:noFill/>
              <a:ln w="254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  <p:sp>
        <p:nvSpPr>
          <p:cNvPr id="140" name="Forme libre : forme 139">
            <a:extLst>
              <a:ext uri="{FF2B5EF4-FFF2-40B4-BE49-F238E27FC236}">
                <a16:creationId xmlns:a16="http://schemas.microsoft.com/office/drawing/2014/main" id="{47FC2E41-B713-F0F8-1749-282F788E7A46}"/>
              </a:ext>
            </a:extLst>
          </p:cNvPr>
          <p:cNvSpPr/>
          <p:nvPr/>
        </p:nvSpPr>
        <p:spPr>
          <a:xfrm>
            <a:off x="0" y="4818742"/>
            <a:ext cx="2567176" cy="2039258"/>
          </a:xfrm>
          <a:custGeom>
            <a:avLst/>
            <a:gdLst>
              <a:gd name="connsiteX0" fmla="*/ 0 w 2567176"/>
              <a:gd name="connsiteY0" fmla="*/ 0 h 2039258"/>
              <a:gd name="connsiteX1" fmla="*/ 906797 w 2567176"/>
              <a:gd name="connsiteY1" fmla="*/ 0 h 2039258"/>
              <a:gd name="connsiteX2" fmla="*/ 874806 w 2567176"/>
              <a:gd name="connsiteY2" fmla="*/ 103059 h 2039258"/>
              <a:gd name="connsiteX3" fmla="*/ 856823 w 2567176"/>
              <a:gd name="connsiteY3" fmla="*/ 281444 h 2039258"/>
              <a:gd name="connsiteX4" fmla="*/ 1741955 w 2567176"/>
              <a:gd name="connsiteY4" fmla="*/ 1166576 h 2039258"/>
              <a:gd name="connsiteX5" fmla="*/ 2557529 w 2567176"/>
              <a:gd name="connsiteY5" fmla="*/ 625978 h 2039258"/>
              <a:gd name="connsiteX6" fmla="*/ 2567176 w 2567176"/>
              <a:gd name="connsiteY6" fmla="*/ 599620 h 2039258"/>
              <a:gd name="connsiteX7" fmla="*/ 2567176 w 2567176"/>
              <a:gd name="connsiteY7" fmla="*/ 2039258 h 2039258"/>
              <a:gd name="connsiteX8" fmla="*/ 0 w 2567176"/>
              <a:gd name="connsiteY8" fmla="*/ 2039258 h 2039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67176" h="2039258">
                <a:moveTo>
                  <a:pt x="0" y="0"/>
                </a:moveTo>
                <a:lnTo>
                  <a:pt x="906797" y="0"/>
                </a:lnTo>
                <a:lnTo>
                  <a:pt x="874806" y="103059"/>
                </a:lnTo>
                <a:cubicBezTo>
                  <a:pt x="863015" y="160679"/>
                  <a:pt x="856823" y="220339"/>
                  <a:pt x="856823" y="281444"/>
                </a:cubicBezTo>
                <a:cubicBezTo>
                  <a:pt x="856823" y="770289"/>
                  <a:pt x="1253110" y="1166576"/>
                  <a:pt x="1741955" y="1166576"/>
                </a:cubicBezTo>
                <a:cubicBezTo>
                  <a:pt x="2108589" y="1166576"/>
                  <a:pt x="2423159" y="943665"/>
                  <a:pt x="2557529" y="625978"/>
                </a:cubicBezTo>
                <a:lnTo>
                  <a:pt x="2567176" y="599620"/>
                </a:lnTo>
                <a:lnTo>
                  <a:pt x="2567176" y="2039258"/>
                </a:lnTo>
                <a:lnTo>
                  <a:pt x="0" y="2039258"/>
                </a:lnTo>
                <a:close/>
              </a:path>
            </a:pathLst>
          </a:custGeom>
          <a:solidFill>
            <a:srgbClr val="EFF0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5593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0" presetClass="entr" presetSubtype="0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10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" presetID="42" presetClass="path" presetSubtype="0" decel="100000" fill="hold" grpId="1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animMotion origin="layout" path="M 3.95833E-6 -1.11111E-6 L 0.07096 -1.11111E-6 " pathEditMode="relative" rAng="0" ptsTypes="AA">
                                          <p:cBhvr>
                                            <p:cTn id="9" dur="2000" spd="-100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3542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0" presetID="10" presetClass="entr" presetSubtype="0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" dur="100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3" presetID="42" presetClass="path" presetSubtype="0" decel="100000" fill="hold" grpId="1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animMotion origin="layout" path="M -2.08333E-7 -4.44444E-6 L 0.07096 -4.44444E-6 " pathEditMode="relative" rAng="0" ptsTypes="AA">
                                          <p:cBhvr>
                                            <p:cTn id="14" dur="2000" spd="-1000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3542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5" presetID="10" presetClass="entr" presetSubtype="0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7" dur="10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8" presetID="42" presetClass="path" presetSubtype="0" decel="100000" fill="hold" grpId="1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animMotion origin="layout" path="M 2.5E-6 7.40741E-7 L 0.07096 7.40741E-7 " pathEditMode="relative" rAng="0" ptsTypes="AA">
                                          <p:cBhvr>
                                            <p:cTn id="19" dur="2000" spd="-100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3542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20" presetID="10" presetClass="entr" presetSubtype="0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2" dur="100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3" presetID="42" presetClass="path" presetSubtype="0" decel="100000" fill="hold" grpId="1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animMotion origin="layout" path="M -3.95833E-6 -4.07407E-6 L 0.07097 -4.07407E-6 " pathEditMode="relative" rAng="0" ptsTypes="AA">
                                          <p:cBhvr>
                                            <p:cTn id="24" dur="2000" spd="-100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3542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25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7" dur="10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8" presetID="42" presetClass="path" presetSubtype="0" decel="100000" fill="hold" grpId="1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animMotion origin="layout" path="M 2.08333E-7 4.81481E-6 L 0.07096 4.81481E-6 " pathEditMode="relative" rAng="0" ptsTypes="AA">
                                          <p:cBhvr>
                                            <p:cTn id="29" dur="2000" spd="-1000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3542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30" presetID="10" presetClass="entr" presetSubtype="0" fill="hold" grpId="0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2" dur="1000"/>
                                            <p:tgtEl>
                                              <p:spTgt spid="8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3" presetID="42" presetClass="path" presetSubtype="0" decel="100000" fill="hold" grpId="1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animMotion origin="layout" path="M 3.75E-6 2.59259E-6 L -0.14349 2.59259E-6 " pathEditMode="relative" rAng="0" ptsTypes="AA">
                                          <p:cBhvr>
                                            <p:cTn id="34" dur="2000" spd="-100000" fill="hold"/>
                                            <p:tgtEl>
                                              <p:spTgt spid="81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7174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35" presetID="10" presetClass="entr" presetSubtype="0" fill="hold" nodeType="withEffect">
                                      <p:stCondLst>
                                        <p:cond delay="180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7" dur="1000"/>
                                            <p:tgtEl>
                                              <p:spTgt spid="8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8" presetID="42" presetClass="path" presetSubtype="0" decel="100000" fill="hold" nodeType="withEffect">
                                      <p:stCondLst>
                                        <p:cond delay="1800"/>
                                      </p:stCondLst>
                                      <p:childTnLst>
                                        <p:animMotion origin="layout" path="M 2.08333E-6 -1.85185E-6 L -0.26016 -1.85185E-6 " pathEditMode="relative" rAng="0" ptsTypes="AA">
                                          <p:cBhvr>
                                            <p:cTn id="39" dur="2000" spd="-100000" fill="hold"/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13008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40" presetID="10" presetClass="entr" presetSubtype="0" fill="hold" grpId="0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1000"/>
                                            <p:tgtEl>
                                              <p:spTgt spid="9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3" presetID="42" presetClass="path" presetSubtype="0" decel="100000" fill="hold" grpId="1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animMotion origin="layout" path="M -2.08333E-7 2.22222E-6 L 0.07096 2.22222E-6 " pathEditMode="relative" rAng="0" ptsTypes="AA">
                                          <p:cBhvr>
                                            <p:cTn id="44" dur="2000" spd="-100000" fill="hold"/>
                                            <p:tgtEl>
                                              <p:spTgt spid="94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3542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45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7" dur="1000"/>
                                            <p:tgtEl>
                                              <p:spTgt spid="9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8" presetID="42" presetClass="path" presetSubtype="0" decel="10000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3.33333E-6 -3.33333E-6 L -0.15834 -3.33333E-6 " pathEditMode="relative" rAng="0" ptsTypes="AA">
                                          <p:cBhvr>
                                            <p:cTn id="49" dur="1500" spd="-100000" fill="hold"/>
                                            <p:tgtEl>
                                              <p:spTgt spid="99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7917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50" presetID="6" presetClass="entr" presetSubtype="32" fill="hold" grpId="0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circle(out)">
                                          <p:cBhvr>
                                            <p:cTn id="52" dur="500"/>
                                            <p:tgtEl>
                                              <p:spTgt spid="6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3" presetID="10" presetClass="entr" presetSubtype="0" fill="hold" nodeType="withEffect">
                                      <p:stCondLst>
                                        <p:cond delay="1600"/>
                                      </p:stCondLst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5" dur="500"/>
                                            <p:tgtEl>
                                              <p:spTgt spid="3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6" presetID="42" presetClass="path" presetSubtype="0" fill="hold" nodeType="withEffect" p14:presetBounceEnd="62000">
                                      <p:stCondLst>
                                        <p:cond delay="1600"/>
                                      </p:stCondLst>
                                      <p:childTnLst>
                                        <p:animMotion origin="layout" path="M 1.25E-6 -2.59259E-6 L 1.25E-6 0.08033 " pathEditMode="relative" rAng="0" ptsTypes="AA" p14:bounceEnd="62000">
                                          <p:cBhvr>
                                            <p:cTn id="57" dur="1000" spd="-1000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4005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58" presetID="1" presetClass="entr" presetSubtype="0" fill="hold" grpId="0" nodeType="withEffect">
                                      <p:stCondLst>
                                        <p:cond delay="1390"/>
                                      </p:stCondLst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60" presetID="10" presetClass="entr" presetSubtype="0" fill="hold" nodeType="withEffect">
                                      <p:stCondLst>
                                        <p:cond delay="2200"/>
                                      </p:stCondLst>
                                      <p:childTnLst>
                                        <p:set>
                                          <p:cBhvr>
                                            <p:cTn id="6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2" dur="1000"/>
                                            <p:tgtEl>
                                              <p:spTgt spid="13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3" presetID="42" presetClass="path" presetSubtype="0" decel="100000" fill="hold" nodeType="withEffect">
                                      <p:stCondLst>
                                        <p:cond delay="2200"/>
                                      </p:stCondLst>
                                      <p:childTnLst>
                                        <p:animMotion origin="layout" path="M 3.95833E-6 -1.11111E-6 L 0.07096 -1.11111E-6 " pathEditMode="relative" rAng="0" ptsTypes="AA">
                                          <p:cBhvr>
                                            <p:cTn id="64" dur="2000" spd="-100000" fill="hold"/>
                                            <p:tgtEl>
                                              <p:spTgt spid="13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3542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65" presetID="10" presetClass="entr" presetSubtype="0" fill="hold" nodeType="withEffect">
                                      <p:stCondLst>
                                        <p:cond delay="2400"/>
                                      </p:stCondLst>
                                      <p:childTnLst>
                                        <p:set>
                                          <p:cBhvr>
                                            <p:cTn id="6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7" dur="1000"/>
                                            <p:tgtEl>
                                              <p:spTgt spid="13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8" presetID="42" presetClass="path" presetSubtype="0" decel="100000" fill="hold" nodeType="withEffect">
                                      <p:stCondLst>
                                        <p:cond delay="2400"/>
                                      </p:stCondLst>
                                      <p:childTnLst>
                                        <p:animMotion origin="layout" path="M 3.95833E-6 -1.11111E-6 L 0.07096 -1.11111E-6 " pathEditMode="relative" rAng="0" ptsTypes="AA">
                                          <p:cBhvr>
                                            <p:cTn id="69" dur="2000" spd="-100000" fill="hold"/>
                                            <p:tgtEl>
                                              <p:spTgt spid="135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3542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70" presetID="10" presetClass="entr" presetSubtype="0" fill="hold" nodeType="withEffect">
                                      <p:stCondLst>
                                        <p:cond delay="2600"/>
                                      </p:stCondLst>
                                      <p:childTnLst>
                                        <p:set>
                                          <p:cBhvr>
                                            <p:cTn id="7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2" dur="1000"/>
                                            <p:tgtEl>
                                              <p:spTgt spid="13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3" presetID="42" presetClass="path" presetSubtype="0" decel="100000" fill="hold" nodeType="withEffect">
                                      <p:stCondLst>
                                        <p:cond delay="2600"/>
                                      </p:stCondLst>
                                      <p:childTnLst>
                                        <p:animMotion origin="layout" path="M 3.95833E-6 -1.11111E-6 L 0.07096 -1.11111E-6 " pathEditMode="relative" rAng="0" ptsTypes="AA">
                                          <p:cBhvr>
                                            <p:cTn id="74" dur="2000" spd="-100000" fill="hold"/>
                                            <p:tgtEl>
                                              <p:spTgt spid="137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3542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9" grpId="0" animBg="1"/>
          <p:bldP spid="99" grpId="1" animBg="1"/>
          <p:bldP spid="81" grpId="0"/>
          <p:bldP spid="81" grpId="1"/>
          <p:bldP spid="6" grpId="0"/>
          <p:bldP spid="6" grpId="1"/>
          <p:bldP spid="3" grpId="0"/>
          <p:bldP spid="3" grpId="1"/>
          <p:bldP spid="21" grpId="0"/>
          <p:bldP spid="21" grpId="1"/>
          <p:bldP spid="22" grpId="0"/>
          <p:bldP spid="22" grpId="1"/>
          <p:bldP spid="23" grpId="0"/>
          <p:bldP spid="23" grpId="1"/>
          <p:bldP spid="64" grpId="0" animBg="1"/>
          <p:bldP spid="94" grpId="0"/>
          <p:bldP spid="94" grpId="1"/>
          <p:bldP spid="140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0" presetClass="entr" presetSubtype="0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10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" presetID="42" presetClass="path" presetSubtype="0" decel="100000" fill="hold" grpId="1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animMotion origin="layout" path="M 3.95833E-6 -1.11111E-6 L 0.07096 -1.11111E-6 " pathEditMode="relative" rAng="0" ptsTypes="AA">
                                          <p:cBhvr>
                                            <p:cTn id="9" dur="2000" spd="-100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3542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0" presetID="10" presetClass="entr" presetSubtype="0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" dur="100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3" presetID="42" presetClass="path" presetSubtype="0" decel="100000" fill="hold" grpId="1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animMotion origin="layout" path="M -2.08333E-7 -4.44444E-6 L 0.07096 -4.44444E-6 " pathEditMode="relative" rAng="0" ptsTypes="AA">
                                          <p:cBhvr>
                                            <p:cTn id="14" dur="2000" spd="-1000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3542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5" presetID="10" presetClass="entr" presetSubtype="0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7" dur="10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8" presetID="42" presetClass="path" presetSubtype="0" decel="100000" fill="hold" grpId="1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animMotion origin="layout" path="M 2.5E-6 7.40741E-7 L 0.07096 7.40741E-7 " pathEditMode="relative" rAng="0" ptsTypes="AA">
                                          <p:cBhvr>
                                            <p:cTn id="19" dur="2000" spd="-100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3542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20" presetID="10" presetClass="entr" presetSubtype="0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2" dur="100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3" presetID="42" presetClass="path" presetSubtype="0" decel="100000" fill="hold" grpId="1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animMotion origin="layout" path="M -3.95833E-6 -4.07407E-6 L 0.07097 -4.07407E-6 " pathEditMode="relative" rAng="0" ptsTypes="AA">
                                          <p:cBhvr>
                                            <p:cTn id="24" dur="2000" spd="-100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3542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25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7" dur="10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8" presetID="42" presetClass="path" presetSubtype="0" decel="100000" fill="hold" grpId="1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animMotion origin="layout" path="M 2.08333E-7 4.81481E-6 L 0.07096 4.81481E-6 " pathEditMode="relative" rAng="0" ptsTypes="AA">
                                          <p:cBhvr>
                                            <p:cTn id="29" dur="2000" spd="-1000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3542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30" presetID="10" presetClass="entr" presetSubtype="0" fill="hold" grpId="0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2" dur="1000"/>
                                            <p:tgtEl>
                                              <p:spTgt spid="8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3" presetID="42" presetClass="path" presetSubtype="0" decel="100000" fill="hold" grpId="1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animMotion origin="layout" path="M 3.75E-6 2.59259E-6 L -0.14349 2.59259E-6 " pathEditMode="relative" rAng="0" ptsTypes="AA">
                                          <p:cBhvr>
                                            <p:cTn id="34" dur="2000" spd="-100000" fill="hold"/>
                                            <p:tgtEl>
                                              <p:spTgt spid="81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7174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35" presetID="10" presetClass="entr" presetSubtype="0" fill="hold" nodeType="withEffect">
                                      <p:stCondLst>
                                        <p:cond delay="180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7" dur="1000"/>
                                            <p:tgtEl>
                                              <p:spTgt spid="8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8" presetID="42" presetClass="path" presetSubtype="0" decel="100000" fill="hold" nodeType="withEffect">
                                      <p:stCondLst>
                                        <p:cond delay="1800"/>
                                      </p:stCondLst>
                                      <p:childTnLst>
                                        <p:animMotion origin="layout" path="M 2.08333E-6 -1.85185E-6 L -0.26016 -1.85185E-6 " pathEditMode="relative" rAng="0" ptsTypes="AA">
                                          <p:cBhvr>
                                            <p:cTn id="39" dur="2000" spd="-100000" fill="hold"/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13008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40" presetID="10" presetClass="entr" presetSubtype="0" fill="hold" grpId="0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1000"/>
                                            <p:tgtEl>
                                              <p:spTgt spid="9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3" presetID="42" presetClass="path" presetSubtype="0" decel="100000" fill="hold" grpId="1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animMotion origin="layout" path="M -2.08333E-7 2.22222E-6 L 0.07096 2.22222E-6 " pathEditMode="relative" rAng="0" ptsTypes="AA">
                                          <p:cBhvr>
                                            <p:cTn id="44" dur="2000" spd="-100000" fill="hold"/>
                                            <p:tgtEl>
                                              <p:spTgt spid="94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3542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45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7" dur="1000"/>
                                            <p:tgtEl>
                                              <p:spTgt spid="9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8" presetID="42" presetClass="path" presetSubtype="0" decel="10000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3.33333E-6 -3.33333E-6 L -0.15834 -3.33333E-6 " pathEditMode="relative" rAng="0" ptsTypes="AA">
                                          <p:cBhvr>
                                            <p:cTn id="49" dur="1500" spd="-100000" fill="hold"/>
                                            <p:tgtEl>
                                              <p:spTgt spid="99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7917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50" presetID="6" presetClass="entr" presetSubtype="32" fill="hold" grpId="0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circle(out)">
                                          <p:cBhvr>
                                            <p:cTn id="52" dur="500"/>
                                            <p:tgtEl>
                                              <p:spTgt spid="6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3" presetID="10" presetClass="entr" presetSubtype="0" fill="hold" nodeType="withEffect">
                                      <p:stCondLst>
                                        <p:cond delay="1600"/>
                                      </p:stCondLst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5" dur="500"/>
                                            <p:tgtEl>
                                              <p:spTgt spid="3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6" presetID="42" presetClass="path" presetSubtype="0" fill="hold" nodeType="withEffect">
                                      <p:stCondLst>
                                        <p:cond delay="1600"/>
                                      </p:stCondLst>
                                      <p:childTnLst>
                                        <p:animMotion origin="layout" path="M 1.25E-6 -2.59259E-6 L 1.25E-6 0.08033 " pathEditMode="relative" rAng="0" ptsTypes="AA">
                                          <p:cBhvr>
                                            <p:cTn id="57" dur="1000" spd="-1000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4005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58" presetID="1" presetClass="entr" presetSubtype="0" fill="hold" grpId="0" nodeType="withEffect">
                                      <p:stCondLst>
                                        <p:cond delay="1390"/>
                                      </p:stCondLst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60" presetID="10" presetClass="entr" presetSubtype="0" fill="hold" nodeType="withEffect">
                                      <p:stCondLst>
                                        <p:cond delay="2200"/>
                                      </p:stCondLst>
                                      <p:childTnLst>
                                        <p:set>
                                          <p:cBhvr>
                                            <p:cTn id="6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2" dur="1000"/>
                                            <p:tgtEl>
                                              <p:spTgt spid="13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3" presetID="42" presetClass="path" presetSubtype="0" decel="100000" fill="hold" nodeType="withEffect">
                                      <p:stCondLst>
                                        <p:cond delay="2200"/>
                                      </p:stCondLst>
                                      <p:childTnLst>
                                        <p:animMotion origin="layout" path="M 3.95833E-6 -1.11111E-6 L 0.07096 -1.11111E-6 " pathEditMode="relative" rAng="0" ptsTypes="AA">
                                          <p:cBhvr>
                                            <p:cTn id="64" dur="2000" spd="-100000" fill="hold"/>
                                            <p:tgtEl>
                                              <p:spTgt spid="13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3542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65" presetID="10" presetClass="entr" presetSubtype="0" fill="hold" nodeType="withEffect">
                                      <p:stCondLst>
                                        <p:cond delay="2400"/>
                                      </p:stCondLst>
                                      <p:childTnLst>
                                        <p:set>
                                          <p:cBhvr>
                                            <p:cTn id="6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7" dur="1000"/>
                                            <p:tgtEl>
                                              <p:spTgt spid="13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8" presetID="42" presetClass="path" presetSubtype="0" decel="100000" fill="hold" nodeType="withEffect">
                                      <p:stCondLst>
                                        <p:cond delay="2400"/>
                                      </p:stCondLst>
                                      <p:childTnLst>
                                        <p:animMotion origin="layout" path="M 3.95833E-6 -1.11111E-6 L 0.07096 -1.11111E-6 " pathEditMode="relative" rAng="0" ptsTypes="AA">
                                          <p:cBhvr>
                                            <p:cTn id="69" dur="2000" spd="-100000" fill="hold"/>
                                            <p:tgtEl>
                                              <p:spTgt spid="135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3542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70" presetID="10" presetClass="entr" presetSubtype="0" fill="hold" nodeType="withEffect">
                                      <p:stCondLst>
                                        <p:cond delay="2600"/>
                                      </p:stCondLst>
                                      <p:childTnLst>
                                        <p:set>
                                          <p:cBhvr>
                                            <p:cTn id="7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2" dur="1000"/>
                                            <p:tgtEl>
                                              <p:spTgt spid="13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3" presetID="42" presetClass="path" presetSubtype="0" decel="100000" fill="hold" nodeType="withEffect">
                                      <p:stCondLst>
                                        <p:cond delay="2600"/>
                                      </p:stCondLst>
                                      <p:childTnLst>
                                        <p:animMotion origin="layout" path="M 3.95833E-6 -1.11111E-6 L 0.07096 -1.11111E-6 " pathEditMode="relative" rAng="0" ptsTypes="AA">
                                          <p:cBhvr>
                                            <p:cTn id="74" dur="2000" spd="-100000" fill="hold"/>
                                            <p:tgtEl>
                                              <p:spTgt spid="137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3542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9" grpId="0" animBg="1"/>
          <p:bldP spid="99" grpId="1" animBg="1"/>
          <p:bldP spid="81" grpId="0"/>
          <p:bldP spid="81" grpId="1"/>
          <p:bldP spid="6" grpId="0"/>
          <p:bldP spid="6" grpId="1"/>
          <p:bldP spid="3" grpId="0"/>
          <p:bldP spid="3" grpId="1"/>
          <p:bldP spid="21" grpId="0"/>
          <p:bldP spid="21" grpId="1"/>
          <p:bldP spid="22" grpId="0"/>
          <p:bldP spid="22" grpId="1"/>
          <p:bldP spid="23" grpId="0"/>
          <p:bldP spid="23" grpId="1"/>
          <p:bldP spid="64" grpId="0" animBg="1"/>
          <p:bldP spid="94" grpId="0"/>
          <p:bldP spid="94" grpId="1"/>
          <p:bldP spid="140" grpId="0" animBg="1"/>
        </p:bldLst>
      </p:timing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E915C3C-AF8D-339D-EE0A-7A92B51905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Forme libre : forme 82">
            <a:extLst>
              <a:ext uri="{FF2B5EF4-FFF2-40B4-BE49-F238E27FC236}">
                <a16:creationId xmlns:a16="http://schemas.microsoft.com/office/drawing/2014/main" id="{F890AFD9-DA8D-161B-53ED-B6830FF2189B}"/>
              </a:ext>
            </a:extLst>
          </p:cNvPr>
          <p:cNvSpPr/>
          <p:nvPr/>
        </p:nvSpPr>
        <p:spPr>
          <a:xfrm>
            <a:off x="0" y="-1"/>
            <a:ext cx="8267489" cy="6858001"/>
          </a:xfrm>
          <a:custGeom>
            <a:avLst/>
            <a:gdLst>
              <a:gd name="connsiteX0" fmla="*/ 698500 w 8267489"/>
              <a:gd name="connsiteY0" fmla="*/ 0 h 6858001"/>
              <a:gd name="connsiteX1" fmla="*/ 870934 w 8267489"/>
              <a:gd name="connsiteY1" fmla="*/ 0 h 6858001"/>
              <a:gd name="connsiteX2" fmla="*/ 914400 w 8267489"/>
              <a:gd name="connsiteY2" fmla="*/ 0 h 6858001"/>
              <a:gd name="connsiteX3" fmla="*/ 1086834 w 8267489"/>
              <a:gd name="connsiteY3" fmla="*/ 0 h 6858001"/>
              <a:gd name="connsiteX4" fmla="*/ 1676400 w 8267489"/>
              <a:gd name="connsiteY4" fmla="*/ 0 h 6858001"/>
              <a:gd name="connsiteX5" fmla="*/ 1848834 w 8267489"/>
              <a:gd name="connsiteY5" fmla="*/ 0 h 6858001"/>
              <a:gd name="connsiteX6" fmla="*/ 1892300 w 8267489"/>
              <a:gd name="connsiteY6" fmla="*/ 0 h 6858001"/>
              <a:gd name="connsiteX7" fmla="*/ 2064734 w 8267489"/>
              <a:gd name="connsiteY7" fmla="*/ 0 h 6858001"/>
              <a:gd name="connsiteX8" fmla="*/ 3704921 w 8267489"/>
              <a:gd name="connsiteY8" fmla="*/ 0 h 6858001"/>
              <a:gd name="connsiteX9" fmla="*/ 3877356 w 8267489"/>
              <a:gd name="connsiteY9" fmla="*/ 0 h 6858001"/>
              <a:gd name="connsiteX10" fmla="*/ 3920821 w 8267489"/>
              <a:gd name="connsiteY10" fmla="*/ 0 h 6858001"/>
              <a:gd name="connsiteX11" fmla="*/ 4093256 w 8267489"/>
              <a:gd name="connsiteY11" fmla="*/ 0 h 6858001"/>
              <a:gd name="connsiteX12" fmla="*/ 4682821 w 8267489"/>
              <a:gd name="connsiteY12" fmla="*/ 0 h 6858001"/>
              <a:gd name="connsiteX13" fmla="*/ 4855256 w 8267489"/>
              <a:gd name="connsiteY13" fmla="*/ 0 h 6858001"/>
              <a:gd name="connsiteX14" fmla="*/ 4898721 w 8267489"/>
              <a:gd name="connsiteY14" fmla="*/ 0 h 6858001"/>
              <a:gd name="connsiteX15" fmla="*/ 5071156 w 8267489"/>
              <a:gd name="connsiteY15" fmla="*/ 0 h 6858001"/>
              <a:gd name="connsiteX16" fmla="*/ 5197188 w 8267489"/>
              <a:gd name="connsiteY16" fmla="*/ 188711 h 6858001"/>
              <a:gd name="connsiteX17" fmla="*/ 5588556 w 8267489"/>
              <a:gd name="connsiteY17" fmla="*/ 1666078 h 6858001"/>
              <a:gd name="connsiteX18" fmla="*/ 7216563 w 8267489"/>
              <a:gd name="connsiteY18" fmla="*/ 4776305 h 6858001"/>
              <a:gd name="connsiteX19" fmla="*/ 7742964 w 8267489"/>
              <a:gd name="connsiteY19" fmla="*/ 5157901 h 6858001"/>
              <a:gd name="connsiteX20" fmla="*/ 8249493 w 8267489"/>
              <a:gd name="connsiteY20" fmla="*/ 6849956 h 6858001"/>
              <a:gd name="connsiteX21" fmla="*/ 8248130 w 8267489"/>
              <a:gd name="connsiteY21" fmla="*/ 6858001 h 6858001"/>
              <a:gd name="connsiteX22" fmla="*/ 8075696 w 8267489"/>
              <a:gd name="connsiteY22" fmla="*/ 6858001 h 6858001"/>
              <a:gd name="connsiteX23" fmla="*/ 8032230 w 8267489"/>
              <a:gd name="connsiteY23" fmla="*/ 6858001 h 6858001"/>
              <a:gd name="connsiteX24" fmla="*/ 7859796 w 8267489"/>
              <a:gd name="connsiteY24" fmla="*/ 6858001 h 6858001"/>
              <a:gd name="connsiteX25" fmla="*/ 7270230 w 8267489"/>
              <a:gd name="connsiteY25" fmla="*/ 6858001 h 6858001"/>
              <a:gd name="connsiteX26" fmla="*/ 7097795 w 8267489"/>
              <a:gd name="connsiteY26" fmla="*/ 6858001 h 6858001"/>
              <a:gd name="connsiteX27" fmla="*/ 7054330 w 8267489"/>
              <a:gd name="connsiteY27" fmla="*/ 6858001 h 6858001"/>
              <a:gd name="connsiteX28" fmla="*/ 6881895 w 8267489"/>
              <a:gd name="connsiteY28" fmla="*/ 6858001 h 6858001"/>
              <a:gd name="connsiteX29" fmla="*/ 2064734 w 8267489"/>
              <a:gd name="connsiteY29" fmla="*/ 6858001 h 6858001"/>
              <a:gd name="connsiteX30" fmla="*/ 1892300 w 8267489"/>
              <a:gd name="connsiteY30" fmla="*/ 6858001 h 6858001"/>
              <a:gd name="connsiteX31" fmla="*/ 1848834 w 8267489"/>
              <a:gd name="connsiteY31" fmla="*/ 6858001 h 6858001"/>
              <a:gd name="connsiteX32" fmla="*/ 1676400 w 8267489"/>
              <a:gd name="connsiteY32" fmla="*/ 6858001 h 6858001"/>
              <a:gd name="connsiteX33" fmla="*/ 1523706 w 8267489"/>
              <a:gd name="connsiteY33" fmla="*/ 6858001 h 6858001"/>
              <a:gd name="connsiteX34" fmla="*/ 1086834 w 8267489"/>
              <a:gd name="connsiteY34" fmla="*/ 6858001 h 6858001"/>
              <a:gd name="connsiteX35" fmla="*/ 914400 w 8267489"/>
              <a:gd name="connsiteY35" fmla="*/ 6858001 h 6858001"/>
              <a:gd name="connsiteX36" fmla="*/ 870934 w 8267489"/>
              <a:gd name="connsiteY36" fmla="*/ 6858001 h 6858001"/>
              <a:gd name="connsiteX37" fmla="*/ 698500 w 8267489"/>
              <a:gd name="connsiteY37" fmla="*/ 6858001 h 6858001"/>
              <a:gd name="connsiteX38" fmla="*/ 0 w 8267489"/>
              <a:gd name="connsiteY38" fmla="*/ 6858001 h 6858001"/>
              <a:gd name="connsiteX39" fmla="*/ 0 w 8267489"/>
              <a:gd name="connsiteY39" fmla="*/ 1 h 6858001"/>
              <a:gd name="connsiteX40" fmla="*/ 698500 w 8267489"/>
              <a:gd name="connsiteY40" fmla="*/ 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8267489" h="6858001">
                <a:moveTo>
                  <a:pt x="698500" y="0"/>
                </a:moveTo>
                <a:lnTo>
                  <a:pt x="870934" y="0"/>
                </a:lnTo>
                <a:lnTo>
                  <a:pt x="914400" y="0"/>
                </a:lnTo>
                <a:lnTo>
                  <a:pt x="1086834" y="0"/>
                </a:lnTo>
                <a:lnTo>
                  <a:pt x="1676400" y="0"/>
                </a:lnTo>
                <a:lnTo>
                  <a:pt x="1848834" y="0"/>
                </a:lnTo>
                <a:lnTo>
                  <a:pt x="1892300" y="0"/>
                </a:lnTo>
                <a:lnTo>
                  <a:pt x="2064734" y="0"/>
                </a:lnTo>
                <a:lnTo>
                  <a:pt x="3704921" y="0"/>
                </a:lnTo>
                <a:lnTo>
                  <a:pt x="3877356" y="0"/>
                </a:lnTo>
                <a:lnTo>
                  <a:pt x="3920821" y="0"/>
                </a:lnTo>
                <a:lnTo>
                  <a:pt x="4093256" y="0"/>
                </a:lnTo>
                <a:lnTo>
                  <a:pt x="4682821" y="0"/>
                </a:lnTo>
                <a:lnTo>
                  <a:pt x="4855256" y="0"/>
                </a:lnTo>
                <a:lnTo>
                  <a:pt x="4898721" y="0"/>
                </a:lnTo>
                <a:lnTo>
                  <a:pt x="5071156" y="0"/>
                </a:lnTo>
                <a:lnTo>
                  <a:pt x="5197188" y="188711"/>
                </a:lnTo>
                <a:cubicBezTo>
                  <a:pt x="5459862" y="628568"/>
                  <a:pt x="5591256" y="1147067"/>
                  <a:pt x="5588556" y="1666078"/>
                </a:cubicBezTo>
                <a:cubicBezTo>
                  <a:pt x="5577122" y="3752273"/>
                  <a:pt x="5990620" y="4200460"/>
                  <a:pt x="7216563" y="4776305"/>
                </a:cubicBezTo>
                <a:cubicBezTo>
                  <a:pt x="7406021" y="4859894"/>
                  <a:pt x="7584923" y="4986820"/>
                  <a:pt x="7742964" y="5157901"/>
                </a:cubicBezTo>
                <a:cubicBezTo>
                  <a:pt x="8155129" y="5604071"/>
                  <a:pt x="8326686" y="6243443"/>
                  <a:pt x="8249493" y="6849956"/>
                </a:cubicBezTo>
                <a:lnTo>
                  <a:pt x="8248130" y="6858001"/>
                </a:lnTo>
                <a:lnTo>
                  <a:pt x="8075696" y="6858001"/>
                </a:lnTo>
                <a:lnTo>
                  <a:pt x="8032230" y="6858001"/>
                </a:lnTo>
                <a:lnTo>
                  <a:pt x="7859796" y="6858001"/>
                </a:lnTo>
                <a:lnTo>
                  <a:pt x="7270230" y="6858001"/>
                </a:lnTo>
                <a:lnTo>
                  <a:pt x="7097795" y="6858001"/>
                </a:lnTo>
                <a:lnTo>
                  <a:pt x="7054330" y="6858001"/>
                </a:lnTo>
                <a:lnTo>
                  <a:pt x="6881895" y="6858001"/>
                </a:lnTo>
                <a:lnTo>
                  <a:pt x="2064734" y="6858001"/>
                </a:lnTo>
                <a:lnTo>
                  <a:pt x="1892300" y="6858001"/>
                </a:lnTo>
                <a:lnTo>
                  <a:pt x="1848834" y="6858001"/>
                </a:lnTo>
                <a:lnTo>
                  <a:pt x="1676400" y="6858001"/>
                </a:lnTo>
                <a:lnTo>
                  <a:pt x="1523706" y="6858001"/>
                </a:lnTo>
                <a:lnTo>
                  <a:pt x="1086834" y="6858001"/>
                </a:lnTo>
                <a:lnTo>
                  <a:pt x="914400" y="6858001"/>
                </a:lnTo>
                <a:lnTo>
                  <a:pt x="870934" y="6858001"/>
                </a:lnTo>
                <a:lnTo>
                  <a:pt x="698500" y="6858001"/>
                </a:lnTo>
                <a:lnTo>
                  <a:pt x="0" y="6858001"/>
                </a:lnTo>
                <a:lnTo>
                  <a:pt x="0" y="1"/>
                </a:lnTo>
                <a:lnTo>
                  <a:pt x="698500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81A9DF1E-67C6-DA07-067A-981513E9816E}"/>
              </a:ext>
            </a:extLst>
          </p:cNvPr>
          <p:cNvSpPr txBox="1"/>
          <p:nvPr/>
        </p:nvSpPr>
        <p:spPr>
          <a:xfrm>
            <a:off x="1718115" y="3403640"/>
            <a:ext cx="2928687" cy="83099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fr-FR" b="1">
                <a:solidFill>
                  <a:schemeClr val="tx2"/>
                </a:solidFill>
                <a:latin typeface="+mj-lt"/>
              </a:rPr>
              <a:t>Devenons les précurseurs </a:t>
            </a:r>
            <a:br>
              <a:rPr lang="fr-FR" b="1">
                <a:solidFill>
                  <a:schemeClr val="tx2"/>
                </a:solidFill>
                <a:latin typeface="+mj-lt"/>
              </a:rPr>
            </a:br>
            <a:r>
              <a:rPr lang="fr-FR" b="1">
                <a:solidFill>
                  <a:schemeClr val="tx2"/>
                </a:solidFill>
                <a:latin typeface="+mj-lt"/>
              </a:rPr>
              <a:t>de la lutte anti-gaspi </a:t>
            </a:r>
            <a:br>
              <a:rPr lang="fr-FR" b="1">
                <a:solidFill>
                  <a:schemeClr val="tx2"/>
                </a:solidFill>
                <a:latin typeface="+mj-lt"/>
              </a:rPr>
            </a:br>
            <a:r>
              <a:rPr lang="fr-FR" b="1">
                <a:solidFill>
                  <a:schemeClr val="tx2"/>
                </a:solidFill>
                <a:latin typeface="+mj-lt"/>
              </a:rPr>
              <a:t>de médicaments</a:t>
            </a:r>
          </a:p>
        </p:txBody>
      </p: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6226C9DD-1081-B5DC-4EEC-0A96050875C0}"/>
              </a:ext>
            </a:extLst>
          </p:cNvPr>
          <p:cNvGrpSpPr/>
          <p:nvPr/>
        </p:nvGrpSpPr>
        <p:grpSpPr>
          <a:xfrm>
            <a:off x="1703667" y="2800448"/>
            <a:ext cx="2893733" cy="448570"/>
            <a:chOff x="4777067" y="3224547"/>
            <a:chExt cx="2637867" cy="408907"/>
          </a:xfrm>
        </p:grpSpPr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541D8256-B2FE-8597-D694-4AF7455F4BE4}"/>
                </a:ext>
              </a:extLst>
            </p:cNvPr>
            <p:cNvSpPr/>
            <p:nvPr/>
          </p:nvSpPr>
          <p:spPr>
            <a:xfrm>
              <a:off x="5339077" y="3230626"/>
              <a:ext cx="312433" cy="384284"/>
            </a:xfrm>
            <a:custGeom>
              <a:avLst/>
              <a:gdLst>
                <a:gd name="connsiteX0" fmla="*/ 485680 w 543401"/>
                <a:gd name="connsiteY0" fmla="*/ 563308 h 668369"/>
                <a:gd name="connsiteX1" fmla="*/ 528161 w 543401"/>
                <a:gd name="connsiteY1" fmla="*/ 580739 h 668369"/>
                <a:gd name="connsiteX2" fmla="*/ 543401 w 543401"/>
                <a:gd name="connsiteY2" fmla="*/ 617887 h 668369"/>
                <a:gd name="connsiteX3" fmla="*/ 529114 w 543401"/>
                <a:gd name="connsiteY3" fmla="*/ 652653 h 668369"/>
                <a:gd name="connsiteX4" fmla="*/ 485680 w 543401"/>
                <a:gd name="connsiteY4" fmla="*/ 668369 h 668369"/>
                <a:gd name="connsiteX5" fmla="*/ 69247 w 543401"/>
                <a:gd name="connsiteY5" fmla="*/ 668369 h 668369"/>
                <a:gd name="connsiteX6" fmla="*/ 18860 w 543401"/>
                <a:gd name="connsiteY6" fmla="*/ 650081 h 668369"/>
                <a:gd name="connsiteX7" fmla="*/ 0 w 543401"/>
                <a:gd name="connsiteY7" fmla="*/ 605409 h 668369"/>
                <a:gd name="connsiteX8" fmla="*/ 0 w 543401"/>
                <a:gd name="connsiteY8" fmla="*/ 61913 h 668369"/>
                <a:gd name="connsiteX9" fmla="*/ 18860 w 543401"/>
                <a:gd name="connsiteY9" fmla="*/ 18479 h 668369"/>
                <a:gd name="connsiteX10" fmla="*/ 69247 w 543401"/>
                <a:gd name="connsiteY10" fmla="*/ 0 h 668369"/>
                <a:gd name="connsiteX11" fmla="*/ 485775 w 543401"/>
                <a:gd name="connsiteY11" fmla="*/ 0 h 668369"/>
                <a:gd name="connsiteX12" fmla="*/ 527685 w 543401"/>
                <a:gd name="connsiteY12" fmla="*/ 15240 h 668369"/>
                <a:gd name="connsiteX13" fmla="*/ 541401 w 543401"/>
                <a:gd name="connsiteY13" fmla="*/ 50197 h 668369"/>
                <a:gd name="connsiteX14" fmla="*/ 527304 w 543401"/>
                <a:gd name="connsiteY14" fmla="*/ 86106 h 668369"/>
                <a:gd name="connsiteX15" fmla="*/ 485870 w 543401"/>
                <a:gd name="connsiteY15" fmla="*/ 102775 h 668369"/>
                <a:gd name="connsiteX16" fmla="*/ 119634 w 543401"/>
                <a:gd name="connsiteY16" fmla="*/ 102775 h 668369"/>
                <a:gd name="connsiteX17" fmla="*/ 119634 w 543401"/>
                <a:gd name="connsiteY17" fmla="*/ 286321 h 668369"/>
                <a:gd name="connsiteX18" fmla="*/ 466916 w 543401"/>
                <a:gd name="connsiteY18" fmla="*/ 286321 h 668369"/>
                <a:gd name="connsiteX19" fmla="*/ 507778 w 543401"/>
                <a:gd name="connsiteY19" fmla="*/ 302609 h 668369"/>
                <a:gd name="connsiteX20" fmla="*/ 521494 w 543401"/>
                <a:gd name="connsiteY20" fmla="*/ 338899 h 668369"/>
                <a:gd name="connsiteX21" fmla="*/ 507778 w 543401"/>
                <a:gd name="connsiteY21" fmla="*/ 373475 h 668369"/>
                <a:gd name="connsiteX22" fmla="*/ 466916 w 543401"/>
                <a:gd name="connsiteY22" fmla="*/ 389191 h 668369"/>
                <a:gd name="connsiteX23" fmla="*/ 119634 w 543401"/>
                <a:gd name="connsiteY23" fmla="*/ 389191 h 668369"/>
                <a:gd name="connsiteX24" fmla="*/ 119634 w 543401"/>
                <a:gd name="connsiteY24" fmla="*/ 563404 h 668369"/>
                <a:gd name="connsiteX25" fmla="*/ 485775 w 543401"/>
                <a:gd name="connsiteY25" fmla="*/ 563404 h 668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43401" h="668369">
                  <a:moveTo>
                    <a:pt x="485680" y="563308"/>
                  </a:moveTo>
                  <a:cubicBezTo>
                    <a:pt x="503968" y="563308"/>
                    <a:pt x="518065" y="569119"/>
                    <a:pt x="528161" y="580739"/>
                  </a:cubicBezTo>
                  <a:cubicBezTo>
                    <a:pt x="538353" y="592264"/>
                    <a:pt x="543401" y="604647"/>
                    <a:pt x="543401" y="617887"/>
                  </a:cubicBezTo>
                  <a:cubicBezTo>
                    <a:pt x="543401" y="631126"/>
                    <a:pt x="538639" y="642080"/>
                    <a:pt x="529114" y="652653"/>
                  </a:cubicBezTo>
                  <a:cubicBezTo>
                    <a:pt x="519684" y="663130"/>
                    <a:pt x="505206" y="668369"/>
                    <a:pt x="485680" y="668369"/>
                  </a:cubicBezTo>
                  <a:lnTo>
                    <a:pt x="69247" y="668369"/>
                  </a:lnTo>
                  <a:cubicBezTo>
                    <a:pt x="48197" y="668369"/>
                    <a:pt x="31433" y="662273"/>
                    <a:pt x="18860" y="650081"/>
                  </a:cubicBezTo>
                  <a:cubicBezTo>
                    <a:pt x="6286" y="637794"/>
                    <a:pt x="0" y="622935"/>
                    <a:pt x="0" y="605409"/>
                  </a:cubicBezTo>
                  <a:lnTo>
                    <a:pt x="0" y="61913"/>
                  </a:lnTo>
                  <a:cubicBezTo>
                    <a:pt x="0" y="45148"/>
                    <a:pt x="6286" y="30671"/>
                    <a:pt x="18860" y="18479"/>
                  </a:cubicBezTo>
                  <a:cubicBezTo>
                    <a:pt x="31433" y="6191"/>
                    <a:pt x="48197" y="0"/>
                    <a:pt x="69247" y="0"/>
                  </a:cubicBezTo>
                  <a:lnTo>
                    <a:pt x="485775" y="0"/>
                  </a:lnTo>
                  <a:cubicBezTo>
                    <a:pt x="504635" y="0"/>
                    <a:pt x="518636" y="5143"/>
                    <a:pt x="527685" y="15240"/>
                  </a:cubicBezTo>
                  <a:cubicBezTo>
                    <a:pt x="536829" y="25337"/>
                    <a:pt x="541401" y="36957"/>
                    <a:pt x="541401" y="50197"/>
                  </a:cubicBezTo>
                  <a:cubicBezTo>
                    <a:pt x="541401" y="63437"/>
                    <a:pt x="536734" y="74866"/>
                    <a:pt x="527304" y="86106"/>
                  </a:cubicBezTo>
                  <a:cubicBezTo>
                    <a:pt x="517874" y="97250"/>
                    <a:pt x="504063" y="102775"/>
                    <a:pt x="485870" y="102775"/>
                  </a:cubicBezTo>
                  <a:lnTo>
                    <a:pt x="119634" y="102775"/>
                  </a:lnTo>
                  <a:lnTo>
                    <a:pt x="119634" y="286321"/>
                  </a:lnTo>
                  <a:lnTo>
                    <a:pt x="466916" y="286321"/>
                  </a:lnTo>
                  <a:cubicBezTo>
                    <a:pt x="485013" y="286321"/>
                    <a:pt x="498634" y="291751"/>
                    <a:pt x="507778" y="302609"/>
                  </a:cubicBezTo>
                  <a:cubicBezTo>
                    <a:pt x="516922" y="313468"/>
                    <a:pt x="521494" y="325564"/>
                    <a:pt x="521494" y="338899"/>
                  </a:cubicBezTo>
                  <a:cubicBezTo>
                    <a:pt x="521494" y="351472"/>
                    <a:pt x="516922" y="362998"/>
                    <a:pt x="507778" y="373475"/>
                  </a:cubicBezTo>
                  <a:cubicBezTo>
                    <a:pt x="498634" y="383953"/>
                    <a:pt x="485013" y="389191"/>
                    <a:pt x="466916" y="389191"/>
                  </a:cubicBezTo>
                  <a:lnTo>
                    <a:pt x="119634" y="389191"/>
                  </a:lnTo>
                  <a:lnTo>
                    <a:pt x="119634" y="563404"/>
                  </a:lnTo>
                  <a:lnTo>
                    <a:pt x="485775" y="563404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FE68B9BE-350F-5B69-4C4A-AAA75FBA2BE9}"/>
                </a:ext>
              </a:extLst>
            </p:cNvPr>
            <p:cNvSpPr/>
            <p:nvPr/>
          </p:nvSpPr>
          <p:spPr>
            <a:xfrm>
              <a:off x="5700853" y="3301656"/>
              <a:ext cx="287032" cy="319168"/>
            </a:xfrm>
            <a:custGeom>
              <a:avLst/>
              <a:gdLst>
                <a:gd name="connsiteX0" fmla="*/ 394811 w 499223"/>
                <a:gd name="connsiteY0" fmla="*/ 154400 h 555116"/>
                <a:gd name="connsiteX1" fmla="*/ 338042 w 499223"/>
                <a:gd name="connsiteY1" fmla="*/ 114490 h 555116"/>
                <a:gd name="connsiteX2" fmla="*/ 274130 w 499223"/>
                <a:gd name="connsiteY2" fmla="*/ 102965 h 555116"/>
                <a:gd name="connsiteX3" fmla="*/ 162782 w 499223"/>
                <a:gd name="connsiteY3" fmla="*/ 150781 h 555116"/>
                <a:gd name="connsiteX4" fmla="*/ 120872 w 499223"/>
                <a:gd name="connsiteY4" fmla="*/ 279178 h 555116"/>
                <a:gd name="connsiteX5" fmla="*/ 164306 w 499223"/>
                <a:gd name="connsiteY5" fmla="*/ 403955 h 555116"/>
                <a:gd name="connsiteX6" fmla="*/ 278225 w 499223"/>
                <a:gd name="connsiteY6" fmla="*/ 451199 h 555116"/>
                <a:gd name="connsiteX7" fmla="*/ 342138 w 499223"/>
                <a:gd name="connsiteY7" fmla="*/ 440246 h 555116"/>
                <a:gd name="connsiteX8" fmla="*/ 399860 w 499223"/>
                <a:gd name="connsiteY8" fmla="*/ 403955 h 555116"/>
                <a:gd name="connsiteX9" fmla="*/ 445484 w 499223"/>
                <a:gd name="connsiteY9" fmla="*/ 379952 h 555116"/>
                <a:gd name="connsiteX10" fmla="*/ 482822 w 499223"/>
                <a:gd name="connsiteY10" fmla="*/ 392430 h 555116"/>
                <a:gd name="connsiteX11" fmla="*/ 499110 w 499223"/>
                <a:gd name="connsiteY11" fmla="*/ 427768 h 555116"/>
                <a:gd name="connsiteX12" fmla="*/ 480632 w 499223"/>
                <a:gd name="connsiteY12" fmla="*/ 471202 h 555116"/>
                <a:gd name="connsiteX13" fmla="*/ 386810 w 499223"/>
                <a:gd name="connsiteY13" fmla="*/ 535686 h 555116"/>
                <a:gd name="connsiteX14" fmla="*/ 277273 w 499223"/>
                <a:gd name="connsiteY14" fmla="*/ 555117 h 555116"/>
                <a:gd name="connsiteX15" fmla="*/ 131826 w 499223"/>
                <a:gd name="connsiteY15" fmla="*/ 520541 h 555116"/>
                <a:gd name="connsiteX16" fmla="*/ 34576 w 499223"/>
                <a:gd name="connsiteY16" fmla="*/ 423863 h 555116"/>
                <a:gd name="connsiteX17" fmla="*/ 0 w 499223"/>
                <a:gd name="connsiteY17" fmla="*/ 280035 h 555116"/>
                <a:gd name="connsiteX18" fmla="*/ 34100 w 499223"/>
                <a:gd name="connsiteY18" fmla="*/ 132207 h 555116"/>
                <a:gd name="connsiteX19" fmla="*/ 130112 w 499223"/>
                <a:gd name="connsiteY19" fmla="*/ 34766 h 555116"/>
                <a:gd name="connsiteX20" fmla="*/ 273939 w 499223"/>
                <a:gd name="connsiteY20" fmla="*/ 0 h 555116"/>
                <a:gd name="connsiteX21" fmla="*/ 381286 w 499223"/>
                <a:gd name="connsiteY21" fmla="*/ 17907 h 555116"/>
                <a:gd name="connsiteX22" fmla="*/ 473202 w 499223"/>
                <a:gd name="connsiteY22" fmla="*/ 84963 h 555116"/>
                <a:gd name="connsiteX23" fmla="*/ 489490 w 499223"/>
                <a:gd name="connsiteY23" fmla="*/ 128016 h 555116"/>
                <a:gd name="connsiteX24" fmla="*/ 471011 w 499223"/>
                <a:gd name="connsiteY24" fmla="*/ 162592 h 555116"/>
                <a:gd name="connsiteX25" fmla="*/ 433864 w 499223"/>
                <a:gd name="connsiteY25" fmla="*/ 175927 h 555116"/>
                <a:gd name="connsiteX26" fmla="*/ 394526 w 499223"/>
                <a:gd name="connsiteY26" fmla="*/ 154305 h 555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99223" h="555116">
                  <a:moveTo>
                    <a:pt x="394811" y="154400"/>
                  </a:moveTo>
                  <a:cubicBezTo>
                    <a:pt x="378619" y="135541"/>
                    <a:pt x="359759" y="122206"/>
                    <a:pt x="338042" y="114490"/>
                  </a:cubicBezTo>
                  <a:cubicBezTo>
                    <a:pt x="316325" y="106871"/>
                    <a:pt x="294989" y="102965"/>
                    <a:pt x="274130" y="102965"/>
                  </a:cubicBezTo>
                  <a:cubicBezTo>
                    <a:pt x="227933" y="102965"/>
                    <a:pt x="190881" y="118967"/>
                    <a:pt x="162782" y="150781"/>
                  </a:cubicBezTo>
                  <a:cubicBezTo>
                    <a:pt x="134874" y="182499"/>
                    <a:pt x="120872" y="225361"/>
                    <a:pt x="120872" y="279178"/>
                  </a:cubicBezTo>
                  <a:cubicBezTo>
                    <a:pt x="120872" y="332994"/>
                    <a:pt x="135350" y="372523"/>
                    <a:pt x="164306" y="403955"/>
                  </a:cubicBezTo>
                  <a:cubicBezTo>
                    <a:pt x="193262" y="435483"/>
                    <a:pt x="231267" y="451199"/>
                    <a:pt x="278225" y="451199"/>
                  </a:cubicBezTo>
                  <a:cubicBezTo>
                    <a:pt x="299085" y="451199"/>
                    <a:pt x="320421" y="447580"/>
                    <a:pt x="342138" y="440246"/>
                  </a:cubicBezTo>
                  <a:cubicBezTo>
                    <a:pt x="363855" y="432816"/>
                    <a:pt x="383096" y="420719"/>
                    <a:pt x="399860" y="403955"/>
                  </a:cubicBezTo>
                  <a:cubicBezTo>
                    <a:pt x="415385" y="388620"/>
                    <a:pt x="430530" y="380619"/>
                    <a:pt x="445484" y="379952"/>
                  </a:cubicBezTo>
                  <a:cubicBezTo>
                    <a:pt x="460534" y="379190"/>
                    <a:pt x="473012" y="383286"/>
                    <a:pt x="482822" y="392430"/>
                  </a:cubicBezTo>
                  <a:cubicBezTo>
                    <a:pt x="492633" y="401574"/>
                    <a:pt x="497967" y="413385"/>
                    <a:pt x="499110" y="427768"/>
                  </a:cubicBezTo>
                  <a:cubicBezTo>
                    <a:pt x="500158" y="442055"/>
                    <a:pt x="493967" y="456533"/>
                    <a:pt x="480632" y="471202"/>
                  </a:cubicBezTo>
                  <a:cubicBezTo>
                    <a:pt x="453390" y="501301"/>
                    <a:pt x="422053" y="522732"/>
                    <a:pt x="386810" y="535686"/>
                  </a:cubicBezTo>
                  <a:cubicBezTo>
                    <a:pt x="351568" y="548640"/>
                    <a:pt x="314992" y="555117"/>
                    <a:pt x="277273" y="555117"/>
                  </a:cubicBezTo>
                  <a:cubicBezTo>
                    <a:pt x="221933" y="555117"/>
                    <a:pt x="173450" y="543592"/>
                    <a:pt x="131826" y="520541"/>
                  </a:cubicBezTo>
                  <a:cubicBezTo>
                    <a:pt x="90107" y="497396"/>
                    <a:pt x="57722" y="465201"/>
                    <a:pt x="34576" y="423863"/>
                  </a:cubicBezTo>
                  <a:cubicBezTo>
                    <a:pt x="11525" y="382619"/>
                    <a:pt x="0" y="334708"/>
                    <a:pt x="0" y="280035"/>
                  </a:cubicBezTo>
                  <a:cubicBezTo>
                    <a:pt x="0" y="225361"/>
                    <a:pt x="11335" y="174212"/>
                    <a:pt x="34100" y="132207"/>
                  </a:cubicBezTo>
                  <a:cubicBezTo>
                    <a:pt x="56864" y="90297"/>
                    <a:pt x="88868" y="57817"/>
                    <a:pt x="130112" y="34766"/>
                  </a:cubicBezTo>
                  <a:cubicBezTo>
                    <a:pt x="171355" y="11621"/>
                    <a:pt x="219266" y="0"/>
                    <a:pt x="273939" y="0"/>
                  </a:cubicBezTo>
                  <a:cubicBezTo>
                    <a:pt x="312325" y="0"/>
                    <a:pt x="348044" y="6001"/>
                    <a:pt x="381286" y="17907"/>
                  </a:cubicBezTo>
                  <a:cubicBezTo>
                    <a:pt x="414623" y="29718"/>
                    <a:pt x="445199" y="52006"/>
                    <a:pt x="473202" y="84963"/>
                  </a:cubicBezTo>
                  <a:cubicBezTo>
                    <a:pt x="485870" y="99631"/>
                    <a:pt x="491300" y="114014"/>
                    <a:pt x="489490" y="128016"/>
                  </a:cubicBezTo>
                  <a:cubicBezTo>
                    <a:pt x="487775" y="141922"/>
                    <a:pt x="481584" y="153448"/>
                    <a:pt x="471011" y="162592"/>
                  </a:cubicBezTo>
                  <a:cubicBezTo>
                    <a:pt x="460534" y="171736"/>
                    <a:pt x="448151" y="176213"/>
                    <a:pt x="433864" y="175927"/>
                  </a:cubicBezTo>
                  <a:cubicBezTo>
                    <a:pt x="419576" y="175546"/>
                    <a:pt x="406432" y="168307"/>
                    <a:pt x="394526" y="154305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EEC4802D-4B53-669F-EEA0-CCECDB2051ED}"/>
                </a:ext>
              </a:extLst>
            </p:cNvPr>
            <p:cNvSpPr/>
            <p:nvPr/>
          </p:nvSpPr>
          <p:spPr>
            <a:xfrm>
              <a:off x="6026210" y="3301766"/>
              <a:ext cx="320921" cy="319168"/>
            </a:xfrm>
            <a:custGeom>
              <a:avLst/>
              <a:gdLst>
                <a:gd name="connsiteX0" fmla="*/ 278892 w 558165"/>
                <a:gd name="connsiteY0" fmla="*/ 0 h 555116"/>
                <a:gd name="connsiteX1" fmla="*/ 425767 w 558165"/>
                <a:gd name="connsiteY1" fmla="*/ 35147 h 555116"/>
                <a:gd name="connsiteX2" fmla="*/ 523399 w 558165"/>
                <a:gd name="connsiteY2" fmla="*/ 133160 h 555116"/>
                <a:gd name="connsiteX3" fmla="*/ 558165 w 558165"/>
                <a:gd name="connsiteY3" fmla="*/ 280035 h 555116"/>
                <a:gd name="connsiteX4" fmla="*/ 521875 w 558165"/>
                <a:gd name="connsiteY4" fmla="*/ 423863 h 555116"/>
                <a:gd name="connsiteX5" fmla="*/ 424243 w 558165"/>
                <a:gd name="connsiteY5" fmla="*/ 520541 h 555116"/>
                <a:gd name="connsiteX6" fmla="*/ 278987 w 558165"/>
                <a:gd name="connsiteY6" fmla="*/ 555117 h 555116"/>
                <a:gd name="connsiteX7" fmla="*/ 134112 w 558165"/>
                <a:gd name="connsiteY7" fmla="*/ 520541 h 555116"/>
                <a:gd name="connsiteX8" fmla="*/ 36100 w 558165"/>
                <a:gd name="connsiteY8" fmla="*/ 423863 h 555116"/>
                <a:gd name="connsiteX9" fmla="*/ 0 w 558165"/>
                <a:gd name="connsiteY9" fmla="*/ 280035 h 555116"/>
                <a:gd name="connsiteX10" fmla="*/ 35147 w 558165"/>
                <a:gd name="connsiteY10" fmla="*/ 133160 h 555116"/>
                <a:gd name="connsiteX11" fmla="*/ 133159 w 558165"/>
                <a:gd name="connsiteY11" fmla="*/ 35147 h 555116"/>
                <a:gd name="connsiteX12" fmla="*/ 278987 w 558165"/>
                <a:gd name="connsiteY12" fmla="*/ 0 h 555116"/>
                <a:gd name="connsiteX13" fmla="*/ 278892 w 558165"/>
                <a:gd name="connsiteY13" fmla="*/ 450056 h 555116"/>
                <a:gd name="connsiteX14" fmla="*/ 392811 w 558165"/>
                <a:gd name="connsiteY14" fmla="*/ 402812 h 555116"/>
                <a:gd name="connsiteX15" fmla="*/ 435292 w 558165"/>
                <a:gd name="connsiteY15" fmla="*/ 279940 h 555116"/>
                <a:gd name="connsiteX16" fmla="*/ 392811 w 558165"/>
                <a:gd name="connsiteY16" fmla="*/ 153543 h 555116"/>
                <a:gd name="connsiteX17" fmla="*/ 278892 w 558165"/>
                <a:gd name="connsiteY17" fmla="*/ 104680 h 555116"/>
                <a:gd name="connsiteX18" fmla="*/ 165545 w 558165"/>
                <a:gd name="connsiteY18" fmla="*/ 153543 h 555116"/>
                <a:gd name="connsiteX19" fmla="*/ 122492 w 558165"/>
                <a:gd name="connsiteY19" fmla="*/ 279940 h 555116"/>
                <a:gd name="connsiteX20" fmla="*/ 165545 w 558165"/>
                <a:gd name="connsiteY20" fmla="*/ 402812 h 555116"/>
                <a:gd name="connsiteX21" fmla="*/ 278892 w 558165"/>
                <a:gd name="connsiteY21" fmla="*/ 450056 h 555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58165" h="555116">
                  <a:moveTo>
                    <a:pt x="278892" y="0"/>
                  </a:moveTo>
                  <a:cubicBezTo>
                    <a:pt x="334899" y="0"/>
                    <a:pt x="383762" y="11716"/>
                    <a:pt x="425767" y="35147"/>
                  </a:cubicBezTo>
                  <a:cubicBezTo>
                    <a:pt x="467868" y="58579"/>
                    <a:pt x="500348" y="91249"/>
                    <a:pt x="523399" y="133160"/>
                  </a:cubicBezTo>
                  <a:cubicBezTo>
                    <a:pt x="546545" y="175165"/>
                    <a:pt x="558165" y="224028"/>
                    <a:pt x="558165" y="280035"/>
                  </a:cubicBezTo>
                  <a:cubicBezTo>
                    <a:pt x="557498" y="334708"/>
                    <a:pt x="545401" y="382619"/>
                    <a:pt x="521875" y="423863"/>
                  </a:cubicBezTo>
                  <a:cubicBezTo>
                    <a:pt x="498443" y="465106"/>
                    <a:pt x="465868" y="497396"/>
                    <a:pt x="424243" y="520541"/>
                  </a:cubicBezTo>
                  <a:cubicBezTo>
                    <a:pt x="382714" y="543592"/>
                    <a:pt x="334232" y="555117"/>
                    <a:pt x="278987" y="555117"/>
                  </a:cubicBezTo>
                  <a:cubicBezTo>
                    <a:pt x="223742" y="555117"/>
                    <a:pt x="176213" y="543592"/>
                    <a:pt x="134112" y="520541"/>
                  </a:cubicBezTo>
                  <a:cubicBezTo>
                    <a:pt x="92107" y="497396"/>
                    <a:pt x="59531" y="465201"/>
                    <a:pt x="36100" y="423863"/>
                  </a:cubicBezTo>
                  <a:cubicBezTo>
                    <a:pt x="12668" y="382524"/>
                    <a:pt x="667" y="334708"/>
                    <a:pt x="0" y="280035"/>
                  </a:cubicBezTo>
                  <a:cubicBezTo>
                    <a:pt x="0" y="224028"/>
                    <a:pt x="11716" y="175165"/>
                    <a:pt x="35147" y="133160"/>
                  </a:cubicBezTo>
                  <a:cubicBezTo>
                    <a:pt x="58579" y="91249"/>
                    <a:pt x="91250" y="58579"/>
                    <a:pt x="133159" y="35147"/>
                  </a:cubicBezTo>
                  <a:cubicBezTo>
                    <a:pt x="175260" y="11716"/>
                    <a:pt x="223838" y="0"/>
                    <a:pt x="278987" y="0"/>
                  </a:cubicBezTo>
                  <a:close/>
                  <a:moveTo>
                    <a:pt x="278892" y="450056"/>
                  </a:moveTo>
                  <a:cubicBezTo>
                    <a:pt x="326517" y="450056"/>
                    <a:pt x="364426" y="434340"/>
                    <a:pt x="392811" y="402812"/>
                  </a:cubicBezTo>
                  <a:cubicBezTo>
                    <a:pt x="421100" y="371380"/>
                    <a:pt x="435292" y="330422"/>
                    <a:pt x="435292" y="279940"/>
                  </a:cubicBezTo>
                  <a:cubicBezTo>
                    <a:pt x="435292" y="229457"/>
                    <a:pt x="421100" y="186119"/>
                    <a:pt x="392811" y="153543"/>
                  </a:cubicBezTo>
                  <a:cubicBezTo>
                    <a:pt x="364522" y="120968"/>
                    <a:pt x="326517" y="104680"/>
                    <a:pt x="278892" y="104680"/>
                  </a:cubicBezTo>
                  <a:cubicBezTo>
                    <a:pt x="231267" y="104680"/>
                    <a:pt x="194215" y="120968"/>
                    <a:pt x="165545" y="153543"/>
                  </a:cubicBezTo>
                  <a:cubicBezTo>
                    <a:pt x="136779" y="186119"/>
                    <a:pt x="122492" y="228219"/>
                    <a:pt x="122492" y="279940"/>
                  </a:cubicBezTo>
                  <a:cubicBezTo>
                    <a:pt x="122492" y="331661"/>
                    <a:pt x="136874" y="371285"/>
                    <a:pt x="165545" y="402812"/>
                  </a:cubicBezTo>
                  <a:cubicBezTo>
                    <a:pt x="194215" y="434340"/>
                    <a:pt x="232029" y="450056"/>
                    <a:pt x="278892" y="450056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46D184F7-7D2D-103B-5840-027DF6AB2BD4}"/>
                </a:ext>
              </a:extLst>
            </p:cNvPr>
            <p:cNvSpPr/>
            <p:nvPr/>
          </p:nvSpPr>
          <p:spPr>
            <a:xfrm>
              <a:off x="6406880" y="3230572"/>
              <a:ext cx="316759" cy="384339"/>
            </a:xfrm>
            <a:custGeom>
              <a:avLst/>
              <a:gdLst>
                <a:gd name="connsiteX0" fmla="*/ 120587 w 550926"/>
                <a:gd name="connsiteY0" fmla="*/ 482632 h 668464"/>
                <a:gd name="connsiteX1" fmla="*/ 120587 w 550926"/>
                <a:gd name="connsiteY1" fmla="*/ 614839 h 668464"/>
                <a:gd name="connsiteX2" fmla="*/ 101156 w 550926"/>
                <a:gd name="connsiteY2" fmla="*/ 655320 h 668464"/>
                <a:gd name="connsiteX3" fmla="*/ 59722 w 550926"/>
                <a:gd name="connsiteY3" fmla="*/ 668464 h 668464"/>
                <a:gd name="connsiteX4" fmla="*/ 18288 w 550926"/>
                <a:gd name="connsiteY4" fmla="*/ 655320 h 668464"/>
                <a:gd name="connsiteX5" fmla="*/ 0 w 550926"/>
                <a:gd name="connsiteY5" fmla="*/ 615982 h 668464"/>
                <a:gd name="connsiteX6" fmla="*/ 0 w 550926"/>
                <a:gd name="connsiteY6" fmla="*/ 54578 h 668464"/>
                <a:gd name="connsiteX7" fmla="*/ 17621 w 550926"/>
                <a:gd name="connsiteY7" fmla="*/ 15240 h 668464"/>
                <a:gd name="connsiteX8" fmla="*/ 60674 w 550926"/>
                <a:gd name="connsiteY8" fmla="*/ 0 h 668464"/>
                <a:gd name="connsiteX9" fmla="*/ 274796 w 550926"/>
                <a:gd name="connsiteY9" fmla="*/ 0 h 668464"/>
                <a:gd name="connsiteX10" fmla="*/ 423863 w 550926"/>
                <a:gd name="connsiteY10" fmla="*/ 30956 h 668464"/>
                <a:gd name="connsiteX11" fmla="*/ 518350 w 550926"/>
                <a:gd name="connsiteY11" fmla="*/ 117062 h 668464"/>
                <a:gd name="connsiteX12" fmla="*/ 550926 w 550926"/>
                <a:gd name="connsiteY12" fmla="*/ 246412 h 668464"/>
                <a:gd name="connsiteX13" fmla="*/ 477488 w 550926"/>
                <a:gd name="connsiteY13" fmla="*/ 417481 h 668464"/>
                <a:gd name="connsiteX14" fmla="*/ 271748 w 550926"/>
                <a:gd name="connsiteY14" fmla="*/ 482537 h 668464"/>
                <a:gd name="connsiteX15" fmla="*/ 120777 w 550926"/>
                <a:gd name="connsiteY15" fmla="*/ 482537 h 668464"/>
                <a:gd name="connsiteX16" fmla="*/ 120587 w 550926"/>
                <a:gd name="connsiteY16" fmla="*/ 103822 h 668464"/>
                <a:gd name="connsiteX17" fmla="*/ 120587 w 550926"/>
                <a:gd name="connsiteY17" fmla="*/ 378905 h 668464"/>
                <a:gd name="connsiteX18" fmla="*/ 271558 w 550926"/>
                <a:gd name="connsiteY18" fmla="*/ 378905 h 668464"/>
                <a:gd name="connsiteX19" fmla="*/ 390239 w 550926"/>
                <a:gd name="connsiteY19" fmla="*/ 342805 h 668464"/>
                <a:gd name="connsiteX20" fmla="*/ 431102 w 550926"/>
                <a:gd name="connsiteY20" fmla="*/ 246602 h 668464"/>
                <a:gd name="connsiteX21" fmla="*/ 390620 w 550926"/>
                <a:gd name="connsiteY21" fmla="*/ 142780 h 668464"/>
                <a:gd name="connsiteX22" fmla="*/ 275749 w 550926"/>
                <a:gd name="connsiteY22" fmla="*/ 103918 h 668464"/>
                <a:gd name="connsiteX23" fmla="*/ 120587 w 550926"/>
                <a:gd name="connsiteY23" fmla="*/ 103918 h 668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50926" h="668464">
                  <a:moveTo>
                    <a:pt x="120587" y="482632"/>
                  </a:moveTo>
                  <a:lnTo>
                    <a:pt x="120587" y="614839"/>
                  </a:lnTo>
                  <a:cubicBezTo>
                    <a:pt x="120587" y="633127"/>
                    <a:pt x="114110" y="646557"/>
                    <a:pt x="101156" y="655320"/>
                  </a:cubicBezTo>
                  <a:cubicBezTo>
                    <a:pt x="88202" y="664083"/>
                    <a:pt x="74390" y="668464"/>
                    <a:pt x="59722" y="668464"/>
                  </a:cubicBezTo>
                  <a:cubicBezTo>
                    <a:pt x="45053" y="668464"/>
                    <a:pt x="30575" y="664083"/>
                    <a:pt x="18288" y="655320"/>
                  </a:cubicBezTo>
                  <a:cubicBezTo>
                    <a:pt x="6096" y="646557"/>
                    <a:pt x="0" y="633508"/>
                    <a:pt x="0" y="615982"/>
                  </a:cubicBezTo>
                  <a:lnTo>
                    <a:pt x="0" y="54578"/>
                  </a:lnTo>
                  <a:cubicBezTo>
                    <a:pt x="0" y="38481"/>
                    <a:pt x="5810" y="25337"/>
                    <a:pt x="17621" y="15240"/>
                  </a:cubicBezTo>
                  <a:cubicBezTo>
                    <a:pt x="29528" y="5048"/>
                    <a:pt x="43910" y="0"/>
                    <a:pt x="60674" y="0"/>
                  </a:cubicBezTo>
                  <a:lnTo>
                    <a:pt x="274796" y="0"/>
                  </a:lnTo>
                  <a:cubicBezTo>
                    <a:pt x="332804" y="0"/>
                    <a:pt x="382524" y="10287"/>
                    <a:pt x="423863" y="30956"/>
                  </a:cubicBezTo>
                  <a:cubicBezTo>
                    <a:pt x="465201" y="51626"/>
                    <a:pt x="496634" y="80296"/>
                    <a:pt x="518350" y="117062"/>
                  </a:cubicBezTo>
                  <a:cubicBezTo>
                    <a:pt x="540068" y="153733"/>
                    <a:pt x="550926" y="196882"/>
                    <a:pt x="550926" y="246412"/>
                  </a:cubicBezTo>
                  <a:cubicBezTo>
                    <a:pt x="550926" y="317087"/>
                    <a:pt x="526447" y="374142"/>
                    <a:pt x="477488" y="417481"/>
                  </a:cubicBezTo>
                  <a:cubicBezTo>
                    <a:pt x="428530" y="460915"/>
                    <a:pt x="359950" y="482537"/>
                    <a:pt x="271748" y="482537"/>
                  </a:cubicBezTo>
                  <a:lnTo>
                    <a:pt x="120777" y="482537"/>
                  </a:lnTo>
                  <a:close/>
                  <a:moveTo>
                    <a:pt x="120587" y="103822"/>
                  </a:moveTo>
                  <a:lnTo>
                    <a:pt x="120587" y="378905"/>
                  </a:lnTo>
                  <a:lnTo>
                    <a:pt x="271558" y="378905"/>
                  </a:lnTo>
                  <a:cubicBezTo>
                    <a:pt x="323374" y="378905"/>
                    <a:pt x="362903" y="366903"/>
                    <a:pt x="390239" y="342805"/>
                  </a:cubicBezTo>
                  <a:cubicBezTo>
                    <a:pt x="417481" y="318611"/>
                    <a:pt x="431102" y="286512"/>
                    <a:pt x="431102" y="246602"/>
                  </a:cubicBezTo>
                  <a:cubicBezTo>
                    <a:pt x="431102" y="203263"/>
                    <a:pt x="417576" y="168593"/>
                    <a:pt x="390620" y="142780"/>
                  </a:cubicBezTo>
                  <a:cubicBezTo>
                    <a:pt x="363760" y="116872"/>
                    <a:pt x="325469" y="103918"/>
                    <a:pt x="275749" y="103918"/>
                  </a:cubicBezTo>
                  <a:lnTo>
                    <a:pt x="120587" y="103918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D18DB871-4316-4C7B-07A6-943FB1441388}"/>
                </a:ext>
              </a:extLst>
            </p:cNvPr>
            <p:cNvSpPr/>
            <p:nvPr/>
          </p:nvSpPr>
          <p:spPr>
            <a:xfrm>
              <a:off x="6778458" y="3224547"/>
              <a:ext cx="69934" cy="390309"/>
            </a:xfrm>
            <a:custGeom>
              <a:avLst/>
              <a:gdLst>
                <a:gd name="connsiteX0" fmla="*/ 121634 w 121634"/>
                <a:gd name="connsiteY0" fmla="*/ 66104 h 678846"/>
                <a:gd name="connsiteX1" fmla="*/ 102203 w 121634"/>
                <a:gd name="connsiteY1" fmla="*/ 105442 h 678846"/>
                <a:gd name="connsiteX2" fmla="*/ 60770 w 121634"/>
                <a:gd name="connsiteY2" fmla="*/ 118586 h 678846"/>
                <a:gd name="connsiteX3" fmla="*/ 18860 w 121634"/>
                <a:gd name="connsiteY3" fmla="*/ 105442 h 678846"/>
                <a:gd name="connsiteX4" fmla="*/ 0 w 121634"/>
                <a:gd name="connsiteY4" fmla="*/ 66104 h 678846"/>
                <a:gd name="connsiteX5" fmla="*/ 0 w 121634"/>
                <a:gd name="connsiteY5" fmla="*/ 52388 h 678846"/>
                <a:gd name="connsiteX6" fmla="*/ 18860 w 121634"/>
                <a:gd name="connsiteY6" fmla="*/ 12668 h 678846"/>
                <a:gd name="connsiteX7" fmla="*/ 60770 w 121634"/>
                <a:gd name="connsiteY7" fmla="*/ 0 h 678846"/>
                <a:gd name="connsiteX8" fmla="*/ 102203 w 121634"/>
                <a:gd name="connsiteY8" fmla="*/ 12668 h 678846"/>
                <a:gd name="connsiteX9" fmla="*/ 121634 w 121634"/>
                <a:gd name="connsiteY9" fmla="*/ 52388 h 678846"/>
                <a:gd name="connsiteX10" fmla="*/ 121634 w 121634"/>
                <a:gd name="connsiteY10" fmla="*/ 66104 h 678846"/>
                <a:gd name="connsiteX11" fmla="*/ 953 w 121634"/>
                <a:gd name="connsiteY11" fmla="*/ 196215 h 678846"/>
                <a:gd name="connsiteX12" fmla="*/ 20384 w 121634"/>
                <a:gd name="connsiteY12" fmla="*/ 157925 h 678846"/>
                <a:gd name="connsiteX13" fmla="*/ 60674 w 121634"/>
                <a:gd name="connsiteY13" fmla="*/ 144589 h 678846"/>
                <a:gd name="connsiteX14" fmla="*/ 101727 w 121634"/>
                <a:gd name="connsiteY14" fmla="*/ 157925 h 678846"/>
                <a:gd name="connsiteX15" fmla="*/ 120587 w 121634"/>
                <a:gd name="connsiteY15" fmla="*/ 195072 h 678846"/>
                <a:gd name="connsiteX16" fmla="*/ 120587 w 121634"/>
                <a:gd name="connsiteY16" fmla="*/ 627507 h 678846"/>
                <a:gd name="connsiteX17" fmla="*/ 101727 w 121634"/>
                <a:gd name="connsiteY17" fmla="*/ 666369 h 678846"/>
                <a:gd name="connsiteX18" fmla="*/ 60674 w 121634"/>
                <a:gd name="connsiteY18" fmla="*/ 678847 h 678846"/>
                <a:gd name="connsiteX19" fmla="*/ 20384 w 121634"/>
                <a:gd name="connsiteY19" fmla="*/ 666369 h 678846"/>
                <a:gd name="connsiteX20" fmla="*/ 953 w 121634"/>
                <a:gd name="connsiteY20" fmla="*/ 627507 h 678846"/>
                <a:gd name="connsiteX21" fmla="*/ 953 w 121634"/>
                <a:gd name="connsiteY21" fmla="*/ 196310 h 678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634" h="678846">
                  <a:moveTo>
                    <a:pt x="121634" y="66104"/>
                  </a:moveTo>
                  <a:cubicBezTo>
                    <a:pt x="121634" y="83534"/>
                    <a:pt x="115158" y="96679"/>
                    <a:pt x="102203" y="105442"/>
                  </a:cubicBezTo>
                  <a:cubicBezTo>
                    <a:pt x="89345" y="114205"/>
                    <a:pt x="75533" y="118586"/>
                    <a:pt x="60770" y="118586"/>
                  </a:cubicBezTo>
                  <a:cubicBezTo>
                    <a:pt x="46006" y="118586"/>
                    <a:pt x="31433" y="114205"/>
                    <a:pt x="18860" y="105442"/>
                  </a:cubicBezTo>
                  <a:cubicBezTo>
                    <a:pt x="6287" y="96679"/>
                    <a:pt x="0" y="83629"/>
                    <a:pt x="0" y="66104"/>
                  </a:cubicBezTo>
                  <a:lnTo>
                    <a:pt x="0" y="52388"/>
                  </a:lnTo>
                  <a:cubicBezTo>
                    <a:pt x="0" y="34290"/>
                    <a:pt x="6287" y="21050"/>
                    <a:pt x="18860" y="12668"/>
                  </a:cubicBezTo>
                  <a:cubicBezTo>
                    <a:pt x="31433" y="4191"/>
                    <a:pt x="45339" y="0"/>
                    <a:pt x="60770" y="0"/>
                  </a:cubicBezTo>
                  <a:cubicBezTo>
                    <a:pt x="76200" y="0"/>
                    <a:pt x="89440" y="4286"/>
                    <a:pt x="102203" y="12668"/>
                  </a:cubicBezTo>
                  <a:cubicBezTo>
                    <a:pt x="115158" y="21050"/>
                    <a:pt x="121634" y="34290"/>
                    <a:pt x="121634" y="52388"/>
                  </a:cubicBezTo>
                  <a:lnTo>
                    <a:pt x="121634" y="66104"/>
                  </a:lnTo>
                  <a:close/>
                  <a:moveTo>
                    <a:pt x="953" y="196215"/>
                  </a:moveTo>
                  <a:cubicBezTo>
                    <a:pt x="953" y="179451"/>
                    <a:pt x="7430" y="166688"/>
                    <a:pt x="20384" y="157925"/>
                  </a:cubicBezTo>
                  <a:cubicBezTo>
                    <a:pt x="33338" y="149066"/>
                    <a:pt x="46768" y="144589"/>
                    <a:pt x="60674" y="144589"/>
                  </a:cubicBezTo>
                  <a:cubicBezTo>
                    <a:pt x="75438" y="144589"/>
                    <a:pt x="89154" y="149066"/>
                    <a:pt x="101727" y="157925"/>
                  </a:cubicBezTo>
                  <a:cubicBezTo>
                    <a:pt x="114300" y="166688"/>
                    <a:pt x="120587" y="179070"/>
                    <a:pt x="120587" y="195072"/>
                  </a:cubicBezTo>
                  <a:lnTo>
                    <a:pt x="120587" y="627507"/>
                  </a:lnTo>
                  <a:cubicBezTo>
                    <a:pt x="120587" y="644938"/>
                    <a:pt x="114300" y="657987"/>
                    <a:pt x="101727" y="666369"/>
                  </a:cubicBezTo>
                  <a:cubicBezTo>
                    <a:pt x="89154" y="674751"/>
                    <a:pt x="75438" y="678847"/>
                    <a:pt x="60674" y="678847"/>
                  </a:cubicBezTo>
                  <a:cubicBezTo>
                    <a:pt x="46768" y="678847"/>
                    <a:pt x="33338" y="674656"/>
                    <a:pt x="20384" y="666369"/>
                  </a:cubicBezTo>
                  <a:cubicBezTo>
                    <a:pt x="7430" y="657892"/>
                    <a:pt x="953" y="644938"/>
                    <a:pt x="953" y="627507"/>
                  </a:cubicBezTo>
                  <a:lnTo>
                    <a:pt x="953" y="196310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5613CA59-1D76-544C-4303-8ACFE9C14ACC}"/>
                </a:ext>
              </a:extLst>
            </p:cNvPr>
            <p:cNvSpPr/>
            <p:nvPr/>
          </p:nvSpPr>
          <p:spPr>
            <a:xfrm>
              <a:off x="6900858" y="3224547"/>
              <a:ext cx="68784" cy="390309"/>
            </a:xfrm>
            <a:custGeom>
              <a:avLst/>
              <a:gdLst>
                <a:gd name="connsiteX0" fmla="*/ 119634 w 119633"/>
                <a:gd name="connsiteY0" fmla="*/ 626459 h 678846"/>
                <a:gd name="connsiteX1" fmla="*/ 102203 w 119633"/>
                <a:gd name="connsiteY1" fmla="*/ 663130 h 678846"/>
                <a:gd name="connsiteX2" fmla="*/ 59722 w 119633"/>
                <a:gd name="connsiteY2" fmla="*/ 678847 h 678846"/>
                <a:gd name="connsiteX3" fmla="*/ 16669 w 119633"/>
                <a:gd name="connsiteY3" fmla="*/ 663130 h 678846"/>
                <a:gd name="connsiteX4" fmla="*/ 0 w 119633"/>
                <a:gd name="connsiteY4" fmla="*/ 626459 h 678846"/>
                <a:gd name="connsiteX5" fmla="*/ 0 w 119633"/>
                <a:gd name="connsiteY5" fmla="*/ 52388 h 678846"/>
                <a:gd name="connsiteX6" fmla="*/ 16669 w 119633"/>
                <a:gd name="connsiteY6" fmla="*/ 15716 h 678846"/>
                <a:gd name="connsiteX7" fmla="*/ 59722 w 119633"/>
                <a:gd name="connsiteY7" fmla="*/ 0 h 678846"/>
                <a:gd name="connsiteX8" fmla="*/ 102203 w 119633"/>
                <a:gd name="connsiteY8" fmla="*/ 15716 h 678846"/>
                <a:gd name="connsiteX9" fmla="*/ 119634 w 119633"/>
                <a:gd name="connsiteY9" fmla="*/ 52388 h 678846"/>
                <a:gd name="connsiteX10" fmla="*/ 119634 w 119633"/>
                <a:gd name="connsiteY10" fmla="*/ 626459 h 678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633" h="678846">
                  <a:moveTo>
                    <a:pt x="119634" y="626459"/>
                  </a:moveTo>
                  <a:cubicBezTo>
                    <a:pt x="119634" y="640366"/>
                    <a:pt x="113824" y="652558"/>
                    <a:pt x="102203" y="663130"/>
                  </a:cubicBezTo>
                  <a:cubicBezTo>
                    <a:pt x="90678" y="673608"/>
                    <a:pt x="76486" y="678847"/>
                    <a:pt x="59722" y="678847"/>
                  </a:cubicBezTo>
                  <a:cubicBezTo>
                    <a:pt x="42958" y="678847"/>
                    <a:pt x="27908" y="673608"/>
                    <a:pt x="16669" y="663130"/>
                  </a:cubicBezTo>
                  <a:cubicBezTo>
                    <a:pt x="5525" y="652558"/>
                    <a:pt x="0" y="640271"/>
                    <a:pt x="0" y="626459"/>
                  </a:cubicBezTo>
                  <a:lnTo>
                    <a:pt x="0" y="52388"/>
                  </a:lnTo>
                  <a:cubicBezTo>
                    <a:pt x="0" y="38386"/>
                    <a:pt x="5525" y="26098"/>
                    <a:pt x="16669" y="15716"/>
                  </a:cubicBezTo>
                  <a:cubicBezTo>
                    <a:pt x="27908" y="5334"/>
                    <a:pt x="42291" y="0"/>
                    <a:pt x="59722" y="0"/>
                  </a:cubicBezTo>
                  <a:cubicBezTo>
                    <a:pt x="77153" y="0"/>
                    <a:pt x="90678" y="5239"/>
                    <a:pt x="102203" y="15716"/>
                  </a:cubicBezTo>
                  <a:cubicBezTo>
                    <a:pt x="113824" y="26194"/>
                    <a:pt x="119634" y="38481"/>
                    <a:pt x="119634" y="52388"/>
                  </a:cubicBezTo>
                  <a:lnTo>
                    <a:pt x="119634" y="626459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31476DA9-5154-C1D2-F453-346E33FBA6F9}"/>
                </a:ext>
              </a:extLst>
            </p:cNvPr>
            <p:cNvSpPr/>
            <p:nvPr/>
          </p:nvSpPr>
          <p:spPr>
            <a:xfrm>
              <a:off x="7022764" y="3224547"/>
              <a:ext cx="68784" cy="390309"/>
            </a:xfrm>
            <a:custGeom>
              <a:avLst/>
              <a:gdLst>
                <a:gd name="connsiteX0" fmla="*/ 119634 w 119633"/>
                <a:gd name="connsiteY0" fmla="*/ 626459 h 678846"/>
                <a:gd name="connsiteX1" fmla="*/ 102203 w 119633"/>
                <a:gd name="connsiteY1" fmla="*/ 663130 h 678846"/>
                <a:gd name="connsiteX2" fmla="*/ 59722 w 119633"/>
                <a:gd name="connsiteY2" fmla="*/ 678847 h 678846"/>
                <a:gd name="connsiteX3" fmla="*/ 16669 w 119633"/>
                <a:gd name="connsiteY3" fmla="*/ 663130 h 678846"/>
                <a:gd name="connsiteX4" fmla="*/ 0 w 119633"/>
                <a:gd name="connsiteY4" fmla="*/ 626459 h 678846"/>
                <a:gd name="connsiteX5" fmla="*/ 0 w 119633"/>
                <a:gd name="connsiteY5" fmla="*/ 52388 h 678846"/>
                <a:gd name="connsiteX6" fmla="*/ 16669 w 119633"/>
                <a:gd name="connsiteY6" fmla="*/ 15716 h 678846"/>
                <a:gd name="connsiteX7" fmla="*/ 59722 w 119633"/>
                <a:gd name="connsiteY7" fmla="*/ 0 h 678846"/>
                <a:gd name="connsiteX8" fmla="*/ 102203 w 119633"/>
                <a:gd name="connsiteY8" fmla="*/ 15716 h 678846"/>
                <a:gd name="connsiteX9" fmla="*/ 119634 w 119633"/>
                <a:gd name="connsiteY9" fmla="*/ 52388 h 678846"/>
                <a:gd name="connsiteX10" fmla="*/ 119634 w 119633"/>
                <a:gd name="connsiteY10" fmla="*/ 626459 h 678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633" h="678846">
                  <a:moveTo>
                    <a:pt x="119634" y="626459"/>
                  </a:moveTo>
                  <a:cubicBezTo>
                    <a:pt x="119634" y="640366"/>
                    <a:pt x="113824" y="652558"/>
                    <a:pt x="102203" y="663130"/>
                  </a:cubicBezTo>
                  <a:cubicBezTo>
                    <a:pt x="90678" y="673608"/>
                    <a:pt x="76486" y="678847"/>
                    <a:pt x="59722" y="678847"/>
                  </a:cubicBezTo>
                  <a:cubicBezTo>
                    <a:pt x="42958" y="678847"/>
                    <a:pt x="27908" y="673608"/>
                    <a:pt x="16669" y="663130"/>
                  </a:cubicBezTo>
                  <a:cubicBezTo>
                    <a:pt x="5524" y="652558"/>
                    <a:pt x="0" y="640271"/>
                    <a:pt x="0" y="626459"/>
                  </a:cubicBezTo>
                  <a:lnTo>
                    <a:pt x="0" y="52388"/>
                  </a:lnTo>
                  <a:cubicBezTo>
                    <a:pt x="0" y="38386"/>
                    <a:pt x="5524" y="26098"/>
                    <a:pt x="16669" y="15716"/>
                  </a:cubicBezTo>
                  <a:cubicBezTo>
                    <a:pt x="27908" y="5334"/>
                    <a:pt x="42291" y="0"/>
                    <a:pt x="59722" y="0"/>
                  </a:cubicBezTo>
                  <a:cubicBezTo>
                    <a:pt x="77153" y="0"/>
                    <a:pt x="90678" y="5239"/>
                    <a:pt x="102203" y="15716"/>
                  </a:cubicBezTo>
                  <a:cubicBezTo>
                    <a:pt x="113824" y="26194"/>
                    <a:pt x="119634" y="38481"/>
                    <a:pt x="119634" y="52388"/>
                  </a:cubicBezTo>
                  <a:lnTo>
                    <a:pt x="119634" y="626459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9C53620E-08BB-7321-6057-363B63DA4A16}"/>
                </a:ext>
              </a:extLst>
            </p:cNvPr>
            <p:cNvSpPr/>
            <p:nvPr/>
          </p:nvSpPr>
          <p:spPr>
            <a:xfrm>
              <a:off x="7130250" y="3301711"/>
              <a:ext cx="284684" cy="319005"/>
            </a:xfrm>
            <a:custGeom>
              <a:avLst/>
              <a:gdLst>
                <a:gd name="connsiteX0" fmla="*/ 1935 w 495139"/>
                <a:gd name="connsiteY0" fmla="*/ 419862 h 554831"/>
                <a:gd name="connsiteX1" fmla="*/ 15461 w 495139"/>
                <a:gd name="connsiteY1" fmla="*/ 372618 h 554831"/>
                <a:gd name="connsiteX2" fmla="*/ 61657 w 495139"/>
                <a:gd name="connsiteY2" fmla="*/ 354711 h 554831"/>
                <a:gd name="connsiteX3" fmla="*/ 95185 w 495139"/>
                <a:gd name="connsiteY3" fmla="*/ 365855 h 554831"/>
                <a:gd name="connsiteX4" fmla="*/ 117188 w 495139"/>
                <a:gd name="connsiteY4" fmla="*/ 398812 h 554831"/>
                <a:gd name="connsiteX5" fmla="*/ 144620 w 495139"/>
                <a:gd name="connsiteY5" fmla="*/ 429768 h 554831"/>
                <a:gd name="connsiteX6" fmla="*/ 193483 w 495139"/>
                <a:gd name="connsiteY6" fmla="*/ 447199 h 554831"/>
                <a:gd name="connsiteX7" fmla="*/ 249680 w 495139"/>
                <a:gd name="connsiteY7" fmla="*/ 452342 h 554831"/>
                <a:gd name="connsiteX8" fmla="*/ 340739 w 495139"/>
                <a:gd name="connsiteY8" fmla="*/ 431863 h 554831"/>
                <a:gd name="connsiteX9" fmla="*/ 375505 w 495139"/>
                <a:gd name="connsiteY9" fmla="*/ 379857 h 554831"/>
                <a:gd name="connsiteX10" fmla="*/ 357027 w 495139"/>
                <a:gd name="connsiteY10" fmla="*/ 347282 h 554831"/>
                <a:gd name="connsiteX11" fmla="*/ 308830 w 495139"/>
                <a:gd name="connsiteY11" fmla="*/ 332613 h 554831"/>
                <a:gd name="connsiteX12" fmla="*/ 245489 w 495139"/>
                <a:gd name="connsiteY12" fmla="*/ 326231 h 554831"/>
                <a:gd name="connsiteX13" fmla="*/ 158812 w 495139"/>
                <a:gd name="connsiteY13" fmla="*/ 315754 h 554831"/>
                <a:gd name="connsiteX14" fmla="*/ 81659 w 495139"/>
                <a:gd name="connsiteY14" fmla="*/ 294322 h 554831"/>
                <a:gd name="connsiteX15" fmla="*/ 26129 w 495139"/>
                <a:gd name="connsiteY15" fmla="*/ 249269 h 554831"/>
                <a:gd name="connsiteX16" fmla="*/ 5269 w 495139"/>
                <a:gd name="connsiteY16" fmla="*/ 167926 h 554831"/>
                <a:gd name="connsiteX17" fmla="*/ 34606 w 495139"/>
                <a:gd name="connsiteY17" fmla="*/ 79820 h 554831"/>
                <a:gd name="connsiteX18" fmla="*/ 117378 w 495139"/>
                <a:gd name="connsiteY18" fmla="*/ 21050 h 554831"/>
                <a:gd name="connsiteX19" fmla="*/ 241203 w 495139"/>
                <a:gd name="connsiteY19" fmla="*/ 0 h 554831"/>
                <a:gd name="connsiteX20" fmla="*/ 329500 w 495139"/>
                <a:gd name="connsiteY20" fmla="*/ 7906 h 554831"/>
                <a:gd name="connsiteX21" fmla="*/ 417035 w 495139"/>
                <a:gd name="connsiteY21" fmla="*/ 39815 h 554831"/>
                <a:gd name="connsiteX22" fmla="*/ 476375 w 495139"/>
                <a:gd name="connsiteY22" fmla="*/ 114205 h 554831"/>
                <a:gd name="connsiteX23" fmla="*/ 475137 w 495139"/>
                <a:gd name="connsiteY23" fmla="*/ 151543 h 554831"/>
                <a:gd name="connsiteX24" fmla="*/ 450563 w 495139"/>
                <a:gd name="connsiteY24" fmla="*/ 176117 h 554831"/>
                <a:gd name="connsiteX25" fmla="*/ 417606 w 495139"/>
                <a:gd name="connsiteY25" fmla="*/ 184499 h 554831"/>
                <a:gd name="connsiteX26" fmla="*/ 386650 w 495139"/>
                <a:gd name="connsiteY26" fmla="*/ 177165 h 554831"/>
                <a:gd name="connsiteX27" fmla="*/ 366171 w 495139"/>
                <a:gd name="connsiteY27" fmla="*/ 151924 h 554831"/>
                <a:gd name="connsiteX28" fmla="*/ 333977 w 495139"/>
                <a:gd name="connsiteY28" fmla="*/ 119348 h 554831"/>
                <a:gd name="connsiteX29" fmla="*/ 285780 w 495139"/>
                <a:gd name="connsiteY29" fmla="*/ 106204 h 554831"/>
                <a:gd name="connsiteX30" fmla="*/ 241108 w 495139"/>
                <a:gd name="connsiteY30" fmla="*/ 103632 h 554831"/>
                <a:gd name="connsiteX31" fmla="*/ 156526 w 495139"/>
                <a:gd name="connsiteY31" fmla="*/ 121539 h 554831"/>
                <a:gd name="connsiteX32" fmla="*/ 124617 w 495139"/>
                <a:gd name="connsiteY32" fmla="*/ 168783 h 554831"/>
                <a:gd name="connsiteX33" fmla="*/ 141476 w 495139"/>
                <a:gd name="connsiteY33" fmla="*/ 202883 h 554831"/>
                <a:gd name="connsiteX34" fmla="*/ 187101 w 495139"/>
                <a:gd name="connsiteY34" fmla="*/ 213360 h 554831"/>
                <a:gd name="connsiteX35" fmla="*/ 251585 w 495139"/>
                <a:gd name="connsiteY35" fmla="*/ 219075 h 554831"/>
                <a:gd name="connsiteX36" fmla="*/ 338739 w 495139"/>
                <a:gd name="connsiteY36" fmla="*/ 230600 h 554831"/>
                <a:gd name="connsiteX37" fmla="*/ 417511 w 495139"/>
                <a:gd name="connsiteY37" fmla="*/ 252222 h 554831"/>
                <a:gd name="connsiteX38" fmla="*/ 474089 w 495139"/>
                <a:gd name="connsiteY38" fmla="*/ 297275 h 554831"/>
                <a:gd name="connsiteX39" fmla="*/ 495139 w 495139"/>
                <a:gd name="connsiteY39" fmla="*/ 379667 h 554831"/>
                <a:gd name="connsiteX40" fmla="*/ 464183 w 495139"/>
                <a:gd name="connsiteY40" fmla="*/ 470916 h 554831"/>
                <a:gd name="connsiteX41" fmla="*/ 378077 w 495139"/>
                <a:gd name="connsiteY41" fmla="*/ 532829 h 554831"/>
                <a:gd name="connsiteX42" fmla="*/ 249680 w 495139"/>
                <a:gd name="connsiteY42" fmla="*/ 554831 h 554831"/>
                <a:gd name="connsiteX43" fmla="*/ 178814 w 495139"/>
                <a:gd name="connsiteY43" fmla="*/ 550069 h 554831"/>
                <a:gd name="connsiteX44" fmla="*/ 104234 w 495139"/>
                <a:gd name="connsiteY44" fmla="*/ 531209 h 554831"/>
                <a:gd name="connsiteX45" fmla="*/ 40702 w 495139"/>
                <a:gd name="connsiteY45" fmla="*/ 490347 h 554831"/>
                <a:gd name="connsiteX46" fmla="*/ 2030 w 495139"/>
                <a:gd name="connsiteY46" fmla="*/ 419481 h 5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495139" h="554831">
                  <a:moveTo>
                    <a:pt x="1935" y="419862"/>
                  </a:moveTo>
                  <a:cubicBezTo>
                    <a:pt x="-3018" y="400336"/>
                    <a:pt x="1554" y="384524"/>
                    <a:pt x="15461" y="372618"/>
                  </a:cubicBezTo>
                  <a:cubicBezTo>
                    <a:pt x="29462" y="360712"/>
                    <a:pt x="44893" y="354711"/>
                    <a:pt x="61657" y="354711"/>
                  </a:cubicBezTo>
                  <a:cubicBezTo>
                    <a:pt x="74230" y="354711"/>
                    <a:pt x="85374" y="358426"/>
                    <a:pt x="95185" y="365855"/>
                  </a:cubicBezTo>
                  <a:cubicBezTo>
                    <a:pt x="104996" y="373190"/>
                    <a:pt x="112330" y="384143"/>
                    <a:pt x="117188" y="398812"/>
                  </a:cubicBezTo>
                  <a:cubicBezTo>
                    <a:pt x="121379" y="411385"/>
                    <a:pt x="130522" y="421767"/>
                    <a:pt x="144620" y="429768"/>
                  </a:cubicBezTo>
                  <a:cubicBezTo>
                    <a:pt x="158621" y="437864"/>
                    <a:pt x="174909" y="443675"/>
                    <a:pt x="193483" y="447199"/>
                  </a:cubicBezTo>
                  <a:cubicBezTo>
                    <a:pt x="211961" y="450628"/>
                    <a:pt x="230726" y="452342"/>
                    <a:pt x="249680" y="452342"/>
                  </a:cubicBezTo>
                  <a:cubicBezTo>
                    <a:pt x="287399" y="452342"/>
                    <a:pt x="317784" y="445580"/>
                    <a:pt x="340739" y="431863"/>
                  </a:cubicBezTo>
                  <a:cubicBezTo>
                    <a:pt x="363885" y="418147"/>
                    <a:pt x="375505" y="400812"/>
                    <a:pt x="375505" y="379857"/>
                  </a:cubicBezTo>
                  <a:cubicBezTo>
                    <a:pt x="375505" y="365188"/>
                    <a:pt x="369314" y="354330"/>
                    <a:pt x="357027" y="347282"/>
                  </a:cubicBezTo>
                  <a:cubicBezTo>
                    <a:pt x="344835" y="340328"/>
                    <a:pt x="328738" y="335375"/>
                    <a:pt x="308830" y="332613"/>
                  </a:cubicBezTo>
                  <a:cubicBezTo>
                    <a:pt x="289019" y="329851"/>
                    <a:pt x="267873" y="327755"/>
                    <a:pt x="245489" y="326231"/>
                  </a:cubicBezTo>
                  <a:cubicBezTo>
                    <a:pt x="215962" y="323469"/>
                    <a:pt x="187006" y="319945"/>
                    <a:pt x="158812" y="315754"/>
                  </a:cubicBezTo>
                  <a:cubicBezTo>
                    <a:pt x="130522" y="311563"/>
                    <a:pt x="104710" y="304419"/>
                    <a:pt x="81659" y="294322"/>
                  </a:cubicBezTo>
                  <a:cubicBezTo>
                    <a:pt x="58609" y="284131"/>
                    <a:pt x="40130" y="269081"/>
                    <a:pt x="26129" y="249269"/>
                  </a:cubicBezTo>
                  <a:cubicBezTo>
                    <a:pt x="12222" y="229362"/>
                    <a:pt x="5269" y="202216"/>
                    <a:pt x="5269" y="167926"/>
                  </a:cubicBezTo>
                  <a:cubicBezTo>
                    <a:pt x="5269" y="133636"/>
                    <a:pt x="15079" y="104966"/>
                    <a:pt x="34606" y="79820"/>
                  </a:cubicBezTo>
                  <a:cubicBezTo>
                    <a:pt x="54132" y="54578"/>
                    <a:pt x="81755" y="34957"/>
                    <a:pt x="117378" y="21050"/>
                  </a:cubicBezTo>
                  <a:cubicBezTo>
                    <a:pt x="153097" y="7049"/>
                    <a:pt x="194340" y="0"/>
                    <a:pt x="241203" y="0"/>
                  </a:cubicBezTo>
                  <a:cubicBezTo>
                    <a:pt x="268635" y="0"/>
                    <a:pt x="297972" y="2667"/>
                    <a:pt x="329500" y="7906"/>
                  </a:cubicBezTo>
                  <a:cubicBezTo>
                    <a:pt x="360932" y="13049"/>
                    <a:pt x="390079" y="23717"/>
                    <a:pt x="417035" y="39815"/>
                  </a:cubicBezTo>
                  <a:cubicBezTo>
                    <a:pt x="443990" y="55817"/>
                    <a:pt x="463802" y="80677"/>
                    <a:pt x="476375" y="114205"/>
                  </a:cubicBezTo>
                  <a:cubicBezTo>
                    <a:pt x="481233" y="128207"/>
                    <a:pt x="480852" y="140684"/>
                    <a:pt x="475137" y="151543"/>
                  </a:cubicBezTo>
                  <a:cubicBezTo>
                    <a:pt x="469613" y="162401"/>
                    <a:pt x="461326" y="170593"/>
                    <a:pt x="450563" y="176117"/>
                  </a:cubicBezTo>
                  <a:cubicBezTo>
                    <a:pt x="439704" y="181642"/>
                    <a:pt x="428750" y="184499"/>
                    <a:pt x="417606" y="184499"/>
                  </a:cubicBezTo>
                  <a:cubicBezTo>
                    <a:pt x="405033" y="184499"/>
                    <a:pt x="394651" y="182023"/>
                    <a:pt x="386650" y="177165"/>
                  </a:cubicBezTo>
                  <a:cubicBezTo>
                    <a:pt x="378554" y="172307"/>
                    <a:pt x="371791" y="163830"/>
                    <a:pt x="366171" y="151924"/>
                  </a:cubicBezTo>
                  <a:cubicBezTo>
                    <a:pt x="359789" y="137255"/>
                    <a:pt x="349121" y="126397"/>
                    <a:pt x="333977" y="119348"/>
                  </a:cubicBezTo>
                  <a:cubicBezTo>
                    <a:pt x="319022" y="112395"/>
                    <a:pt x="302925" y="108013"/>
                    <a:pt x="285780" y="106204"/>
                  </a:cubicBezTo>
                  <a:cubicBezTo>
                    <a:pt x="268730" y="104489"/>
                    <a:pt x="253871" y="103632"/>
                    <a:pt x="241108" y="103632"/>
                  </a:cubicBezTo>
                  <a:cubicBezTo>
                    <a:pt x="206151" y="103632"/>
                    <a:pt x="177957" y="109633"/>
                    <a:pt x="156526" y="121539"/>
                  </a:cubicBezTo>
                  <a:cubicBezTo>
                    <a:pt x="135190" y="133445"/>
                    <a:pt x="124617" y="149257"/>
                    <a:pt x="124617" y="168783"/>
                  </a:cubicBezTo>
                  <a:cubicBezTo>
                    <a:pt x="124617" y="185642"/>
                    <a:pt x="130237" y="196977"/>
                    <a:pt x="141476" y="202883"/>
                  </a:cubicBezTo>
                  <a:cubicBezTo>
                    <a:pt x="152716" y="208883"/>
                    <a:pt x="167956" y="212312"/>
                    <a:pt x="187101" y="213360"/>
                  </a:cubicBezTo>
                  <a:cubicBezTo>
                    <a:pt x="206246" y="214408"/>
                    <a:pt x="227773" y="216313"/>
                    <a:pt x="251585" y="219075"/>
                  </a:cubicBezTo>
                  <a:cubicBezTo>
                    <a:pt x="280922" y="222504"/>
                    <a:pt x="309974" y="226409"/>
                    <a:pt x="338739" y="230600"/>
                  </a:cubicBezTo>
                  <a:cubicBezTo>
                    <a:pt x="367409" y="234887"/>
                    <a:pt x="393698" y="242030"/>
                    <a:pt x="417511" y="252222"/>
                  </a:cubicBezTo>
                  <a:cubicBezTo>
                    <a:pt x="441323" y="262319"/>
                    <a:pt x="460183" y="277368"/>
                    <a:pt x="474089" y="297275"/>
                  </a:cubicBezTo>
                  <a:cubicBezTo>
                    <a:pt x="488091" y="317087"/>
                    <a:pt x="495139" y="344615"/>
                    <a:pt x="495139" y="379667"/>
                  </a:cubicBezTo>
                  <a:cubicBezTo>
                    <a:pt x="495139" y="414719"/>
                    <a:pt x="484853" y="444341"/>
                    <a:pt x="464183" y="470916"/>
                  </a:cubicBezTo>
                  <a:cubicBezTo>
                    <a:pt x="443514" y="497491"/>
                    <a:pt x="414844" y="518160"/>
                    <a:pt x="378077" y="532829"/>
                  </a:cubicBezTo>
                  <a:cubicBezTo>
                    <a:pt x="341406" y="547497"/>
                    <a:pt x="298639" y="554831"/>
                    <a:pt x="249680" y="554831"/>
                  </a:cubicBezTo>
                  <a:cubicBezTo>
                    <a:pt x="227963" y="554831"/>
                    <a:pt x="204341" y="553212"/>
                    <a:pt x="178814" y="550069"/>
                  </a:cubicBezTo>
                  <a:cubicBezTo>
                    <a:pt x="153287" y="546926"/>
                    <a:pt x="128427" y="540639"/>
                    <a:pt x="104234" y="531209"/>
                  </a:cubicBezTo>
                  <a:cubicBezTo>
                    <a:pt x="80135" y="521875"/>
                    <a:pt x="58990" y="508159"/>
                    <a:pt x="40702" y="490347"/>
                  </a:cubicBezTo>
                  <a:cubicBezTo>
                    <a:pt x="22509" y="472440"/>
                    <a:pt x="9650" y="448913"/>
                    <a:pt x="2030" y="419481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AE697878-AD90-CA52-65DA-A36D82F0B649}"/>
                </a:ext>
              </a:extLst>
            </p:cNvPr>
            <p:cNvSpPr/>
            <p:nvPr/>
          </p:nvSpPr>
          <p:spPr>
            <a:xfrm>
              <a:off x="4777067" y="3262709"/>
              <a:ext cx="370858" cy="370745"/>
            </a:xfrm>
            <a:custGeom>
              <a:avLst/>
              <a:gdLst>
                <a:gd name="connsiteX0" fmla="*/ 1927193 w 3012185"/>
                <a:gd name="connsiteY0" fmla="*/ 3011281 h 3011281"/>
                <a:gd name="connsiteX1" fmla="*/ 1159955 w 3012185"/>
                <a:gd name="connsiteY1" fmla="*/ 2694003 h 3011281"/>
                <a:gd name="connsiteX2" fmla="*/ 317754 w 3012185"/>
                <a:gd name="connsiteY2" fmla="*/ 1851803 h 3011281"/>
                <a:gd name="connsiteX3" fmla="*/ 0 w 3012185"/>
                <a:gd name="connsiteY3" fmla="*/ 1084564 h 3011281"/>
                <a:gd name="connsiteX4" fmla="*/ 317754 w 3012185"/>
                <a:gd name="connsiteY4" fmla="*/ 317325 h 3011281"/>
                <a:gd name="connsiteX5" fmla="*/ 1852232 w 3012185"/>
                <a:gd name="connsiteY5" fmla="*/ 317325 h 3011281"/>
                <a:gd name="connsiteX6" fmla="*/ 2694432 w 3012185"/>
                <a:gd name="connsiteY6" fmla="*/ 1159526 h 3011281"/>
                <a:gd name="connsiteX7" fmla="*/ 3012186 w 3012185"/>
                <a:gd name="connsiteY7" fmla="*/ 1926765 h 3011281"/>
                <a:gd name="connsiteX8" fmla="*/ 2694432 w 3012185"/>
                <a:gd name="connsiteY8" fmla="*/ 2694003 h 3011281"/>
                <a:gd name="connsiteX9" fmla="*/ 1927193 w 3012185"/>
                <a:gd name="connsiteY9" fmla="*/ 3011281 h 3011281"/>
                <a:gd name="connsiteX10" fmla="*/ 1084993 w 3012185"/>
                <a:gd name="connsiteY10" fmla="*/ 480012 h 3011281"/>
                <a:gd name="connsiteX11" fmla="*/ 657320 w 3012185"/>
                <a:gd name="connsiteY11" fmla="*/ 656892 h 3011281"/>
                <a:gd name="connsiteX12" fmla="*/ 480155 w 3012185"/>
                <a:gd name="connsiteY12" fmla="*/ 1084564 h 3011281"/>
                <a:gd name="connsiteX13" fmla="*/ 657320 w 3012185"/>
                <a:gd name="connsiteY13" fmla="*/ 1512237 h 3011281"/>
                <a:gd name="connsiteX14" fmla="*/ 1499521 w 3012185"/>
                <a:gd name="connsiteY14" fmla="*/ 2354437 h 3011281"/>
                <a:gd name="connsiteX15" fmla="*/ 2354961 w 3012185"/>
                <a:gd name="connsiteY15" fmla="*/ 2354437 h 3011281"/>
                <a:gd name="connsiteX16" fmla="*/ 2532126 w 3012185"/>
                <a:gd name="connsiteY16" fmla="*/ 1926765 h 3011281"/>
                <a:gd name="connsiteX17" fmla="*/ 2354961 w 3012185"/>
                <a:gd name="connsiteY17" fmla="*/ 1499092 h 3011281"/>
                <a:gd name="connsiteX18" fmla="*/ 1512761 w 3012185"/>
                <a:gd name="connsiteY18" fmla="*/ 656892 h 3011281"/>
                <a:gd name="connsiteX19" fmla="*/ 1084993 w 3012185"/>
                <a:gd name="connsiteY19" fmla="*/ 480012 h 301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12185" h="3011281">
                  <a:moveTo>
                    <a:pt x="1927193" y="3011281"/>
                  </a:moveTo>
                  <a:cubicBezTo>
                    <a:pt x="1649349" y="3011281"/>
                    <a:pt x="1371505" y="2905554"/>
                    <a:pt x="1159955" y="2694003"/>
                  </a:cubicBezTo>
                  <a:lnTo>
                    <a:pt x="317754" y="1851803"/>
                  </a:lnTo>
                  <a:cubicBezTo>
                    <a:pt x="112871" y="1646825"/>
                    <a:pt x="0" y="1374410"/>
                    <a:pt x="0" y="1084564"/>
                  </a:cubicBezTo>
                  <a:cubicBezTo>
                    <a:pt x="0" y="794718"/>
                    <a:pt x="112871" y="522303"/>
                    <a:pt x="317754" y="317325"/>
                  </a:cubicBezTo>
                  <a:cubicBezTo>
                    <a:pt x="740855" y="-105775"/>
                    <a:pt x="1429131" y="-105775"/>
                    <a:pt x="1852232" y="317325"/>
                  </a:cubicBezTo>
                  <a:lnTo>
                    <a:pt x="2694432" y="1159526"/>
                  </a:lnTo>
                  <a:cubicBezTo>
                    <a:pt x="2899410" y="1364504"/>
                    <a:pt x="3012186" y="1636919"/>
                    <a:pt x="3012186" y="1926765"/>
                  </a:cubicBezTo>
                  <a:cubicBezTo>
                    <a:pt x="3012186" y="2216611"/>
                    <a:pt x="2899315" y="2489025"/>
                    <a:pt x="2694432" y="2694003"/>
                  </a:cubicBezTo>
                  <a:cubicBezTo>
                    <a:pt x="2489549" y="2898982"/>
                    <a:pt x="2205038" y="3011281"/>
                    <a:pt x="1927193" y="3011281"/>
                  </a:cubicBezTo>
                  <a:close/>
                  <a:moveTo>
                    <a:pt x="1084993" y="480012"/>
                  </a:moveTo>
                  <a:cubicBezTo>
                    <a:pt x="930116" y="480012"/>
                    <a:pt x="775240" y="538972"/>
                    <a:pt x="657320" y="656892"/>
                  </a:cubicBezTo>
                  <a:cubicBezTo>
                    <a:pt x="543116" y="771096"/>
                    <a:pt x="480155" y="923020"/>
                    <a:pt x="480155" y="1084564"/>
                  </a:cubicBezTo>
                  <a:cubicBezTo>
                    <a:pt x="480155" y="1246108"/>
                    <a:pt x="543020" y="1398032"/>
                    <a:pt x="657320" y="1512237"/>
                  </a:cubicBezTo>
                  <a:lnTo>
                    <a:pt x="1499521" y="2354437"/>
                  </a:lnTo>
                  <a:cubicBezTo>
                    <a:pt x="1735360" y="2590276"/>
                    <a:pt x="2119122" y="2590276"/>
                    <a:pt x="2354961" y="2354437"/>
                  </a:cubicBezTo>
                  <a:cubicBezTo>
                    <a:pt x="2469166" y="2240233"/>
                    <a:pt x="2532126" y="2088309"/>
                    <a:pt x="2532126" y="1926765"/>
                  </a:cubicBezTo>
                  <a:cubicBezTo>
                    <a:pt x="2532126" y="1765221"/>
                    <a:pt x="2469261" y="1613297"/>
                    <a:pt x="2354961" y="1499092"/>
                  </a:cubicBezTo>
                  <a:lnTo>
                    <a:pt x="1512761" y="656892"/>
                  </a:lnTo>
                  <a:cubicBezTo>
                    <a:pt x="1394841" y="538972"/>
                    <a:pt x="1239964" y="480012"/>
                    <a:pt x="1084993" y="480012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B36D9BDA-A807-574D-4B6D-7102E6E614AA}"/>
                </a:ext>
              </a:extLst>
            </p:cNvPr>
            <p:cNvSpPr/>
            <p:nvPr/>
          </p:nvSpPr>
          <p:spPr>
            <a:xfrm>
              <a:off x="4881485" y="3262709"/>
              <a:ext cx="370846" cy="370745"/>
            </a:xfrm>
            <a:custGeom>
              <a:avLst/>
              <a:gdLst>
                <a:gd name="connsiteX0" fmla="*/ 1084993 w 3012090"/>
                <a:gd name="connsiteY0" fmla="*/ 3011281 h 3011281"/>
                <a:gd name="connsiteX1" fmla="*/ 317754 w 3012090"/>
                <a:gd name="connsiteY1" fmla="*/ 2694003 h 3011281"/>
                <a:gd name="connsiteX2" fmla="*/ 0 w 3012090"/>
                <a:gd name="connsiteY2" fmla="*/ 1926765 h 3011281"/>
                <a:gd name="connsiteX3" fmla="*/ 317754 w 3012090"/>
                <a:gd name="connsiteY3" fmla="*/ 1159526 h 3011281"/>
                <a:gd name="connsiteX4" fmla="*/ 1159955 w 3012090"/>
                <a:gd name="connsiteY4" fmla="*/ 317325 h 3011281"/>
                <a:gd name="connsiteX5" fmla="*/ 2694337 w 3012090"/>
                <a:gd name="connsiteY5" fmla="*/ 317325 h 3011281"/>
                <a:gd name="connsiteX6" fmla="*/ 3012091 w 3012090"/>
                <a:gd name="connsiteY6" fmla="*/ 1084564 h 3011281"/>
                <a:gd name="connsiteX7" fmla="*/ 2694337 w 3012090"/>
                <a:gd name="connsiteY7" fmla="*/ 1851803 h 3011281"/>
                <a:gd name="connsiteX8" fmla="*/ 1852136 w 3012090"/>
                <a:gd name="connsiteY8" fmla="*/ 2694003 h 3011281"/>
                <a:gd name="connsiteX9" fmla="*/ 1084898 w 3012090"/>
                <a:gd name="connsiteY9" fmla="*/ 3011281 h 3011281"/>
                <a:gd name="connsiteX10" fmla="*/ 1927098 w 3012090"/>
                <a:gd name="connsiteY10" fmla="*/ 480012 h 3011281"/>
                <a:gd name="connsiteX11" fmla="*/ 1499426 w 3012090"/>
                <a:gd name="connsiteY11" fmla="*/ 656892 h 3011281"/>
                <a:gd name="connsiteX12" fmla="*/ 657225 w 3012090"/>
                <a:gd name="connsiteY12" fmla="*/ 1499092 h 3011281"/>
                <a:gd name="connsiteX13" fmla="*/ 480060 w 3012090"/>
                <a:gd name="connsiteY13" fmla="*/ 1926765 h 3011281"/>
                <a:gd name="connsiteX14" fmla="*/ 657225 w 3012090"/>
                <a:gd name="connsiteY14" fmla="*/ 2354437 h 3011281"/>
                <a:gd name="connsiteX15" fmla="*/ 1512570 w 3012090"/>
                <a:gd name="connsiteY15" fmla="*/ 2354437 h 3011281"/>
                <a:gd name="connsiteX16" fmla="*/ 2354771 w 3012090"/>
                <a:gd name="connsiteY16" fmla="*/ 1512237 h 3011281"/>
                <a:gd name="connsiteX17" fmla="*/ 2531935 w 3012090"/>
                <a:gd name="connsiteY17" fmla="*/ 1084564 h 3011281"/>
                <a:gd name="connsiteX18" fmla="*/ 2354771 w 3012090"/>
                <a:gd name="connsiteY18" fmla="*/ 656892 h 3011281"/>
                <a:gd name="connsiteX19" fmla="*/ 1927098 w 3012090"/>
                <a:gd name="connsiteY19" fmla="*/ 480012 h 301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12090" h="3011281">
                  <a:moveTo>
                    <a:pt x="1084993" y="3011281"/>
                  </a:moveTo>
                  <a:cubicBezTo>
                    <a:pt x="807149" y="3011281"/>
                    <a:pt x="529304" y="2905554"/>
                    <a:pt x="317754" y="2694003"/>
                  </a:cubicBezTo>
                  <a:cubicBezTo>
                    <a:pt x="106204" y="2482453"/>
                    <a:pt x="0" y="2216611"/>
                    <a:pt x="0" y="1926765"/>
                  </a:cubicBezTo>
                  <a:cubicBezTo>
                    <a:pt x="0" y="1636919"/>
                    <a:pt x="112871" y="1364504"/>
                    <a:pt x="317754" y="1159526"/>
                  </a:cubicBezTo>
                  <a:lnTo>
                    <a:pt x="1159955" y="317325"/>
                  </a:lnTo>
                  <a:cubicBezTo>
                    <a:pt x="1582960" y="-105775"/>
                    <a:pt x="2271332" y="-105775"/>
                    <a:pt x="2694337" y="317325"/>
                  </a:cubicBezTo>
                  <a:cubicBezTo>
                    <a:pt x="2899315" y="522303"/>
                    <a:pt x="3012091" y="794718"/>
                    <a:pt x="3012091" y="1084564"/>
                  </a:cubicBezTo>
                  <a:cubicBezTo>
                    <a:pt x="3012091" y="1374410"/>
                    <a:pt x="2899220" y="1646825"/>
                    <a:pt x="2694337" y="1851803"/>
                  </a:cubicBezTo>
                  <a:lnTo>
                    <a:pt x="1852136" y="2694003"/>
                  </a:lnTo>
                  <a:cubicBezTo>
                    <a:pt x="1640586" y="2905554"/>
                    <a:pt x="1362742" y="3011281"/>
                    <a:pt x="1084898" y="3011281"/>
                  </a:cubicBezTo>
                  <a:close/>
                  <a:moveTo>
                    <a:pt x="1927098" y="480012"/>
                  </a:moveTo>
                  <a:cubicBezTo>
                    <a:pt x="1772222" y="480012"/>
                    <a:pt x="1617345" y="538972"/>
                    <a:pt x="1499426" y="656892"/>
                  </a:cubicBezTo>
                  <a:lnTo>
                    <a:pt x="657225" y="1499092"/>
                  </a:lnTo>
                  <a:cubicBezTo>
                    <a:pt x="543020" y="1613297"/>
                    <a:pt x="480060" y="1765221"/>
                    <a:pt x="480060" y="1926765"/>
                  </a:cubicBezTo>
                  <a:cubicBezTo>
                    <a:pt x="480060" y="2088309"/>
                    <a:pt x="542925" y="2240233"/>
                    <a:pt x="657225" y="2354437"/>
                  </a:cubicBezTo>
                  <a:cubicBezTo>
                    <a:pt x="893064" y="2590276"/>
                    <a:pt x="1276731" y="2590276"/>
                    <a:pt x="1512570" y="2354437"/>
                  </a:cubicBezTo>
                  <a:lnTo>
                    <a:pt x="2354771" y="1512237"/>
                  </a:lnTo>
                  <a:cubicBezTo>
                    <a:pt x="2468975" y="1398032"/>
                    <a:pt x="2531935" y="1246108"/>
                    <a:pt x="2531935" y="1084564"/>
                  </a:cubicBezTo>
                  <a:cubicBezTo>
                    <a:pt x="2531935" y="923020"/>
                    <a:pt x="2469071" y="771096"/>
                    <a:pt x="2354771" y="656892"/>
                  </a:cubicBezTo>
                  <a:cubicBezTo>
                    <a:pt x="2236851" y="538972"/>
                    <a:pt x="2081975" y="480012"/>
                    <a:pt x="1927098" y="480012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sp>
        <p:nvSpPr>
          <p:cNvPr id="30" name="Titre 5">
            <a:extLst>
              <a:ext uri="{FF2B5EF4-FFF2-40B4-BE49-F238E27FC236}">
                <a16:creationId xmlns:a16="http://schemas.microsoft.com/office/drawing/2014/main" id="{340BACC5-D0CD-BB4D-9182-CAB4E2A092D1}"/>
              </a:ext>
            </a:extLst>
          </p:cNvPr>
          <p:cNvSpPr txBox="1">
            <a:spLocks/>
          </p:cNvSpPr>
          <p:nvPr/>
        </p:nvSpPr>
        <p:spPr>
          <a:xfrm>
            <a:off x="6936739" y="1450878"/>
            <a:ext cx="4417061" cy="60247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3500">
                <a:solidFill>
                  <a:schemeClr val="bg1"/>
                </a:solidFill>
              </a:rPr>
              <a:t>Déployons un POC ! 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3BDEA477-3475-A15A-F05C-49206675B916}"/>
              </a:ext>
            </a:extLst>
          </p:cNvPr>
          <p:cNvSpPr txBox="1"/>
          <p:nvPr/>
        </p:nvSpPr>
        <p:spPr>
          <a:xfrm>
            <a:off x="6936739" y="1095278"/>
            <a:ext cx="441706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>
                <a:solidFill>
                  <a:schemeClr val="bg1"/>
                </a:solidFill>
              </a:rPr>
              <a:t>Envie de faire bouger les lignes ? </a:t>
            </a: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6D45A018-8A4D-2432-1D04-69F9B6C6309A}"/>
              </a:ext>
            </a:extLst>
          </p:cNvPr>
          <p:cNvSpPr txBox="1"/>
          <p:nvPr/>
        </p:nvSpPr>
        <p:spPr>
          <a:xfrm>
            <a:off x="7984889" y="2406001"/>
            <a:ext cx="2667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fr-FR">
                <a:solidFill>
                  <a:schemeClr val="bg1"/>
                </a:solidFill>
              </a:rPr>
              <a:t>Thibault Saint-Jevin</a:t>
            </a:r>
          </a:p>
        </p:txBody>
      </p:sp>
      <p:grpSp>
        <p:nvGrpSpPr>
          <p:cNvPr id="43" name="Groupe 42">
            <a:extLst>
              <a:ext uri="{FF2B5EF4-FFF2-40B4-BE49-F238E27FC236}">
                <a16:creationId xmlns:a16="http://schemas.microsoft.com/office/drawing/2014/main" id="{2C9CEF4A-EDE5-1F4F-9EF9-DDDEED3ECCE4}"/>
              </a:ext>
            </a:extLst>
          </p:cNvPr>
          <p:cNvGrpSpPr/>
          <p:nvPr/>
        </p:nvGrpSpPr>
        <p:grpSpPr>
          <a:xfrm>
            <a:off x="6981800" y="1968500"/>
            <a:ext cx="882000" cy="1003840"/>
            <a:chOff x="8721700" y="3562962"/>
            <a:chExt cx="2136800" cy="2431978"/>
          </a:xfrm>
        </p:grpSpPr>
        <p:sp>
          <p:nvSpPr>
            <p:cNvPr id="34" name="Ellipse 33">
              <a:extLst>
                <a:ext uri="{FF2B5EF4-FFF2-40B4-BE49-F238E27FC236}">
                  <a16:creationId xmlns:a16="http://schemas.microsoft.com/office/drawing/2014/main" id="{0099D336-864D-6F63-93E7-339F5D638CAE}"/>
                </a:ext>
              </a:extLst>
            </p:cNvPr>
            <p:cNvSpPr/>
            <p:nvPr/>
          </p:nvSpPr>
          <p:spPr>
            <a:xfrm>
              <a:off x="8904969" y="4215054"/>
              <a:ext cx="1770263" cy="177026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42" name="Image 41">
              <a:extLst>
                <a:ext uri="{FF2B5EF4-FFF2-40B4-BE49-F238E27FC236}">
                  <a16:creationId xmlns:a16="http://schemas.microsoft.com/office/drawing/2014/main" id="{9631514F-F7A4-3F0C-9A03-F32B280581E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b="24196"/>
            <a:stretch>
              <a:fillRect/>
            </a:stretch>
          </p:blipFill>
          <p:spPr>
            <a:xfrm>
              <a:off x="8721700" y="3562962"/>
              <a:ext cx="2136800" cy="2431978"/>
            </a:xfrm>
            <a:custGeom>
              <a:avLst/>
              <a:gdLst>
                <a:gd name="connsiteX0" fmla="*/ 0 w 2136800"/>
                <a:gd name="connsiteY0" fmla="*/ 0 h 2431978"/>
                <a:gd name="connsiteX1" fmla="*/ 2136800 w 2136800"/>
                <a:gd name="connsiteY1" fmla="*/ 0 h 2431978"/>
                <a:gd name="connsiteX2" fmla="*/ 2136800 w 2136800"/>
                <a:gd name="connsiteY2" fmla="*/ 1555138 h 2431978"/>
                <a:gd name="connsiteX3" fmla="*/ 1952697 w 2136800"/>
                <a:gd name="connsiteY3" fmla="*/ 1555138 h 2431978"/>
                <a:gd name="connsiteX4" fmla="*/ 1935550 w 2136800"/>
                <a:gd name="connsiteY4" fmla="*/ 1725231 h 2431978"/>
                <a:gd name="connsiteX5" fmla="*/ 1068401 w 2136800"/>
                <a:gd name="connsiteY5" fmla="*/ 2431978 h 2431978"/>
                <a:gd name="connsiteX6" fmla="*/ 201252 w 2136800"/>
                <a:gd name="connsiteY6" fmla="*/ 1725231 h 2431978"/>
                <a:gd name="connsiteX7" fmla="*/ 184105 w 2136800"/>
                <a:gd name="connsiteY7" fmla="*/ 1555138 h 2431978"/>
                <a:gd name="connsiteX8" fmla="*/ 0 w 2136800"/>
                <a:gd name="connsiteY8" fmla="*/ 1555138 h 2431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36800" h="2431978">
                  <a:moveTo>
                    <a:pt x="0" y="0"/>
                  </a:moveTo>
                  <a:lnTo>
                    <a:pt x="2136800" y="0"/>
                  </a:lnTo>
                  <a:lnTo>
                    <a:pt x="2136800" y="1555138"/>
                  </a:lnTo>
                  <a:lnTo>
                    <a:pt x="1952697" y="1555138"/>
                  </a:lnTo>
                  <a:lnTo>
                    <a:pt x="1935550" y="1725231"/>
                  </a:lnTo>
                  <a:cubicBezTo>
                    <a:pt x="1853015" y="2128571"/>
                    <a:pt x="1496140" y="2431978"/>
                    <a:pt x="1068401" y="2431978"/>
                  </a:cubicBezTo>
                  <a:cubicBezTo>
                    <a:pt x="640662" y="2431978"/>
                    <a:pt x="283787" y="2128571"/>
                    <a:pt x="201252" y="1725231"/>
                  </a:cubicBezTo>
                  <a:lnTo>
                    <a:pt x="184105" y="1555138"/>
                  </a:lnTo>
                  <a:lnTo>
                    <a:pt x="0" y="1555138"/>
                  </a:lnTo>
                  <a:close/>
                </a:path>
              </a:pathLst>
            </a:custGeom>
          </p:spPr>
        </p:pic>
      </p:grpSp>
      <p:sp>
        <p:nvSpPr>
          <p:cNvPr id="52" name="Titre 5">
            <a:hlinkClick r:id="rId4"/>
            <a:extLst>
              <a:ext uri="{FF2B5EF4-FFF2-40B4-BE49-F238E27FC236}">
                <a16:creationId xmlns:a16="http://schemas.microsoft.com/office/drawing/2014/main" id="{1FB62594-BF6A-EB4C-1183-452F5E4196D2}"/>
              </a:ext>
            </a:extLst>
          </p:cNvPr>
          <p:cNvSpPr txBox="1">
            <a:spLocks/>
          </p:cNvSpPr>
          <p:nvPr/>
        </p:nvSpPr>
        <p:spPr>
          <a:xfrm>
            <a:off x="8267489" y="6073678"/>
            <a:ext cx="3924511" cy="602473"/>
          </a:xfrm>
          <a:prstGeom prst="rect">
            <a:avLst/>
          </a:prstGeom>
          <a:solidFill>
            <a:srgbClr val="FFFF00">
              <a:alpha val="0"/>
            </a:srgbClr>
          </a:soli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3500">
                <a:solidFill>
                  <a:schemeClr val="bg1"/>
                </a:solidFill>
              </a:rPr>
              <a:t>EcoPills.fr</a:t>
            </a:r>
          </a:p>
        </p:txBody>
      </p:sp>
      <p:pic>
        <p:nvPicPr>
          <p:cNvPr id="53" name="Image 52" descr="Une image contenant médicament, médecine, Médicament, Médicament sous ordonnance&#10;&#10;Le contenu généré par l’IA peut être incorrect.">
            <a:extLst>
              <a:ext uri="{FF2B5EF4-FFF2-40B4-BE49-F238E27FC236}">
                <a16:creationId xmlns:a16="http://schemas.microsoft.com/office/drawing/2014/main" id="{0F823202-F6F0-B599-6F8C-3D5133C9177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46802" y="3987799"/>
            <a:ext cx="3152172" cy="2675735"/>
          </a:xfrm>
          <a:prstGeom prst="rect">
            <a:avLst/>
          </a:prstGeom>
        </p:spPr>
      </p:pic>
      <p:grpSp>
        <p:nvGrpSpPr>
          <p:cNvPr id="79" name="Groupe 78">
            <a:extLst>
              <a:ext uri="{FF2B5EF4-FFF2-40B4-BE49-F238E27FC236}">
                <a16:creationId xmlns:a16="http://schemas.microsoft.com/office/drawing/2014/main" id="{F4E28337-F7E0-4BF6-8E68-D1833B484D5D}"/>
              </a:ext>
            </a:extLst>
          </p:cNvPr>
          <p:cNvGrpSpPr/>
          <p:nvPr/>
        </p:nvGrpSpPr>
        <p:grpSpPr>
          <a:xfrm>
            <a:off x="8040914" y="4124291"/>
            <a:ext cx="3430977" cy="319802"/>
            <a:chOff x="7721600" y="4080748"/>
            <a:chExt cx="3430977" cy="319802"/>
          </a:xfrm>
        </p:grpSpPr>
        <p:grpSp>
          <p:nvGrpSpPr>
            <p:cNvPr id="75" name="Groupe 74">
              <a:extLst>
                <a:ext uri="{FF2B5EF4-FFF2-40B4-BE49-F238E27FC236}">
                  <a16:creationId xmlns:a16="http://schemas.microsoft.com/office/drawing/2014/main" id="{05DB9990-B41C-4ADF-94FF-9E7B96DE1FA8}"/>
                </a:ext>
              </a:extLst>
            </p:cNvPr>
            <p:cNvGrpSpPr/>
            <p:nvPr/>
          </p:nvGrpSpPr>
          <p:grpSpPr>
            <a:xfrm>
              <a:off x="7788659" y="4080748"/>
              <a:ext cx="3363918" cy="307777"/>
              <a:chOff x="7788659" y="4080748"/>
              <a:chExt cx="3363918" cy="307777"/>
            </a:xfrm>
          </p:grpSpPr>
          <p:sp>
            <p:nvSpPr>
              <p:cNvPr id="49" name="TextBox 46, chunk 2">
                <a:extLst>
                  <a:ext uri="{FF2B5EF4-FFF2-40B4-BE49-F238E27FC236}">
                    <a16:creationId xmlns:a16="http://schemas.microsoft.com/office/drawing/2014/main" id="{2532CF4A-5AE6-760F-A785-9F0CAD072A4C}"/>
                  </a:ext>
                </a:extLst>
              </p:cNvPr>
              <p:cNvSpPr txBox="1"/>
              <p:nvPr/>
            </p:nvSpPr>
            <p:spPr>
              <a:xfrm>
                <a:off x="8026400" y="4080748"/>
                <a:ext cx="3126177" cy="307777"/>
              </a:xfrm>
              <a:prstGeom prst="rect">
                <a:avLst/>
              </a:prstGeom>
              <a:noFill/>
            </p:spPr>
            <p:txBody>
              <a:bodyPr wrap="none" numCol="1">
                <a:spAutoFit/>
              </a:bodyPr>
              <a:lstStyle>
                <a:defPPr>
                  <a:defRPr lang="fr-FR"/>
                </a:defPPr>
                <a:lvl2pPr marL="0" lvl="1">
                  <a:defRPr>
                    <a:solidFill>
                      <a:srgbClr val="231D18"/>
                    </a:solidFill>
                  </a:defRPr>
                </a:lvl2pPr>
              </a:lstStyle>
              <a:p>
                <a:r>
                  <a:rPr kumimoji="0" lang="fr-FR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ontserrat Alternates"/>
                    <a:ea typeface="+mn-ea"/>
                    <a:cs typeface="+mn-cs"/>
                  </a:rPr>
                  <a:t>linkedin.com/company/ecopills/</a:t>
                </a:r>
                <a:endParaRPr lang="fr-FR" sz="140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69" name="Graphique 54">
                <a:extLst>
                  <a:ext uri="{FF2B5EF4-FFF2-40B4-BE49-F238E27FC236}">
                    <a16:creationId xmlns:a16="http://schemas.microsoft.com/office/drawing/2014/main" id="{6C9E51EF-BC9B-FB2F-2D9E-6786FC60808D}"/>
                  </a:ext>
                </a:extLst>
              </p:cNvPr>
              <p:cNvGrpSpPr/>
              <p:nvPr/>
            </p:nvGrpSpPr>
            <p:grpSpPr>
              <a:xfrm>
                <a:off x="7788659" y="4141119"/>
                <a:ext cx="179150" cy="179150"/>
                <a:chOff x="7478125" y="7123830"/>
                <a:chExt cx="5994385" cy="5994385"/>
              </a:xfrm>
              <a:noFill/>
            </p:grpSpPr>
            <p:sp>
              <p:nvSpPr>
                <p:cNvPr id="70" name="Forme libre : forme 69">
                  <a:extLst>
                    <a:ext uri="{FF2B5EF4-FFF2-40B4-BE49-F238E27FC236}">
                      <a16:creationId xmlns:a16="http://schemas.microsoft.com/office/drawing/2014/main" id="{50B299FD-ADE3-7770-290B-DD4446E8CB45}"/>
                    </a:ext>
                  </a:extLst>
                </p:cNvPr>
                <p:cNvSpPr/>
                <p:nvPr/>
              </p:nvSpPr>
              <p:spPr>
                <a:xfrm flipV="1">
                  <a:off x="7478125" y="7123830"/>
                  <a:ext cx="5994385" cy="5994385"/>
                </a:xfrm>
                <a:custGeom>
                  <a:avLst/>
                  <a:gdLst>
                    <a:gd name="connsiteX0" fmla="*/ 5486924 w 5994385"/>
                    <a:gd name="connsiteY0" fmla="*/ 105 h 5994385"/>
                    <a:gd name="connsiteX1" fmla="*/ 508536 w 5994385"/>
                    <a:gd name="connsiteY1" fmla="*/ 105 h 5994385"/>
                    <a:gd name="connsiteX2" fmla="*/ 537 w 5994385"/>
                    <a:gd name="connsiteY2" fmla="*/ 508104 h 5994385"/>
                    <a:gd name="connsiteX3" fmla="*/ 537 w 5994385"/>
                    <a:gd name="connsiteY3" fmla="*/ 5486492 h 5994385"/>
                    <a:gd name="connsiteX4" fmla="*/ 508536 w 5994385"/>
                    <a:gd name="connsiteY4" fmla="*/ 5994491 h 5994385"/>
                    <a:gd name="connsiteX5" fmla="*/ 5486924 w 5994385"/>
                    <a:gd name="connsiteY5" fmla="*/ 5994491 h 5994385"/>
                    <a:gd name="connsiteX6" fmla="*/ 5994923 w 5994385"/>
                    <a:gd name="connsiteY6" fmla="*/ 5486492 h 5994385"/>
                    <a:gd name="connsiteX7" fmla="*/ 5994923 w 5994385"/>
                    <a:gd name="connsiteY7" fmla="*/ 508104 h 5994385"/>
                    <a:gd name="connsiteX8" fmla="*/ 5486924 w 5994385"/>
                    <a:gd name="connsiteY8" fmla="*/ 105 h 59943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994385" h="5994385">
                      <a:moveTo>
                        <a:pt x="5486924" y="105"/>
                      </a:moveTo>
                      <a:lnTo>
                        <a:pt x="508536" y="105"/>
                      </a:lnTo>
                      <a:cubicBezTo>
                        <a:pt x="227968" y="105"/>
                        <a:pt x="537" y="227549"/>
                        <a:pt x="537" y="508104"/>
                      </a:cubicBezTo>
                      <a:lnTo>
                        <a:pt x="537" y="5486492"/>
                      </a:lnTo>
                      <a:cubicBezTo>
                        <a:pt x="537" y="5767047"/>
                        <a:pt x="227968" y="5994491"/>
                        <a:pt x="508536" y="5994491"/>
                      </a:cubicBezTo>
                      <a:lnTo>
                        <a:pt x="5486924" y="5994491"/>
                      </a:lnTo>
                      <a:cubicBezTo>
                        <a:pt x="5767492" y="5994491"/>
                        <a:pt x="5994923" y="5767047"/>
                        <a:pt x="5994923" y="5486492"/>
                      </a:cubicBezTo>
                      <a:lnTo>
                        <a:pt x="5994923" y="508104"/>
                      </a:lnTo>
                      <a:cubicBezTo>
                        <a:pt x="5994923" y="227549"/>
                        <a:pt x="5767492" y="105"/>
                        <a:pt x="5486924" y="105"/>
                      </a:cubicBezTo>
                      <a:close/>
                    </a:path>
                  </a:pathLst>
                </a:custGeom>
                <a:noFill/>
                <a:ln w="9525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71" name="Forme libre : forme 70">
                  <a:extLst>
                    <a:ext uri="{FF2B5EF4-FFF2-40B4-BE49-F238E27FC236}">
                      <a16:creationId xmlns:a16="http://schemas.microsoft.com/office/drawing/2014/main" id="{B6B24A33-9D78-7D55-5B6B-0D4FB0E007A5}"/>
                    </a:ext>
                  </a:extLst>
                </p:cNvPr>
                <p:cNvSpPr/>
                <p:nvPr/>
              </p:nvSpPr>
              <p:spPr>
                <a:xfrm flipV="1">
                  <a:off x="10225547" y="9621489"/>
                  <a:ext cx="1998136" cy="2497664"/>
                </a:xfrm>
                <a:custGeom>
                  <a:avLst/>
                  <a:gdLst>
                    <a:gd name="connsiteX0" fmla="*/ 1998636 w 1998136"/>
                    <a:gd name="connsiteY0" fmla="*/ 322 h 2497664"/>
                    <a:gd name="connsiteX1" fmla="*/ 1998636 w 1998136"/>
                    <a:gd name="connsiteY1" fmla="*/ 1498918 h 2497664"/>
                    <a:gd name="connsiteX2" fmla="*/ 999567 w 1998136"/>
                    <a:gd name="connsiteY2" fmla="*/ 2497987 h 2497664"/>
                    <a:gd name="connsiteX3" fmla="*/ 499 w 1998136"/>
                    <a:gd name="connsiteY3" fmla="*/ 1498918 h 2497664"/>
                    <a:gd name="connsiteX4" fmla="*/ 499 w 1998136"/>
                    <a:gd name="connsiteY4" fmla="*/ 322 h 24976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98136" h="2497664">
                      <a:moveTo>
                        <a:pt x="1998636" y="322"/>
                      </a:moveTo>
                      <a:lnTo>
                        <a:pt x="1998636" y="1498918"/>
                      </a:lnTo>
                      <a:cubicBezTo>
                        <a:pt x="1998636" y="2050694"/>
                        <a:pt x="1551330" y="2497987"/>
                        <a:pt x="999567" y="2497987"/>
                      </a:cubicBezTo>
                      <a:cubicBezTo>
                        <a:pt x="447804" y="2497987"/>
                        <a:pt x="499" y="2050694"/>
                        <a:pt x="499" y="1498918"/>
                      </a:cubicBezTo>
                      <a:lnTo>
                        <a:pt x="499" y="322"/>
                      </a:lnTo>
                    </a:path>
                  </a:pathLst>
                </a:custGeom>
                <a:noFill/>
                <a:ln w="9525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72" name="Forme libre : forme 71">
                  <a:extLst>
                    <a:ext uri="{FF2B5EF4-FFF2-40B4-BE49-F238E27FC236}">
                      <a16:creationId xmlns:a16="http://schemas.microsoft.com/office/drawing/2014/main" id="{7C1D94CD-19AD-8F29-3F03-AD8175522EBE}"/>
                    </a:ext>
                  </a:extLst>
                </p:cNvPr>
                <p:cNvSpPr/>
                <p:nvPr/>
              </p:nvSpPr>
              <p:spPr>
                <a:xfrm flipV="1">
                  <a:off x="8726951" y="9621489"/>
                  <a:ext cx="9525" cy="2497664"/>
                </a:xfrm>
                <a:custGeom>
                  <a:avLst/>
                  <a:gdLst>
                    <a:gd name="connsiteX0" fmla="*/ 158 w 9525"/>
                    <a:gd name="connsiteY0" fmla="*/ 322 h 2497664"/>
                    <a:gd name="connsiteX1" fmla="*/ 158 w 9525"/>
                    <a:gd name="connsiteY1" fmla="*/ 2497987 h 24976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2497664">
                      <a:moveTo>
                        <a:pt x="158" y="322"/>
                      </a:moveTo>
                      <a:lnTo>
                        <a:pt x="158" y="2497987"/>
                      </a:lnTo>
                    </a:path>
                  </a:pathLst>
                </a:custGeom>
                <a:noFill/>
                <a:ln w="9525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73" name="Forme libre : forme 72">
                  <a:extLst>
                    <a:ext uri="{FF2B5EF4-FFF2-40B4-BE49-F238E27FC236}">
                      <a16:creationId xmlns:a16="http://schemas.microsoft.com/office/drawing/2014/main" id="{30FE9543-ED42-D677-C5A8-62527C444F82}"/>
                    </a:ext>
                  </a:extLst>
                </p:cNvPr>
                <p:cNvSpPr/>
                <p:nvPr/>
              </p:nvSpPr>
              <p:spPr>
                <a:xfrm flipV="1">
                  <a:off x="8726951" y="8622427"/>
                  <a:ext cx="9525" cy="9525"/>
                </a:xfrm>
                <a:custGeom>
                  <a:avLst/>
                  <a:gdLst>
                    <a:gd name="connsiteX0" fmla="*/ 158 w 9525"/>
                    <a:gd name="connsiteY0" fmla="*/ 184 h 9525"/>
                    <a:gd name="connsiteX1" fmla="*/ 158 w 9525"/>
                    <a:gd name="connsiteY1" fmla="*/ 184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9525">
                      <a:moveTo>
                        <a:pt x="158" y="184"/>
                      </a:moveTo>
                      <a:lnTo>
                        <a:pt x="158" y="184"/>
                      </a:lnTo>
                    </a:path>
                  </a:pathLst>
                </a:custGeom>
                <a:noFill/>
                <a:ln w="9525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</p:grpSp>
        </p:grpSp>
        <p:sp>
          <p:nvSpPr>
            <p:cNvPr id="76" name="Rectangle 75">
              <a:hlinkClick r:id="rId6"/>
              <a:extLst>
                <a:ext uri="{FF2B5EF4-FFF2-40B4-BE49-F238E27FC236}">
                  <a16:creationId xmlns:a16="http://schemas.microsoft.com/office/drawing/2014/main" id="{7DB0784F-300C-4B2C-FF4F-F43AD65F4897}"/>
                </a:ext>
              </a:extLst>
            </p:cNvPr>
            <p:cNvSpPr/>
            <p:nvPr/>
          </p:nvSpPr>
          <p:spPr>
            <a:xfrm>
              <a:off x="7721600" y="4080748"/>
              <a:ext cx="3429000" cy="319802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78" name="Groupe 77">
            <a:extLst>
              <a:ext uri="{FF2B5EF4-FFF2-40B4-BE49-F238E27FC236}">
                <a16:creationId xmlns:a16="http://schemas.microsoft.com/office/drawing/2014/main" id="{E4B6BB96-98B1-BF5F-8A00-508C21435293}"/>
              </a:ext>
            </a:extLst>
          </p:cNvPr>
          <p:cNvGrpSpPr/>
          <p:nvPr/>
        </p:nvGrpSpPr>
        <p:grpSpPr>
          <a:xfrm>
            <a:off x="8040914" y="3571388"/>
            <a:ext cx="1974850" cy="319802"/>
            <a:chOff x="7721600" y="3598148"/>
            <a:chExt cx="1974850" cy="319802"/>
          </a:xfrm>
        </p:grpSpPr>
        <p:grpSp>
          <p:nvGrpSpPr>
            <p:cNvPr id="74" name="Groupe 73">
              <a:extLst>
                <a:ext uri="{FF2B5EF4-FFF2-40B4-BE49-F238E27FC236}">
                  <a16:creationId xmlns:a16="http://schemas.microsoft.com/office/drawing/2014/main" id="{E8BD69F3-700A-4333-AF8F-915D1ED81E13}"/>
                </a:ext>
              </a:extLst>
            </p:cNvPr>
            <p:cNvGrpSpPr/>
            <p:nvPr/>
          </p:nvGrpSpPr>
          <p:grpSpPr>
            <a:xfrm>
              <a:off x="7792000" y="3607270"/>
              <a:ext cx="1904450" cy="307777"/>
              <a:chOff x="7792000" y="3607270"/>
              <a:chExt cx="1904450" cy="307777"/>
            </a:xfrm>
          </p:grpSpPr>
          <p:sp>
            <p:nvSpPr>
              <p:cNvPr id="51" name="TextBox 46, chunk 1, chunk 1">
                <a:extLst>
                  <a:ext uri="{FF2B5EF4-FFF2-40B4-BE49-F238E27FC236}">
                    <a16:creationId xmlns:a16="http://schemas.microsoft.com/office/drawing/2014/main" id="{D2B3C0A2-24D8-A9E8-7C0A-BF3FF1F83FD3}"/>
                  </a:ext>
                </a:extLst>
              </p:cNvPr>
              <p:cNvSpPr txBox="1"/>
              <p:nvPr/>
            </p:nvSpPr>
            <p:spPr>
              <a:xfrm>
                <a:off x="8026400" y="3607270"/>
                <a:ext cx="1670050" cy="307777"/>
              </a:xfrm>
              <a:prstGeom prst="rect">
                <a:avLst/>
              </a:prstGeom>
              <a:noFill/>
            </p:spPr>
            <p:txBody>
              <a:bodyPr wrap="square" numCol="1">
                <a:spAutoFit/>
              </a:bodyPr>
              <a:lstStyle>
                <a:defPPr>
                  <a:defRPr lang="fr-FR"/>
                </a:defPPr>
                <a:lvl2pPr marL="0" marR="0" lvl="1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b="0" i="0" u="none" strike="noStrike" cap="none" spc="0" normalizeH="0" baseline="0">
                    <a:ln>
                      <a:noFill/>
                    </a:ln>
                    <a:solidFill>
                      <a:srgbClr val="231D18"/>
                    </a:solidFill>
                    <a:effectLst/>
                    <a:uLnTx/>
                    <a:uFillTx/>
                    <a:latin typeface="Montserrat Alternates"/>
                  </a:defRPr>
                </a:lvl2pPr>
              </a:lstStyle>
              <a:p>
                <a:r>
                  <a:rPr kumimoji="0" lang="fr-FR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ontserrat Alternates"/>
                    <a:ea typeface="+mn-ea"/>
                    <a:cs typeface="+mn-cs"/>
                  </a:rPr>
                  <a:t>+33 6 07 81 22 93</a:t>
                </a:r>
                <a:endParaRPr lang="fr-FR" sz="140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65" name="Graphique 58">
                <a:extLst>
                  <a:ext uri="{FF2B5EF4-FFF2-40B4-BE49-F238E27FC236}">
                    <a16:creationId xmlns:a16="http://schemas.microsoft.com/office/drawing/2014/main" id="{EAFCC3C2-71A7-3BA2-F671-CD1348B5E111}"/>
                  </a:ext>
                </a:extLst>
              </p:cNvPr>
              <p:cNvGrpSpPr/>
              <p:nvPr/>
            </p:nvGrpSpPr>
            <p:grpSpPr>
              <a:xfrm>
                <a:off x="7792000" y="3615793"/>
                <a:ext cx="172468" cy="290730"/>
                <a:chOff x="13892622" y="2724438"/>
                <a:chExt cx="3555991" cy="5994385"/>
              </a:xfrm>
              <a:noFill/>
            </p:grpSpPr>
            <p:sp>
              <p:nvSpPr>
                <p:cNvPr id="66" name="Forme libre : forme 65">
                  <a:extLst>
                    <a:ext uri="{FF2B5EF4-FFF2-40B4-BE49-F238E27FC236}">
                      <a16:creationId xmlns:a16="http://schemas.microsoft.com/office/drawing/2014/main" id="{51744CA6-12B2-D970-C552-85DC2CBABA72}"/>
                    </a:ext>
                  </a:extLst>
                </p:cNvPr>
                <p:cNvSpPr/>
                <p:nvPr/>
              </p:nvSpPr>
              <p:spPr>
                <a:xfrm flipV="1">
                  <a:off x="13892622" y="2724438"/>
                  <a:ext cx="3555991" cy="5994385"/>
                </a:xfrm>
                <a:custGeom>
                  <a:avLst/>
                  <a:gdLst>
                    <a:gd name="connsiteX0" fmla="*/ 3073836 w 3555991"/>
                    <a:gd name="connsiteY0" fmla="*/ 105 h 5994385"/>
                    <a:gd name="connsiteX1" fmla="*/ 483042 w 3555991"/>
                    <a:gd name="connsiteY1" fmla="*/ 105 h 5994385"/>
                    <a:gd name="connsiteX2" fmla="*/ 443 w 3555991"/>
                    <a:gd name="connsiteY2" fmla="*/ 482704 h 5994385"/>
                    <a:gd name="connsiteX3" fmla="*/ 443 w 3555991"/>
                    <a:gd name="connsiteY3" fmla="*/ 5511892 h 5994385"/>
                    <a:gd name="connsiteX4" fmla="*/ 483042 w 3555991"/>
                    <a:gd name="connsiteY4" fmla="*/ 5994491 h 5994385"/>
                    <a:gd name="connsiteX5" fmla="*/ 3073836 w 3555991"/>
                    <a:gd name="connsiteY5" fmla="*/ 5994491 h 5994385"/>
                    <a:gd name="connsiteX6" fmla="*/ 3556435 w 3555991"/>
                    <a:gd name="connsiteY6" fmla="*/ 5511892 h 5994385"/>
                    <a:gd name="connsiteX7" fmla="*/ 3556435 w 3555991"/>
                    <a:gd name="connsiteY7" fmla="*/ 482704 h 5994385"/>
                    <a:gd name="connsiteX8" fmla="*/ 3073836 w 3555991"/>
                    <a:gd name="connsiteY8" fmla="*/ 105 h 59943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555991" h="5994385">
                      <a:moveTo>
                        <a:pt x="3073836" y="105"/>
                      </a:moveTo>
                      <a:lnTo>
                        <a:pt x="483042" y="105"/>
                      </a:lnTo>
                      <a:cubicBezTo>
                        <a:pt x="216508" y="105"/>
                        <a:pt x="443" y="216170"/>
                        <a:pt x="443" y="482704"/>
                      </a:cubicBezTo>
                      <a:lnTo>
                        <a:pt x="443" y="5511892"/>
                      </a:lnTo>
                      <a:cubicBezTo>
                        <a:pt x="443" y="5778426"/>
                        <a:pt x="216508" y="5994491"/>
                        <a:pt x="483042" y="5994491"/>
                      </a:cubicBezTo>
                      <a:lnTo>
                        <a:pt x="3073836" y="5994491"/>
                      </a:lnTo>
                      <a:cubicBezTo>
                        <a:pt x="3340370" y="5994491"/>
                        <a:pt x="3556435" y="5778426"/>
                        <a:pt x="3556435" y="5511892"/>
                      </a:cubicBezTo>
                      <a:lnTo>
                        <a:pt x="3556435" y="482704"/>
                      </a:lnTo>
                      <a:cubicBezTo>
                        <a:pt x="3556435" y="216170"/>
                        <a:pt x="3340370" y="105"/>
                        <a:pt x="3073836" y="105"/>
                      </a:cubicBezTo>
                      <a:close/>
                    </a:path>
                  </a:pathLst>
                </a:custGeom>
                <a:noFill/>
                <a:ln w="9525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67" name="Forme libre : forme 66">
                  <a:extLst>
                    <a:ext uri="{FF2B5EF4-FFF2-40B4-BE49-F238E27FC236}">
                      <a16:creationId xmlns:a16="http://schemas.microsoft.com/office/drawing/2014/main" id="{081C64F2-786A-7B2A-10F7-BD035806DD1A}"/>
                    </a:ext>
                  </a:extLst>
                </p:cNvPr>
                <p:cNvSpPr/>
                <p:nvPr/>
              </p:nvSpPr>
              <p:spPr>
                <a:xfrm flipV="1">
                  <a:off x="15188019" y="8007625"/>
                  <a:ext cx="965197" cy="9525"/>
                </a:xfrm>
                <a:custGeom>
                  <a:avLst/>
                  <a:gdLst>
                    <a:gd name="connsiteX0" fmla="*/ 303 w 965197"/>
                    <a:gd name="connsiteY0" fmla="*/ 581 h 9525"/>
                    <a:gd name="connsiteX1" fmla="*/ 965501 w 965197"/>
                    <a:gd name="connsiteY1" fmla="*/ 581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65197" h="9525">
                      <a:moveTo>
                        <a:pt x="303" y="581"/>
                      </a:moveTo>
                      <a:lnTo>
                        <a:pt x="965501" y="581"/>
                      </a:lnTo>
                    </a:path>
                  </a:pathLst>
                </a:custGeom>
                <a:noFill/>
                <a:ln w="9525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68" name="Forme libre : forme 67">
                  <a:extLst>
                    <a:ext uri="{FF2B5EF4-FFF2-40B4-BE49-F238E27FC236}">
                      <a16:creationId xmlns:a16="http://schemas.microsoft.com/office/drawing/2014/main" id="{21BB8412-69A2-967B-E0ED-5B9988A7C077}"/>
                    </a:ext>
                  </a:extLst>
                </p:cNvPr>
                <p:cNvSpPr/>
                <p:nvPr/>
              </p:nvSpPr>
              <p:spPr>
                <a:xfrm flipV="1">
                  <a:off x="14908619" y="2724438"/>
                  <a:ext cx="1523996" cy="711198"/>
                </a:xfrm>
                <a:custGeom>
                  <a:avLst/>
                  <a:gdLst>
                    <a:gd name="connsiteX0" fmla="*/ 1041761 w 1523996"/>
                    <a:gd name="connsiteY0" fmla="*/ 36 h 711198"/>
                    <a:gd name="connsiteX1" fmla="*/ 482962 w 1523996"/>
                    <a:gd name="connsiteY1" fmla="*/ 36 h 711198"/>
                    <a:gd name="connsiteX2" fmla="*/ 363 w 1523996"/>
                    <a:gd name="connsiteY2" fmla="*/ 482635 h 711198"/>
                    <a:gd name="connsiteX3" fmla="*/ 363 w 1523996"/>
                    <a:gd name="connsiteY3" fmla="*/ 711234 h 711198"/>
                    <a:gd name="connsiteX4" fmla="*/ 1524360 w 1523996"/>
                    <a:gd name="connsiteY4" fmla="*/ 711234 h 711198"/>
                    <a:gd name="connsiteX5" fmla="*/ 1524360 w 1523996"/>
                    <a:gd name="connsiteY5" fmla="*/ 482635 h 711198"/>
                    <a:gd name="connsiteX6" fmla="*/ 1041761 w 1523996"/>
                    <a:gd name="connsiteY6" fmla="*/ 36 h 711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523996" h="711198">
                      <a:moveTo>
                        <a:pt x="1041761" y="36"/>
                      </a:moveTo>
                      <a:lnTo>
                        <a:pt x="482962" y="36"/>
                      </a:lnTo>
                      <a:cubicBezTo>
                        <a:pt x="216428" y="36"/>
                        <a:pt x="363" y="216101"/>
                        <a:pt x="363" y="482635"/>
                      </a:cubicBezTo>
                      <a:lnTo>
                        <a:pt x="363" y="711234"/>
                      </a:lnTo>
                      <a:lnTo>
                        <a:pt x="1524360" y="711234"/>
                      </a:lnTo>
                      <a:lnTo>
                        <a:pt x="1524360" y="482635"/>
                      </a:lnTo>
                      <a:cubicBezTo>
                        <a:pt x="1524360" y="216101"/>
                        <a:pt x="1308295" y="36"/>
                        <a:pt x="1041761" y="36"/>
                      </a:cubicBezTo>
                      <a:close/>
                    </a:path>
                  </a:pathLst>
                </a:custGeom>
                <a:noFill/>
                <a:ln w="9525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</p:grpSp>
        </p:grpSp>
        <p:sp>
          <p:nvSpPr>
            <p:cNvPr id="77" name="Rectangle 76">
              <a:hlinkClick r:id="rId7"/>
              <a:extLst>
                <a:ext uri="{FF2B5EF4-FFF2-40B4-BE49-F238E27FC236}">
                  <a16:creationId xmlns:a16="http://schemas.microsoft.com/office/drawing/2014/main" id="{3D5FA932-2ED6-2185-427C-98070D5EDD32}"/>
                </a:ext>
              </a:extLst>
            </p:cNvPr>
            <p:cNvSpPr/>
            <p:nvPr/>
          </p:nvSpPr>
          <p:spPr>
            <a:xfrm>
              <a:off x="7721600" y="3598148"/>
              <a:ext cx="1960793" cy="319802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82" name="Groupe 81">
            <a:extLst>
              <a:ext uri="{FF2B5EF4-FFF2-40B4-BE49-F238E27FC236}">
                <a16:creationId xmlns:a16="http://schemas.microsoft.com/office/drawing/2014/main" id="{B9A09125-5EE2-67E3-0B3C-F926360592C4}"/>
              </a:ext>
            </a:extLst>
          </p:cNvPr>
          <p:cNvGrpSpPr/>
          <p:nvPr/>
        </p:nvGrpSpPr>
        <p:grpSpPr>
          <a:xfrm>
            <a:off x="8040914" y="3017677"/>
            <a:ext cx="2265593" cy="320609"/>
            <a:chOff x="7721600" y="3133791"/>
            <a:chExt cx="2265593" cy="320609"/>
          </a:xfrm>
        </p:grpSpPr>
        <p:sp>
          <p:nvSpPr>
            <p:cNvPr id="50" name="TextBox 46, chunk 1, chunk 1">
              <a:extLst>
                <a:ext uri="{FF2B5EF4-FFF2-40B4-BE49-F238E27FC236}">
                  <a16:creationId xmlns:a16="http://schemas.microsoft.com/office/drawing/2014/main" id="{87D55992-286E-2066-0165-8CCBE3A85D25}"/>
                </a:ext>
              </a:extLst>
            </p:cNvPr>
            <p:cNvSpPr txBox="1"/>
            <p:nvPr/>
          </p:nvSpPr>
          <p:spPr>
            <a:xfrm>
              <a:off x="8026400" y="3133791"/>
              <a:ext cx="1960793" cy="307777"/>
            </a:xfrm>
            <a:prstGeom prst="rect">
              <a:avLst/>
            </a:prstGeom>
            <a:noFill/>
          </p:spPr>
          <p:txBody>
            <a:bodyPr wrap="none" numCol="1">
              <a:spAutoFit/>
            </a:bodyPr>
            <a:lstStyle>
              <a:defPPr>
                <a:defRPr lang="fr-FR"/>
              </a:defPPr>
              <a:lvl2pPr marL="0" marR="0" lvl="1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b="0" i="0" u="none" strike="noStrike" cap="none" spc="0" normalizeH="0" baseline="0">
                  <a:ln>
                    <a:noFill/>
                  </a:ln>
                  <a:solidFill>
                    <a:srgbClr val="231D18"/>
                  </a:solidFill>
                  <a:effectLst/>
                  <a:uLnTx/>
                  <a:uFillTx/>
                  <a:latin typeface="Montserrat Alternates"/>
                </a:defRPr>
              </a:lvl2pPr>
            </a:lstStyle>
            <a:p>
              <a:r>
                <a:rPr kumimoji="0" lang="fr-FR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rPr>
                <a:t>thibault@ecopills.fr</a:t>
              </a:r>
              <a:endParaRPr lang="fr-FR" sz="1400">
                <a:solidFill>
                  <a:schemeClr val="bg1"/>
                </a:solidFill>
              </a:endParaRPr>
            </a:p>
          </p:txBody>
        </p:sp>
        <p:grpSp>
          <p:nvGrpSpPr>
            <p:cNvPr id="60" name="Graphique 56">
              <a:extLst>
                <a:ext uri="{FF2B5EF4-FFF2-40B4-BE49-F238E27FC236}">
                  <a16:creationId xmlns:a16="http://schemas.microsoft.com/office/drawing/2014/main" id="{DB0ADEA7-C8E7-4CBA-45EF-2565ECB0554F}"/>
                </a:ext>
              </a:extLst>
            </p:cNvPr>
            <p:cNvGrpSpPr/>
            <p:nvPr/>
          </p:nvGrpSpPr>
          <p:grpSpPr>
            <a:xfrm>
              <a:off x="7769211" y="3210361"/>
              <a:ext cx="218046" cy="166306"/>
              <a:chOff x="14306087" y="-3048991"/>
              <a:chExt cx="4495800" cy="3429000"/>
            </a:xfrm>
            <a:noFill/>
          </p:grpSpPr>
          <p:sp>
            <p:nvSpPr>
              <p:cNvPr id="61" name="Forme libre : forme 60">
                <a:extLst>
                  <a:ext uri="{FF2B5EF4-FFF2-40B4-BE49-F238E27FC236}">
                    <a16:creationId xmlns:a16="http://schemas.microsoft.com/office/drawing/2014/main" id="{25AAAE90-62FC-3DD2-E720-DF1F416C39C1}"/>
                  </a:ext>
                </a:extLst>
              </p:cNvPr>
              <p:cNvSpPr/>
              <p:nvPr/>
            </p:nvSpPr>
            <p:spPr>
              <a:xfrm>
                <a:off x="14306087" y="-3048991"/>
                <a:ext cx="4495800" cy="3429000"/>
              </a:xfrm>
              <a:custGeom>
                <a:avLst/>
                <a:gdLst>
                  <a:gd name="connsiteX0" fmla="*/ 3733800 w 4495800"/>
                  <a:gd name="connsiteY0" fmla="*/ 3429000 h 3429000"/>
                  <a:gd name="connsiteX1" fmla="*/ 762000 w 4495800"/>
                  <a:gd name="connsiteY1" fmla="*/ 3429000 h 3429000"/>
                  <a:gd name="connsiteX2" fmla="*/ 0 w 4495800"/>
                  <a:gd name="connsiteY2" fmla="*/ 2667000 h 3429000"/>
                  <a:gd name="connsiteX3" fmla="*/ 0 w 4495800"/>
                  <a:gd name="connsiteY3" fmla="*/ 762000 h 3429000"/>
                  <a:gd name="connsiteX4" fmla="*/ 762000 w 4495800"/>
                  <a:gd name="connsiteY4" fmla="*/ 0 h 3429000"/>
                  <a:gd name="connsiteX5" fmla="*/ 3733800 w 4495800"/>
                  <a:gd name="connsiteY5" fmla="*/ 0 h 3429000"/>
                  <a:gd name="connsiteX6" fmla="*/ 4495800 w 4495800"/>
                  <a:gd name="connsiteY6" fmla="*/ 762000 h 3429000"/>
                  <a:gd name="connsiteX7" fmla="*/ 4495800 w 4495800"/>
                  <a:gd name="connsiteY7" fmla="*/ 2667000 h 3429000"/>
                  <a:gd name="connsiteX8" fmla="*/ 3733800 w 4495800"/>
                  <a:gd name="connsiteY8" fmla="*/ 3429000 h 3429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495800" h="3429000">
                    <a:moveTo>
                      <a:pt x="3733800" y="3429000"/>
                    </a:moveTo>
                    <a:lnTo>
                      <a:pt x="762000" y="3429000"/>
                    </a:lnTo>
                    <a:cubicBezTo>
                      <a:pt x="341157" y="3429000"/>
                      <a:pt x="0" y="3087843"/>
                      <a:pt x="0" y="2667000"/>
                    </a:cubicBezTo>
                    <a:lnTo>
                      <a:pt x="0" y="762000"/>
                    </a:lnTo>
                    <a:cubicBezTo>
                      <a:pt x="0" y="341157"/>
                      <a:pt x="341157" y="0"/>
                      <a:pt x="762000" y="0"/>
                    </a:cubicBezTo>
                    <a:lnTo>
                      <a:pt x="3733800" y="0"/>
                    </a:lnTo>
                    <a:cubicBezTo>
                      <a:pt x="4154643" y="0"/>
                      <a:pt x="4495800" y="341157"/>
                      <a:pt x="4495800" y="762000"/>
                    </a:cubicBezTo>
                    <a:lnTo>
                      <a:pt x="4495800" y="2667000"/>
                    </a:lnTo>
                    <a:cubicBezTo>
                      <a:pt x="4495800" y="3087843"/>
                      <a:pt x="4154643" y="3429000"/>
                      <a:pt x="3733800" y="3429000"/>
                    </a:cubicBezTo>
                    <a:close/>
                  </a:path>
                </a:pathLst>
              </a:custGeom>
              <a:noFill/>
              <a:ln w="9525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62" name="Forme libre : forme 61">
                <a:extLst>
                  <a:ext uri="{FF2B5EF4-FFF2-40B4-BE49-F238E27FC236}">
                    <a16:creationId xmlns:a16="http://schemas.microsoft.com/office/drawing/2014/main" id="{E9DA5E87-1D7C-3F3C-5694-6F939134AD33}"/>
                  </a:ext>
                </a:extLst>
              </p:cNvPr>
              <p:cNvSpPr/>
              <p:nvPr/>
            </p:nvSpPr>
            <p:spPr>
              <a:xfrm>
                <a:off x="15068087" y="-2286991"/>
                <a:ext cx="2971800" cy="1366187"/>
              </a:xfrm>
              <a:custGeom>
                <a:avLst/>
                <a:gdLst>
                  <a:gd name="connsiteX0" fmla="*/ 0 w 2971800"/>
                  <a:gd name="connsiteY0" fmla="*/ 0 h 1366187"/>
                  <a:gd name="connsiteX1" fmla="*/ 1216495 w 2971800"/>
                  <a:gd name="connsiteY1" fmla="*/ 1254595 h 1366187"/>
                  <a:gd name="connsiteX2" fmla="*/ 1755315 w 2971800"/>
                  <a:gd name="connsiteY2" fmla="*/ 1254595 h 1366187"/>
                  <a:gd name="connsiteX3" fmla="*/ 2971800 w 2971800"/>
                  <a:gd name="connsiteY3" fmla="*/ 0 h 1366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71800" h="1366187">
                    <a:moveTo>
                      <a:pt x="0" y="0"/>
                    </a:moveTo>
                    <a:lnTo>
                      <a:pt x="1216495" y="1254595"/>
                    </a:lnTo>
                    <a:cubicBezTo>
                      <a:pt x="1365285" y="1403385"/>
                      <a:pt x="1606525" y="1403385"/>
                      <a:pt x="1755315" y="1254595"/>
                    </a:cubicBezTo>
                    <a:lnTo>
                      <a:pt x="2971800" y="0"/>
                    </a:lnTo>
                  </a:path>
                </a:pathLst>
              </a:custGeom>
              <a:noFill/>
              <a:ln w="9525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63" name="Forme libre : forme 62">
                <a:extLst>
                  <a:ext uri="{FF2B5EF4-FFF2-40B4-BE49-F238E27FC236}">
                    <a16:creationId xmlns:a16="http://schemas.microsoft.com/office/drawing/2014/main" id="{93685F27-052D-9968-4508-253A1DEA62C6}"/>
                  </a:ext>
                </a:extLst>
              </p:cNvPr>
              <p:cNvSpPr/>
              <p:nvPr/>
            </p:nvSpPr>
            <p:spPr>
              <a:xfrm>
                <a:off x="15068087" y="-1334491"/>
                <a:ext cx="914400" cy="952500"/>
              </a:xfrm>
              <a:custGeom>
                <a:avLst/>
                <a:gdLst>
                  <a:gd name="connsiteX0" fmla="*/ 0 w 914400"/>
                  <a:gd name="connsiteY0" fmla="*/ 952500 h 952500"/>
                  <a:gd name="connsiteX1" fmla="*/ 914400 w 914400"/>
                  <a:gd name="connsiteY1" fmla="*/ 0 h 952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14400" h="952500">
                    <a:moveTo>
                      <a:pt x="0" y="952500"/>
                    </a:moveTo>
                    <a:lnTo>
                      <a:pt x="914400" y="0"/>
                    </a:lnTo>
                  </a:path>
                </a:pathLst>
              </a:custGeom>
              <a:ln w="9525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64" name="Forme libre : forme 63">
                <a:extLst>
                  <a:ext uri="{FF2B5EF4-FFF2-40B4-BE49-F238E27FC236}">
                    <a16:creationId xmlns:a16="http://schemas.microsoft.com/office/drawing/2014/main" id="{8ED2B8B4-2154-7771-FE18-CAFA248FF286}"/>
                  </a:ext>
                </a:extLst>
              </p:cNvPr>
              <p:cNvSpPr/>
              <p:nvPr/>
            </p:nvSpPr>
            <p:spPr>
              <a:xfrm>
                <a:off x="17125487" y="-1334491"/>
                <a:ext cx="914400" cy="952500"/>
              </a:xfrm>
              <a:custGeom>
                <a:avLst/>
                <a:gdLst>
                  <a:gd name="connsiteX0" fmla="*/ 0 w 914400"/>
                  <a:gd name="connsiteY0" fmla="*/ 0 h 952500"/>
                  <a:gd name="connsiteX1" fmla="*/ 914400 w 914400"/>
                  <a:gd name="connsiteY1" fmla="*/ 952500 h 952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14400" h="952500">
                    <a:moveTo>
                      <a:pt x="0" y="0"/>
                    </a:moveTo>
                    <a:lnTo>
                      <a:pt x="914400" y="952500"/>
                    </a:lnTo>
                  </a:path>
                </a:pathLst>
              </a:custGeom>
              <a:ln w="9525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  <p:sp>
          <p:nvSpPr>
            <p:cNvPr id="81" name="Rectangle 80">
              <a:hlinkClick r:id="rId8"/>
              <a:extLst>
                <a:ext uri="{FF2B5EF4-FFF2-40B4-BE49-F238E27FC236}">
                  <a16:creationId xmlns:a16="http://schemas.microsoft.com/office/drawing/2014/main" id="{5E843E28-3FD6-5D51-2617-991A1BE2EFFC}"/>
                </a:ext>
              </a:extLst>
            </p:cNvPr>
            <p:cNvSpPr/>
            <p:nvPr/>
          </p:nvSpPr>
          <p:spPr>
            <a:xfrm>
              <a:off x="7721600" y="3134598"/>
              <a:ext cx="2207117" cy="319802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1553060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3.33333E-6 L -0.15834 -3.33333E-6 " pathEditMode="relative" rAng="0" ptsTypes="AA">
                                      <p:cBhvr>
                                        <p:cTn id="9" dur="1500" spd="-100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917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3.7037E-7 L 0.075 -3.7037E-7 " pathEditMode="relative" rAng="0" ptsTypes="AA">
                                      <p:cBhvr>
                                        <p:cTn id="14" dur="1500" spd="-100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50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mph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Scale>
                                      <p:cBhvr>
                                        <p:cTn id="19" dur="750" fill="hold"/>
                                        <p:tgtEl>
                                          <p:spTgt spid="28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6" presetClass="emp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Scale>
                                      <p:cBhvr>
                                        <p:cTn id="21" dur="1000" fill="hold"/>
                                        <p:tgtEl>
                                          <p:spTgt spid="28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2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0 4.07407E-6 L 0 0.08518 " pathEditMode="relative" rAng="0" ptsTypes="AA">
                                      <p:cBhvr>
                                        <p:cTn id="26" dur="20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259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42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95833E-6 -1.11111E-6 L 0.07096 -1.11111E-6 " pathEditMode="relative" rAng="0" ptsTypes="AA">
                                      <p:cBhvr>
                                        <p:cTn id="31" dur="20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42" y="0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42" presetClass="path" presetSubtype="0" decel="100000" fill="hold" grpId="1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3.95833E-6 -1.11111E-6 L 0.07096 -1.11111E-6 " pathEditMode="relative" rAng="0" ptsTypes="AA">
                                      <p:cBhvr>
                                        <p:cTn id="36" dur="20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42" y="0"/>
                                    </p:animMotion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42" presetClass="path" presetSubtype="0" decel="10000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animMotion origin="layout" path="M 3.95833E-6 -1.11111E-6 L 0.07096 -1.11111E-6 " pathEditMode="relative" rAng="0" ptsTypes="AA">
                                      <p:cBhvr>
                                        <p:cTn id="41" dur="20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42" y="0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42" presetClass="path" presetSubtype="0" decel="100000" fill="hold" grpId="1" nodeType="withEffect">
                                  <p:stCondLst>
                                    <p:cond delay="1600"/>
                                  </p:stCondLst>
                                  <p:childTnLst>
                                    <p:animMotion origin="layout" path="M 3.95833E-6 -1.11111E-6 L 0.07096 -1.11111E-6 " pathEditMode="relative" rAng="0" ptsTypes="AA">
                                      <p:cBhvr>
                                        <p:cTn id="46" dur="20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42" y="0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42" presetClass="path" presetSubtype="0" decel="10000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animMotion origin="layout" path="M -3.75E-6 4.07407E-6 L 0.07097 4.07407E-6 " pathEditMode="relative" rAng="0" ptsTypes="AA">
                                      <p:cBhvr>
                                        <p:cTn id="51" dur="2000" spd="-100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42" y="0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42" presetClass="path" presetSubtype="0" decel="10000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-4.79167E-6 -1.48148E-6 L 0.07097 -1.48148E-6 " pathEditMode="relative" rAng="0" ptsTypes="AA">
                                      <p:cBhvr>
                                        <p:cTn id="56" dur="20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42" y="0"/>
                                    </p:animMotion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2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42" presetClass="path" presetSubtype="0" decel="100000" fill="hold" nodeType="withEffect">
                                  <p:stCondLst>
                                    <p:cond delay="2200"/>
                                  </p:stCondLst>
                                  <p:childTnLst>
                                    <p:animMotion origin="layout" path="M -2.08333E-7 2.96296E-6 L 0.07096 2.96296E-6 " pathEditMode="relative" rAng="0" ptsTypes="AA">
                                      <p:cBhvr>
                                        <p:cTn id="61" dur="2000" spd="-100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4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42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7" dur="750" fill="hold"/>
                                        <p:tgtEl>
                                          <p:spTgt spid="52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68" presetID="6" presetClass="emph" presetSubtype="0" decel="10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9" dur="1000" fill="hold"/>
                                        <p:tgtEl>
                                          <p:spTgt spid="5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3" grpId="0" animBg="1"/>
      <p:bldP spid="83" grpId="1" animBg="1"/>
      <p:bldP spid="15" grpId="0"/>
      <p:bldP spid="15" grpId="1"/>
      <p:bldP spid="30" grpId="0"/>
      <p:bldP spid="30" grpId="1"/>
      <p:bldP spid="31" grpId="0"/>
      <p:bldP spid="31" grpId="1"/>
      <p:bldP spid="33" grpId="0"/>
      <p:bldP spid="33" grpId="1"/>
      <p:bldP spid="52" grpId="0" animBg="1"/>
      <p:bldP spid="52" grpId="1" animBg="1"/>
      <p:bldP spid="52" grpId="2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7A318D9-4E46-A0EB-1788-1651324977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 : coins arrondis 23">
            <a:extLst>
              <a:ext uri="{FF2B5EF4-FFF2-40B4-BE49-F238E27FC236}">
                <a16:creationId xmlns:a16="http://schemas.microsoft.com/office/drawing/2014/main" id="{206CA5B1-6F0B-95DF-23A6-C468838934F0}"/>
              </a:ext>
            </a:extLst>
          </p:cNvPr>
          <p:cNvSpPr/>
          <p:nvPr/>
        </p:nvSpPr>
        <p:spPr>
          <a:xfrm>
            <a:off x="1016351" y="2594924"/>
            <a:ext cx="972106" cy="1838478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828D19DD-9C43-31C7-CF30-2B40D4D31487}"/>
              </a:ext>
            </a:extLst>
          </p:cNvPr>
          <p:cNvSpPr/>
          <p:nvPr/>
        </p:nvSpPr>
        <p:spPr>
          <a:xfrm>
            <a:off x="6714781" y="-1"/>
            <a:ext cx="7568989" cy="6858001"/>
          </a:xfrm>
          <a:custGeom>
            <a:avLst/>
            <a:gdLst>
              <a:gd name="connsiteX0" fmla="*/ 3196333 w 7568989"/>
              <a:gd name="connsiteY0" fmla="*/ 0 h 6858000"/>
              <a:gd name="connsiteX1" fmla="*/ 3368768 w 7568989"/>
              <a:gd name="connsiteY1" fmla="*/ 0 h 6858000"/>
              <a:gd name="connsiteX2" fmla="*/ 3412233 w 7568989"/>
              <a:gd name="connsiteY2" fmla="*/ 0 h 6858000"/>
              <a:gd name="connsiteX3" fmla="*/ 3584668 w 7568989"/>
              <a:gd name="connsiteY3" fmla="*/ 0 h 6858000"/>
              <a:gd name="connsiteX4" fmla="*/ 4174233 w 7568989"/>
              <a:gd name="connsiteY4" fmla="*/ 0 h 6858000"/>
              <a:gd name="connsiteX5" fmla="*/ 4346668 w 7568989"/>
              <a:gd name="connsiteY5" fmla="*/ 0 h 6858000"/>
              <a:gd name="connsiteX6" fmla="*/ 4390133 w 7568989"/>
              <a:gd name="connsiteY6" fmla="*/ 0 h 6858000"/>
              <a:gd name="connsiteX7" fmla="*/ 4562568 w 7568989"/>
              <a:gd name="connsiteY7" fmla="*/ 0 h 6858000"/>
              <a:gd name="connsiteX8" fmla="*/ 6202755 w 7568989"/>
              <a:gd name="connsiteY8" fmla="*/ 0 h 6858000"/>
              <a:gd name="connsiteX9" fmla="*/ 6375189 w 7568989"/>
              <a:gd name="connsiteY9" fmla="*/ 0 h 6858000"/>
              <a:gd name="connsiteX10" fmla="*/ 6418655 w 7568989"/>
              <a:gd name="connsiteY10" fmla="*/ 0 h 6858000"/>
              <a:gd name="connsiteX11" fmla="*/ 6591089 w 7568989"/>
              <a:gd name="connsiteY11" fmla="*/ 0 h 6858000"/>
              <a:gd name="connsiteX12" fmla="*/ 7180655 w 7568989"/>
              <a:gd name="connsiteY12" fmla="*/ 0 h 6858000"/>
              <a:gd name="connsiteX13" fmla="*/ 7353089 w 7568989"/>
              <a:gd name="connsiteY13" fmla="*/ 0 h 6858000"/>
              <a:gd name="connsiteX14" fmla="*/ 7396555 w 7568989"/>
              <a:gd name="connsiteY14" fmla="*/ 0 h 6858000"/>
              <a:gd name="connsiteX15" fmla="*/ 7568989 w 7568989"/>
              <a:gd name="connsiteY15" fmla="*/ 0 h 6858000"/>
              <a:gd name="connsiteX16" fmla="*/ 7568989 w 7568989"/>
              <a:gd name="connsiteY16" fmla="*/ 6858000 h 6858000"/>
              <a:gd name="connsiteX17" fmla="*/ 7396555 w 7568989"/>
              <a:gd name="connsiteY17" fmla="*/ 6858000 h 6858000"/>
              <a:gd name="connsiteX18" fmla="*/ 7353089 w 7568989"/>
              <a:gd name="connsiteY18" fmla="*/ 6858000 h 6858000"/>
              <a:gd name="connsiteX19" fmla="*/ 7180655 w 7568989"/>
              <a:gd name="connsiteY19" fmla="*/ 6858000 h 6858000"/>
              <a:gd name="connsiteX20" fmla="*/ 6591089 w 7568989"/>
              <a:gd name="connsiteY20" fmla="*/ 6858000 h 6858000"/>
              <a:gd name="connsiteX21" fmla="*/ 6418655 w 7568989"/>
              <a:gd name="connsiteY21" fmla="*/ 6858000 h 6858000"/>
              <a:gd name="connsiteX22" fmla="*/ 6375189 w 7568989"/>
              <a:gd name="connsiteY22" fmla="*/ 6858000 h 6858000"/>
              <a:gd name="connsiteX23" fmla="*/ 6202755 w 7568989"/>
              <a:gd name="connsiteY23" fmla="*/ 6858000 h 6858000"/>
              <a:gd name="connsiteX24" fmla="*/ 1385594 w 7568989"/>
              <a:gd name="connsiteY24" fmla="*/ 6858000 h 6858000"/>
              <a:gd name="connsiteX25" fmla="*/ 1213159 w 7568989"/>
              <a:gd name="connsiteY25" fmla="*/ 6858000 h 6858000"/>
              <a:gd name="connsiteX26" fmla="*/ 1169694 w 7568989"/>
              <a:gd name="connsiteY26" fmla="*/ 6858000 h 6858000"/>
              <a:gd name="connsiteX27" fmla="*/ 997259 w 7568989"/>
              <a:gd name="connsiteY27" fmla="*/ 6858000 h 6858000"/>
              <a:gd name="connsiteX28" fmla="*/ 407693 w 7568989"/>
              <a:gd name="connsiteY28" fmla="*/ 6858000 h 6858000"/>
              <a:gd name="connsiteX29" fmla="*/ 235259 w 7568989"/>
              <a:gd name="connsiteY29" fmla="*/ 6858000 h 6858000"/>
              <a:gd name="connsiteX30" fmla="*/ 191793 w 7568989"/>
              <a:gd name="connsiteY30" fmla="*/ 6858000 h 6858000"/>
              <a:gd name="connsiteX31" fmla="*/ 19359 w 7568989"/>
              <a:gd name="connsiteY31" fmla="*/ 6858000 h 6858000"/>
              <a:gd name="connsiteX32" fmla="*/ 17996 w 7568989"/>
              <a:gd name="connsiteY32" fmla="*/ 6849955 h 6858000"/>
              <a:gd name="connsiteX33" fmla="*/ 524525 w 7568989"/>
              <a:gd name="connsiteY33" fmla="*/ 5157900 h 6858000"/>
              <a:gd name="connsiteX34" fmla="*/ 1050926 w 7568989"/>
              <a:gd name="connsiteY34" fmla="*/ 4776304 h 6858000"/>
              <a:gd name="connsiteX35" fmla="*/ 2678933 w 7568989"/>
              <a:gd name="connsiteY35" fmla="*/ 1666078 h 6858000"/>
              <a:gd name="connsiteX36" fmla="*/ 3070301 w 7568989"/>
              <a:gd name="connsiteY36" fmla="*/ 18871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7568989" h="6858000">
                <a:moveTo>
                  <a:pt x="3196333" y="0"/>
                </a:moveTo>
                <a:lnTo>
                  <a:pt x="3368768" y="0"/>
                </a:lnTo>
                <a:lnTo>
                  <a:pt x="3412233" y="0"/>
                </a:lnTo>
                <a:lnTo>
                  <a:pt x="3584668" y="0"/>
                </a:lnTo>
                <a:lnTo>
                  <a:pt x="4174233" y="0"/>
                </a:lnTo>
                <a:lnTo>
                  <a:pt x="4346668" y="0"/>
                </a:lnTo>
                <a:lnTo>
                  <a:pt x="4390133" y="0"/>
                </a:lnTo>
                <a:lnTo>
                  <a:pt x="4562568" y="0"/>
                </a:lnTo>
                <a:lnTo>
                  <a:pt x="6202755" y="0"/>
                </a:lnTo>
                <a:lnTo>
                  <a:pt x="6375189" y="0"/>
                </a:lnTo>
                <a:lnTo>
                  <a:pt x="6418655" y="0"/>
                </a:lnTo>
                <a:lnTo>
                  <a:pt x="6591089" y="0"/>
                </a:lnTo>
                <a:lnTo>
                  <a:pt x="7180655" y="0"/>
                </a:lnTo>
                <a:lnTo>
                  <a:pt x="7353089" y="0"/>
                </a:lnTo>
                <a:lnTo>
                  <a:pt x="7396555" y="0"/>
                </a:lnTo>
                <a:lnTo>
                  <a:pt x="7568989" y="0"/>
                </a:lnTo>
                <a:lnTo>
                  <a:pt x="7568989" y="6858000"/>
                </a:lnTo>
                <a:lnTo>
                  <a:pt x="7396555" y="6858000"/>
                </a:lnTo>
                <a:lnTo>
                  <a:pt x="7353089" y="6858000"/>
                </a:lnTo>
                <a:lnTo>
                  <a:pt x="7180655" y="6858000"/>
                </a:lnTo>
                <a:lnTo>
                  <a:pt x="6591089" y="6858000"/>
                </a:lnTo>
                <a:lnTo>
                  <a:pt x="6418655" y="6858000"/>
                </a:lnTo>
                <a:lnTo>
                  <a:pt x="6375189" y="6858000"/>
                </a:lnTo>
                <a:lnTo>
                  <a:pt x="6202755" y="6858000"/>
                </a:lnTo>
                <a:lnTo>
                  <a:pt x="1385594" y="6858000"/>
                </a:lnTo>
                <a:lnTo>
                  <a:pt x="1213159" y="6858000"/>
                </a:lnTo>
                <a:lnTo>
                  <a:pt x="1169694" y="6858000"/>
                </a:lnTo>
                <a:lnTo>
                  <a:pt x="997259" y="6858000"/>
                </a:lnTo>
                <a:lnTo>
                  <a:pt x="407693" y="6858000"/>
                </a:lnTo>
                <a:lnTo>
                  <a:pt x="235259" y="6858000"/>
                </a:lnTo>
                <a:lnTo>
                  <a:pt x="191793" y="6858000"/>
                </a:lnTo>
                <a:lnTo>
                  <a:pt x="19359" y="6858000"/>
                </a:lnTo>
                <a:lnTo>
                  <a:pt x="17996" y="6849955"/>
                </a:lnTo>
                <a:cubicBezTo>
                  <a:pt x="-59197" y="6243442"/>
                  <a:pt x="112360" y="5604070"/>
                  <a:pt x="524525" y="5157900"/>
                </a:cubicBezTo>
                <a:cubicBezTo>
                  <a:pt x="682566" y="4986819"/>
                  <a:pt x="861468" y="4859893"/>
                  <a:pt x="1050926" y="4776304"/>
                </a:cubicBezTo>
                <a:cubicBezTo>
                  <a:pt x="2276869" y="4200459"/>
                  <a:pt x="2690367" y="3752272"/>
                  <a:pt x="2678933" y="1666078"/>
                </a:cubicBezTo>
                <a:cubicBezTo>
                  <a:pt x="2676233" y="1147067"/>
                  <a:pt x="2807627" y="628568"/>
                  <a:pt x="3070301" y="18871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3" name="Forme libre : forme 2">
            <a:extLst>
              <a:ext uri="{FF2B5EF4-FFF2-40B4-BE49-F238E27FC236}">
                <a16:creationId xmlns:a16="http://schemas.microsoft.com/office/drawing/2014/main" id="{8A394BBA-6F42-B1A3-1EA7-C4184160BB5F}"/>
              </a:ext>
            </a:extLst>
          </p:cNvPr>
          <p:cNvSpPr/>
          <p:nvPr/>
        </p:nvSpPr>
        <p:spPr>
          <a:xfrm>
            <a:off x="1579115" y="1037548"/>
            <a:ext cx="239390" cy="294444"/>
          </a:xfrm>
          <a:custGeom>
            <a:avLst/>
            <a:gdLst>
              <a:gd name="connsiteX0" fmla="*/ 485680 w 543401"/>
              <a:gd name="connsiteY0" fmla="*/ 563308 h 668369"/>
              <a:gd name="connsiteX1" fmla="*/ 528161 w 543401"/>
              <a:gd name="connsiteY1" fmla="*/ 580739 h 668369"/>
              <a:gd name="connsiteX2" fmla="*/ 543401 w 543401"/>
              <a:gd name="connsiteY2" fmla="*/ 617887 h 668369"/>
              <a:gd name="connsiteX3" fmla="*/ 529114 w 543401"/>
              <a:gd name="connsiteY3" fmla="*/ 652653 h 668369"/>
              <a:gd name="connsiteX4" fmla="*/ 485680 w 543401"/>
              <a:gd name="connsiteY4" fmla="*/ 668369 h 668369"/>
              <a:gd name="connsiteX5" fmla="*/ 69247 w 543401"/>
              <a:gd name="connsiteY5" fmla="*/ 668369 h 668369"/>
              <a:gd name="connsiteX6" fmla="*/ 18860 w 543401"/>
              <a:gd name="connsiteY6" fmla="*/ 650081 h 668369"/>
              <a:gd name="connsiteX7" fmla="*/ 0 w 543401"/>
              <a:gd name="connsiteY7" fmla="*/ 605409 h 668369"/>
              <a:gd name="connsiteX8" fmla="*/ 0 w 543401"/>
              <a:gd name="connsiteY8" fmla="*/ 61913 h 668369"/>
              <a:gd name="connsiteX9" fmla="*/ 18860 w 543401"/>
              <a:gd name="connsiteY9" fmla="*/ 18479 h 668369"/>
              <a:gd name="connsiteX10" fmla="*/ 69247 w 543401"/>
              <a:gd name="connsiteY10" fmla="*/ 0 h 668369"/>
              <a:gd name="connsiteX11" fmla="*/ 485775 w 543401"/>
              <a:gd name="connsiteY11" fmla="*/ 0 h 668369"/>
              <a:gd name="connsiteX12" fmla="*/ 527685 w 543401"/>
              <a:gd name="connsiteY12" fmla="*/ 15240 h 668369"/>
              <a:gd name="connsiteX13" fmla="*/ 541401 w 543401"/>
              <a:gd name="connsiteY13" fmla="*/ 50197 h 668369"/>
              <a:gd name="connsiteX14" fmla="*/ 527304 w 543401"/>
              <a:gd name="connsiteY14" fmla="*/ 86106 h 668369"/>
              <a:gd name="connsiteX15" fmla="*/ 485870 w 543401"/>
              <a:gd name="connsiteY15" fmla="*/ 102775 h 668369"/>
              <a:gd name="connsiteX16" fmla="*/ 119634 w 543401"/>
              <a:gd name="connsiteY16" fmla="*/ 102775 h 668369"/>
              <a:gd name="connsiteX17" fmla="*/ 119634 w 543401"/>
              <a:gd name="connsiteY17" fmla="*/ 286321 h 668369"/>
              <a:gd name="connsiteX18" fmla="*/ 466916 w 543401"/>
              <a:gd name="connsiteY18" fmla="*/ 286321 h 668369"/>
              <a:gd name="connsiteX19" fmla="*/ 507778 w 543401"/>
              <a:gd name="connsiteY19" fmla="*/ 302609 h 668369"/>
              <a:gd name="connsiteX20" fmla="*/ 521494 w 543401"/>
              <a:gd name="connsiteY20" fmla="*/ 338899 h 668369"/>
              <a:gd name="connsiteX21" fmla="*/ 507778 w 543401"/>
              <a:gd name="connsiteY21" fmla="*/ 373475 h 668369"/>
              <a:gd name="connsiteX22" fmla="*/ 466916 w 543401"/>
              <a:gd name="connsiteY22" fmla="*/ 389191 h 668369"/>
              <a:gd name="connsiteX23" fmla="*/ 119634 w 543401"/>
              <a:gd name="connsiteY23" fmla="*/ 389191 h 668369"/>
              <a:gd name="connsiteX24" fmla="*/ 119634 w 543401"/>
              <a:gd name="connsiteY24" fmla="*/ 563404 h 668369"/>
              <a:gd name="connsiteX25" fmla="*/ 485775 w 543401"/>
              <a:gd name="connsiteY25" fmla="*/ 563404 h 668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543401" h="668369">
                <a:moveTo>
                  <a:pt x="485680" y="563308"/>
                </a:moveTo>
                <a:cubicBezTo>
                  <a:pt x="503968" y="563308"/>
                  <a:pt x="518065" y="569119"/>
                  <a:pt x="528161" y="580739"/>
                </a:cubicBezTo>
                <a:cubicBezTo>
                  <a:pt x="538353" y="592264"/>
                  <a:pt x="543401" y="604647"/>
                  <a:pt x="543401" y="617887"/>
                </a:cubicBezTo>
                <a:cubicBezTo>
                  <a:pt x="543401" y="631126"/>
                  <a:pt x="538639" y="642080"/>
                  <a:pt x="529114" y="652653"/>
                </a:cubicBezTo>
                <a:cubicBezTo>
                  <a:pt x="519684" y="663130"/>
                  <a:pt x="505206" y="668369"/>
                  <a:pt x="485680" y="668369"/>
                </a:cubicBezTo>
                <a:lnTo>
                  <a:pt x="69247" y="668369"/>
                </a:lnTo>
                <a:cubicBezTo>
                  <a:pt x="48197" y="668369"/>
                  <a:pt x="31433" y="662273"/>
                  <a:pt x="18860" y="650081"/>
                </a:cubicBezTo>
                <a:cubicBezTo>
                  <a:pt x="6286" y="637794"/>
                  <a:pt x="0" y="622935"/>
                  <a:pt x="0" y="605409"/>
                </a:cubicBezTo>
                <a:lnTo>
                  <a:pt x="0" y="61913"/>
                </a:lnTo>
                <a:cubicBezTo>
                  <a:pt x="0" y="45148"/>
                  <a:pt x="6286" y="30671"/>
                  <a:pt x="18860" y="18479"/>
                </a:cubicBezTo>
                <a:cubicBezTo>
                  <a:pt x="31433" y="6191"/>
                  <a:pt x="48197" y="0"/>
                  <a:pt x="69247" y="0"/>
                </a:cubicBezTo>
                <a:lnTo>
                  <a:pt x="485775" y="0"/>
                </a:lnTo>
                <a:cubicBezTo>
                  <a:pt x="504635" y="0"/>
                  <a:pt x="518636" y="5143"/>
                  <a:pt x="527685" y="15240"/>
                </a:cubicBezTo>
                <a:cubicBezTo>
                  <a:pt x="536829" y="25337"/>
                  <a:pt x="541401" y="36957"/>
                  <a:pt x="541401" y="50197"/>
                </a:cubicBezTo>
                <a:cubicBezTo>
                  <a:pt x="541401" y="63437"/>
                  <a:pt x="536734" y="74866"/>
                  <a:pt x="527304" y="86106"/>
                </a:cubicBezTo>
                <a:cubicBezTo>
                  <a:pt x="517874" y="97250"/>
                  <a:pt x="504063" y="102775"/>
                  <a:pt x="485870" y="102775"/>
                </a:cubicBezTo>
                <a:lnTo>
                  <a:pt x="119634" y="102775"/>
                </a:lnTo>
                <a:lnTo>
                  <a:pt x="119634" y="286321"/>
                </a:lnTo>
                <a:lnTo>
                  <a:pt x="466916" y="286321"/>
                </a:lnTo>
                <a:cubicBezTo>
                  <a:pt x="485013" y="286321"/>
                  <a:pt x="498634" y="291751"/>
                  <a:pt x="507778" y="302609"/>
                </a:cubicBezTo>
                <a:cubicBezTo>
                  <a:pt x="516922" y="313468"/>
                  <a:pt x="521494" y="325564"/>
                  <a:pt x="521494" y="338899"/>
                </a:cubicBezTo>
                <a:cubicBezTo>
                  <a:pt x="521494" y="351472"/>
                  <a:pt x="516922" y="362998"/>
                  <a:pt x="507778" y="373475"/>
                </a:cubicBezTo>
                <a:cubicBezTo>
                  <a:pt x="498634" y="383953"/>
                  <a:pt x="485013" y="389191"/>
                  <a:pt x="466916" y="389191"/>
                </a:cubicBezTo>
                <a:lnTo>
                  <a:pt x="119634" y="389191"/>
                </a:lnTo>
                <a:lnTo>
                  <a:pt x="119634" y="563404"/>
                </a:lnTo>
                <a:lnTo>
                  <a:pt x="485775" y="563404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>
              <a:solidFill>
                <a:schemeClr val="bg1"/>
              </a:solidFill>
            </a:endParaRPr>
          </a:p>
        </p:txBody>
      </p:sp>
      <p:sp>
        <p:nvSpPr>
          <p:cNvPr id="4" name="Forme libre : forme 3">
            <a:extLst>
              <a:ext uri="{FF2B5EF4-FFF2-40B4-BE49-F238E27FC236}">
                <a16:creationId xmlns:a16="http://schemas.microsoft.com/office/drawing/2014/main" id="{047A9308-6F76-923B-94DF-97F473283002}"/>
              </a:ext>
            </a:extLst>
          </p:cNvPr>
          <p:cNvSpPr/>
          <p:nvPr/>
        </p:nvSpPr>
        <p:spPr>
          <a:xfrm>
            <a:off x="1856312" y="1091972"/>
            <a:ext cx="219927" cy="244551"/>
          </a:xfrm>
          <a:custGeom>
            <a:avLst/>
            <a:gdLst>
              <a:gd name="connsiteX0" fmla="*/ 394811 w 499223"/>
              <a:gd name="connsiteY0" fmla="*/ 154400 h 555116"/>
              <a:gd name="connsiteX1" fmla="*/ 338042 w 499223"/>
              <a:gd name="connsiteY1" fmla="*/ 114490 h 555116"/>
              <a:gd name="connsiteX2" fmla="*/ 274130 w 499223"/>
              <a:gd name="connsiteY2" fmla="*/ 102965 h 555116"/>
              <a:gd name="connsiteX3" fmla="*/ 162782 w 499223"/>
              <a:gd name="connsiteY3" fmla="*/ 150781 h 555116"/>
              <a:gd name="connsiteX4" fmla="*/ 120872 w 499223"/>
              <a:gd name="connsiteY4" fmla="*/ 279178 h 555116"/>
              <a:gd name="connsiteX5" fmla="*/ 164306 w 499223"/>
              <a:gd name="connsiteY5" fmla="*/ 403955 h 555116"/>
              <a:gd name="connsiteX6" fmla="*/ 278225 w 499223"/>
              <a:gd name="connsiteY6" fmla="*/ 451199 h 555116"/>
              <a:gd name="connsiteX7" fmla="*/ 342138 w 499223"/>
              <a:gd name="connsiteY7" fmla="*/ 440246 h 555116"/>
              <a:gd name="connsiteX8" fmla="*/ 399860 w 499223"/>
              <a:gd name="connsiteY8" fmla="*/ 403955 h 555116"/>
              <a:gd name="connsiteX9" fmla="*/ 445484 w 499223"/>
              <a:gd name="connsiteY9" fmla="*/ 379952 h 555116"/>
              <a:gd name="connsiteX10" fmla="*/ 482822 w 499223"/>
              <a:gd name="connsiteY10" fmla="*/ 392430 h 555116"/>
              <a:gd name="connsiteX11" fmla="*/ 499110 w 499223"/>
              <a:gd name="connsiteY11" fmla="*/ 427768 h 555116"/>
              <a:gd name="connsiteX12" fmla="*/ 480632 w 499223"/>
              <a:gd name="connsiteY12" fmla="*/ 471202 h 555116"/>
              <a:gd name="connsiteX13" fmla="*/ 386810 w 499223"/>
              <a:gd name="connsiteY13" fmla="*/ 535686 h 555116"/>
              <a:gd name="connsiteX14" fmla="*/ 277273 w 499223"/>
              <a:gd name="connsiteY14" fmla="*/ 555117 h 555116"/>
              <a:gd name="connsiteX15" fmla="*/ 131826 w 499223"/>
              <a:gd name="connsiteY15" fmla="*/ 520541 h 555116"/>
              <a:gd name="connsiteX16" fmla="*/ 34576 w 499223"/>
              <a:gd name="connsiteY16" fmla="*/ 423863 h 555116"/>
              <a:gd name="connsiteX17" fmla="*/ 0 w 499223"/>
              <a:gd name="connsiteY17" fmla="*/ 280035 h 555116"/>
              <a:gd name="connsiteX18" fmla="*/ 34100 w 499223"/>
              <a:gd name="connsiteY18" fmla="*/ 132207 h 555116"/>
              <a:gd name="connsiteX19" fmla="*/ 130112 w 499223"/>
              <a:gd name="connsiteY19" fmla="*/ 34766 h 555116"/>
              <a:gd name="connsiteX20" fmla="*/ 273939 w 499223"/>
              <a:gd name="connsiteY20" fmla="*/ 0 h 555116"/>
              <a:gd name="connsiteX21" fmla="*/ 381286 w 499223"/>
              <a:gd name="connsiteY21" fmla="*/ 17907 h 555116"/>
              <a:gd name="connsiteX22" fmla="*/ 473202 w 499223"/>
              <a:gd name="connsiteY22" fmla="*/ 84963 h 555116"/>
              <a:gd name="connsiteX23" fmla="*/ 489490 w 499223"/>
              <a:gd name="connsiteY23" fmla="*/ 128016 h 555116"/>
              <a:gd name="connsiteX24" fmla="*/ 471011 w 499223"/>
              <a:gd name="connsiteY24" fmla="*/ 162592 h 555116"/>
              <a:gd name="connsiteX25" fmla="*/ 433864 w 499223"/>
              <a:gd name="connsiteY25" fmla="*/ 175927 h 555116"/>
              <a:gd name="connsiteX26" fmla="*/ 394526 w 499223"/>
              <a:gd name="connsiteY26" fmla="*/ 154305 h 555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99223" h="555116">
                <a:moveTo>
                  <a:pt x="394811" y="154400"/>
                </a:moveTo>
                <a:cubicBezTo>
                  <a:pt x="378619" y="135541"/>
                  <a:pt x="359759" y="122206"/>
                  <a:pt x="338042" y="114490"/>
                </a:cubicBezTo>
                <a:cubicBezTo>
                  <a:pt x="316325" y="106871"/>
                  <a:pt x="294989" y="102965"/>
                  <a:pt x="274130" y="102965"/>
                </a:cubicBezTo>
                <a:cubicBezTo>
                  <a:pt x="227933" y="102965"/>
                  <a:pt x="190881" y="118967"/>
                  <a:pt x="162782" y="150781"/>
                </a:cubicBezTo>
                <a:cubicBezTo>
                  <a:pt x="134874" y="182499"/>
                  <a:pt x="120872" y="225361"/>
                  <a:pt x="120872" y="279178"/>
                </a:cubicBezTo>
                <a:cubicBezTo>
                  <a:pt x="120872" y="332994"/>
                  <a:pt x="135350" y="372523"/>
                  <a:pt x="164306" y="403955"/>
                </a:cubicBezTo>
                <a:cubicBezTo>
                  <a:pt x="193262" y="435483"/>
                  <a:pt x="231267" y="451199"/>
                  <a:pt x="278225" y="451199"/>
                </a:cubicBezTo>
                <a:cubicBezTo>
                  <a:pt x="299085" y="451199"/>
                  <a:pt x="320421" y="447580"/>
                  <a:pt x="342138" y="440246"/>
                </a:cubicBezTo>
                <a:cubicBezTo>
                  <a:pt x="363855" y="432816"/>
                  <a:pt x="383096" y="420719"/>
                  <a:pt x="399860" y="403955"/>
                </a:cubicBezTo>
                <a:cubicBezTo>
                  <a:pt x="415385" y="388620"/>
                  <a:pt x="430530" y="380619"/>
                  <a:pt x="445484" y="379952"/>
                </a:cubicBezTo>
                <a:cubicBezTo>
                  <a:pt x="460534" y="379190"/>
                  <a:pt x="473012" y="383286"/>
                  <a:pt x="482822" y="392430"/>
                </a:cubicBezTo>
                <a:cubicBezTo>
                  <a:pt x="492633" y="401574"/>
                  <a:pt x="497967" y="413385"/>
                  <a:pt x="499110" y="427768"/>
                </a:cubicBezTo>
                <a:cubicBezTo>
                  <a:pt x="500158" y="442055"/>
                  <a:pt x="493967" y="456533"/>
                  <a:pt x="480632" y="471202"/>
                </a:cubicBezTo>
                <a:cubicBezTo>
                  <a:pt x="453390" y="501301"/>
                  <a:pt x="422053" y="522732"/>
                  <a:pt x="386810" y="535686"/>
                </a:cubicBezTo>
                <a:cubicBezTo>
                  <a:pt x="351568" y="548640"/>
                  <a:pt x="314992" y="555117"/>
                  <a:pt x="277273" y="555117"/>
                </a:cubicBezTo>
                <a:cubicBezTo>
                  <a:pt x="221933" y="555117"/>
                  <a:pt x="173450" y="543592"/>
                  <a:pt x="131826" y="520541"/>
                </a:cubicBezTo>
                <a:cubicBezTo>
                  <a:pt x="90107" y="497396"/>
                  <a:pt x="57722" y="465201"/>
                  <a:pt x="34576" y="423863"/>
                </a:cubicBezTo>
                <a:cubicBezTo>
                  <a:pt x="11525" y="382619"/>
                  <a:pt x="0" y="334708"/>
                  <a:pt x="0" y="280035"/>
                </a:cubicBezTo>
                <a:cubicBezTo>
                  <a:pt x="0" y="225361"/>
                  <a:pt x="11335" y="174212"/>
                  <a:pt x="34100" y="132207"/>
                </a:cubicBezTo>
                <a:cubicBezTo>
                  <a:pt x="56864" y="90297"/>
                  <a:pt x="88868" y="57817"/>
                  <a:pt x="130112" y="34766"/>
                </a:cubicBezTo>
                <a:cubicBezTo>
                  <a:pt x="171355" y="11621"/>
                  <a:pt x="219266" y="0"/>
                  <a:pt x="273939" y="0"/>
                </a:cubicBezTo>
                <a:cubicBezTo>
                  <a:pt x="312325" y="0"/>
                  <a:pt x="348044" y="6001"/>
                  <a:pt x="381286" y="17907"/>
                </a:cubicBezTo>
                <a:cubicBezTo>
                  <a:pt x="414623" y="29718"/>
                  <a:pt x="445199" y="52006"/>
                  <a:pt x="473202" y="84963"/>
                </a:cubicBezTo>
                <a:cubicBezTo>
                  <a:pt x="485870" y="99631"/>
                  <a:pt x="491300" y="114014"/>
                  <a:pt x="489490" y="128016"/>
                </a:cubicBezTo>
                <a:cubicBezTo>
                  <a:pt x="487775" y="141922"/>
                  <a:pt x="481584" y="153448"/>
                  <a:pt x="471011" y="162592"/>
                </a:cubicBezTo>
                <a:cubicBezTo>
                  <a:pt x="460534" y="171736"/>
                  <a:pt x="448151" y="176213"/>
                  <a:pt x="433864" y="175927"/>
                </a:cubicBezTo>
                <a:cubicBezTo>
                  <a:pt x="419576" y="175546"/>
                  <a:pt x="406432" y="168307"/>
                  <a:pt x="394526" y="154305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>
              <a:solidFill>
                <a:schemeClr val="bg1"/>
              </a:solidFill>
            </a:endParaRPr>
          </a:p>
        </p:txBody>
      </p:sp>
      <p:sp>
        <p:nvSpPr>
          <p:cNvPr id="5" name="Forme libre : forme 4">
            <a:extLst>
              <a:ext uri="{FF2B5EF4-FFF2-40B4-BE49-F238E27FC236}">
                <a16:creationId xmlns:a16="http://schemas.microsoft.com/office/drawing/2014/main" id="{008497EE-C01E-A098-21DC-0CECA59CA7C6}"/>
              </a:ext>
            </a:extLst>
          </p:cNvPr>
          <p:cNvSpPr/>
          <p:nvPr/>
        </p:nvSpPr>
        <p:spPr>
          <a:xfrm>
            <a:off x="2105605" y="1092056"/>
            <a:ext cx="245894" cy="244551"/>
          </a:xfrm>
          <a:custGeom>
            <a:avLst/>
            <a:gdLst>
              <a:gd name="connsiteX0" fmla="*/ 278892 w 558165"/>
              <a:gd name="connsiteY0" fmla="*/ 0 h 555116"/>
              <a:gd name="connsiteX1" fmla="*/ 425767 w 558165"/>
              <a:gd name="connsiteY1" fmla="*/ 35147 h 555116"/>
              <a:gd name="connsiteX2" fmla="*/ 523399 w 558165"/>
              <a:gd name="connsiteY2" fmla="*/ 133160 h 555116"/>
              <a:gd name="connsiteX3" fmla="*/ 558165 w 558165"/>
              <a:gd name="connsiteY3" fmla="*/ 280035 h 555116"/>
              <a:gd name="connsiteX4" fmla="*/ 521875 w 558165"/>
              <a:gd name="connsiteY4" fmla="*/ 423863 h 555116"/>
              <a:gd name="connsiteX5" fmla="*/ 424243 w 558165"/>
              <a:gd name="connsiteY5" fmla="*/ 520541 h 555116"/>
              <a:gd name="connsiteX6" fmla="*/ 278987 w 558165"/>
              <a:gd name="connsiteY6" fmla="*/ 555117 h 555116"/>
              <a:gd name="connsiteX7" fmla="*/ 134112 w 558165"/>
              <a:gd name="connsiteY7" fmla="*/ 520541 h 555116"/>
              <a:gd name="connsiteX8" fmla="*/ 36100 w 558165"/>
              <a:gd name="connsiteY8" fmla="*/ 423863 h 555116"/>
              <a:gd name="connsiteX9" fmla="*/ 0 w 558165"/>
              <a:gd name="connsiteY9" fmla="*/ 280035 h 555116"/>
              <a:gd name="connsiteX10" fmla="*/ 35147 w 558165"/>
              <a:gd name="connsiteY10" fmla="*/ 133160 h 555116"/>
              <a:gd name="connsiteX11" fmla="*/ 133159 w 558165"/>
              <a:gd name="connsiteY11" fmla="*/ 35147 h 555116"/>
              <a:gd name="connsiteX12" fmla="*/ 278987 w 558165"/>
              <a:gd name="connsiteY12" fmla="*/ 0 h 555116"/>
              <a:gd name="connsiteX13" fmla="*/ 278892 w 558165"/>
              <a:gd name="connsiteY13" fmla="*/ 450056 h 555116"/>
              <a:gd name="connsiteX14" fmla="*/ 392811 w 558165"/>
              <a:gd name="connsiteY14" fmla="*/ 402812 h 555116"/>
              <a:gd name="connsiteX15" fmla="*/ 435292 w 558165"/>
              <a:gd name="connsiteY15" fmla="*/ 279940 h 555116"/>
              <a:gd name="connsiteX16" fmla="*/ 392811 w 558165"/>
              <a:gd name="connsiteY16" fmla="*/ 153543 h 555116"/>
              <a:gd name="connsiteX17" fmla="*/ 278892 w 558165"/>
              <a:gd name="connsiteY17" fmla="*/ 104680 h 555116"/>
              <a:gd name="connsiteX18" fmla="*/ 165545 w 558165"/>
              <a:gd name="connsiteY18" fmla="*/ 153543 h 555116"/>
              <a:gd name="connsiteX19" fmla="*/ 122492 w 558165"/>
              <a:gd name="connsiteY19" fmla="*/ 279940 h 555116"/>
              <a:gd name="connsiteX20" fmla="*/ 165545 w 558165"/>
              <a:gd name="connsiteY20" fmla="*/ 402812 h 555116"/>
              <a:gd name="connsiteX21" fmla="*/ 278892 w 558165"/>
              <a:gd name="connsiteY21" fmla="*/ 450056 h 555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58165" h="555116">
                <a:moveTo>
                  <a:pt x="278892" y="0"/>
                </a:moveTo>
                <a:cubicBezTo>
                  <a:pt x="334899" y="0"/>
                  <a:pt x="383762" y="11716"/>
                  <a:pt x="425767" y="35147"/>
                </a:cubicBezTo>
                <a:cubicBezTo>
                  <a:pt x="467868" y="58579"/>
                  <a:pt x="500348" y="91249"/>
                  <a:pt x="523399" y="133160"/>
                </a:cubicBezTo>
                <a:cubicBezTo>
                  <a:pt x="546545" y="175165"/>
                  <a:pt x="558165" y="224028"/>
                  <a:pt x="558165" y="280035"/>
                </a:cubicBezTo>
                <a:cubicBezTo>
                  <a:pt x="557498" y="334708"/>
                  <a:pt x="545401" y="382619"/>
                  <a:pt x="521875" y="423863"/>
                </a:cubicBezTo>
                <a:cubicBezTo>
                  <a:pt x="498443" y="465106"/>
                  <a:pt x="465868" y="497396"/>
                  <a:pt x="424243" y="520541"/>
                </a:cubicBezTo>
                <a:cubicBezTo>
                  <a:pt x="382714" y="543592"/>
                  <a:pt x="334232" y="555117"/>
                  <a:pt x="278987" y="555117"/>
                </a:cubicBezTo>
                <a:cubicBezTo>
                  <a:pt x="223742" y="555117"/>
                  <a:pt x="176213" y="543592"/>
                  <a:pt x="134112" y="520541"/>
                </a:cubicBezTo>
                <a:cubicBezTo>
                  <a:pt x="92107" y="497396"/>
                  <a:pt x="59531" y="465201"/>
                  <a:pt x="36100" y="423863"/>
                </a:cubicBezTo>
                <a:cubicBezTo>
                  <a:pt x="12668" y="382524"/>
                  <a:pt x="667" y="334708"/>
                  <a:pt x="0" y="280035"/>
                </a:cubicBezTo>
                <a:cubicBezTo>
                  <a:pt x="0" y="224028"/>
                  <a:pt x="11716" y="175165"/>
                  <a:pt x="35147" y="133160"/>
                </a:cubicBezTo>
                <a:cubicBezTo>
                  <a:pt x="58579" y="91249"/>
                  <a:pt x="91250" y="58579"/>
                  <a:pt x="133159" y="35147"/>
                </a:cubicBezTo>
                <a:cubicBezTo>
                  <a:pt x="175260" y="11716"/>
                  <a:pt x="223838" y="0"/>
                  <a:pt x="278987" y="0"/>
                </a:cubicBezTo>
                <a:close/>
                <a:moveTo>
                  <a:pt x="278892" y="450056"/>
                </a:moveTo>
                <a:cubicBezTo>
                  <a:pt x="326517" y="450056"/>
                  <a:pt x="364426" y="434340"/>
                  <a:pt x="392811" y="402812"/>
                </a:cubicBezTo>
                <a:cubicBezTo>
                  <a:pt x="421100" y="371380"/>
                  <a:pt x="435292" y="330422"/>
                  <a:pt x="435292" y="279940"/>
                </a:cubicBezTo>
                <a:cubicBezTo>
                  <a:pt x="435292" y="229457"/>
                  <a:pt x="421100" y="186119"/>
                  <a:pt x="392811" y="153543"/>
                </a:cubicBezTo>
                <a:cubicBezTo>
                  <a:pt x="364522" y="120968"/>
                  <a:pt x="326517" y="104680"/>
                  <a:pt x="278892" y="104680"/>
                </a:cubicBezTo>
                <a:cubicBezTo>
                  <a:pt x="231267" y="104680"/>
                  <a:pt x="194215" y="120968"/>
                  <a:pt x="165545" y="153543"/>
                </a:cubicBezTo>
                <a:cubicBezTo>
                  <a:pt x="136779" y="186119"/>
                  <a:pt x="122492" y="228219"/>
                  <a:pt x="122492" y="279940"/>
                </a:cubicBezTo>
                <a:cubicBezTo>
                  <a:pt x="122492" y="331661"/>
                  <a:pt x="136874" y="371285"/>
                  <a:pt x="165545" y="402812"/>
                </a:cubicBezTo>
                <a:cubicBezTo>
                  <a:pt x="194215" y="434340"/>
                  <a:pt x="232029" y="450056"/>
                  <a:pt x="278892" y="450056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>
              <a:solidFill>
                <a:schemeClr val="bg1"/>
              </a:solidFill>
            </a:endParaRPr>
          </a:p>
        </p:txBody>
      </p:sp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07BEA425-F338-AD2F-EE3E-1EA84064FFF9}"/>
              </a:ext>
            </a:extLst>
          </p:cNvPr>
          <p:cNvSpPr/>
          <p:nvPr/>
        </p:nvSpPr>
        <p:spPr>
          <a:xfrm>
            <a:off x="2397279" y="1037506"/>
            <a:ext cx="242705" cy="294486"/>
          </a:xfrm>
          <a:custGeom>
            <a:avLst/>
            <a:gdLst>
              <a:gd name="connsiteX0" fmla="*/ 120587 w 550926"/>
              <a:gd name="connsiteY0" fmla="*/ 482632 h 668464"/>
              <a:gd name="connsiteX1" fmla="*/ 120587 w 550926"/>
              <a:gd name="connsiteY1" fmla="*/ 614839 h 668464"/>
              <a:gd name="connsiteX2" fmla="*/ 101156 w 550926"/>
              <a:gd name="connsiteY2" fmla="*/ 655320 h 668464"/>
              <a:gd name="connsiteX3" fmla="*/ 59722 w 550926"/>
              <a:gd name="connsiteY3" fmla="*/ 668464 h 668464"/>
              <a:gd name="connsiteX4" fmla="*/ 18288 w 550926"/>
              <a:gd name="connsiteY4" fmla="*/ 655320 h 668464"/>
              <a:gd name="connsiteX5" fmla="*/ 0 w 550926"/>
              <a:gd name="connsiteY5" fmla="*/ 615982 h 668464"/>
              <a:gd name="connsiteX6" fmla="*/ 0 w 550926"/>
              <a:gd name="connsiteY6" fmla="*/ 54578 h 668464"/>
              <a:gd name="connsiteX7" fmla="*/ 17621 w 550926"/>
              <a:gd name="connsiteY7" fmla="*/ 15240 h 668464"/>
              <a:gd name="connsiteX8" fmla="*/ 60674 w 550926"/>
              <a:gd name="connsiteY8" fmla="*/ 0 h 668464"/>
              <a:gd name="connsiteX9" fmla="*/ 274796 w 550926"/>
              <a:gd name="connsiteY9" fmla="*/ 0 h 668464"/>
              <a:gd name="connsiteX10" fmla="*/ 423863 w 550926"/>
              <a:gd name="connsiteY10" fmla="*/ 30956 h 668464"/>
              <a:gd name="connsiteX11" fmla="*/ 518350 w 550926"/>
              <a:gd name="connsiteY11" fmla="*/ 117062 h 668464"/>
              <a:gd name="connsiteX12" fmla="*/ 550926 w 550926"/>
              <a:gd name="connsiteY12" fmla="*/ 246412 h 668464"/>
              <a:gd name="connsiteX13" fmla="*/ 477488 w 550926"/>
              <a:gd name="connsiteY13" fmla="*/ 417481 h 668464"/>
              <a:gd name="connsiteX14" fmla="*/ 271748 w 550926"/>
              <a:gd name="connsiteY14" fmla="*/ 482537 h 668464"/>
              <a:gd name="connsiteX15" fmla="*/ 120777 w 550926"/>
              <a:gd name="connsiteY15" fmla="*/ 482537 h 668464"/>
              <a:gd name="connsiteX16" fmla="*/ 120587 w 550926"/>
              <a:gd name="connsiteY16" fmla="*/ 103822 h 668464"/>
              <a:gd name="connsiteX17" fmla="*/ 120587 w 550926"/>
              <a:gd name="connsiteY17" fmla="*/ 378905 h 668464"/>
              <a:gd name="connsiteX18" fmla="*/ 271558 w 550926"/>
              <a:gd name="connsiteY18" fmla="*/ 378905 h 668464"/>
              <a:gd name="connsiteX19" fmla="*/ 390239 w 550926"/>
              <a:gd name="connsiteY19" fmla="*/ 342805 h 668464"/>
              <a:gd name="connsiteX20" fmla="*/ 431102 w 550926"/>
              <a:gd name="connsiteY20" fmla="*/ 246602 h 668464"/>
              <a:gd name="connsiteX21" fmla="*/ 390620 w 550926"/>
              <a:gd name="connsiteY21" fmla="*/ 142780 h 668464"/>
              <a:gd name="connsiteX22" fmla="*/ 275749 w 550926"/>
              <a:gd name="connsiteY22" fmla="*/ 103918 h 668464"/>
              <a:gd name="connsiteX23" fmla="*/ 120587 w 550926"/>
              <a:gd name="connsiteY23" fmla="*/ 103918 h 668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550926" h="668464">
                <a:moveTo>
                  <a:pt x="120587" y="482632"/>
                </a:moveTo>
                <a:lnTo>
                  <a:pt x="120587" y="614839"/>
                </a:lnTo>
                <a:cubicBezTo>
                  <a:pt x="120587" y="633127"/>
                  <a:pt x="114110" y="646557"/>
                  <a:pt x="101156" y="655320"/>
                </a:cubicBezTo>
                <a:cubicBezTo>
                  <a:pt x="88202" y="664083"/>
                  <a:pt x="74390" y="668464"/>
                  <a:pt x="59722" y="668464"/>
                </a:cubicBezTo>
                <a:cubicBezTo>
                  <a:pt x="45053" y="668464"/>
                  <a:pt x="30575" y="664083"/>
                  <a:pt x="18288" y="655320"/>
                </a:cubicBezTo>
                <a:cubicBezTo>
                  <a:pt x="6096" y="646557"/>
                  <a:pt x="0" y="633508"/>
                  <a:pt x="0" y="615982"/>
                </a:cubicBezTo>
                <a:lnTo>
                  <a:pt x="0" y="54578"/>
                </a:lnTo>
                <a:cubicBezTo>
                  <a:pt x="0" y="38481"/>
                  <a:pt x="5810" y="25337"/>
                  <a:pt x="17621" y="15240"/>
                </a:cubicBezTo>
                <a:cubicBezTo>
                  <a:pt x="29528" y="5048"/>
                  <a:pt x="43910" y="0"/>
                  <a:pt x="60674" y="0"/>
                </a:cubicBezTo>
                <a:lnTo>
                  <a:pt x="274796" y="0"/>
                </a:lnTo>
                <a:cubicBezTo>
                  <a:pt x="332804" y="0"/>
                  <a:pt x="382524" y="10287"/>
                  <a:pt x="423863" y="30956"/>
                </a:cubicBezTo>
                <a:cubicBezTo>
                  <a:pt x="465201" y="51626"/>
                  <a:pt x="496634" y="80296"/>
                  <a:pt x="518350" y="117062"/>
                </a:cubicBezTo>
                <a:cubicBezTo>
                  <a:pt x="540068" y="153733"/>
                  <a:pt x="550926" y="196882"/>
                  <a:pt x="550926" y="246412"/>
                </a:cubicBezTo>
                <a:cubicBezTo>
                  <a:pt x="550926" y="317087"/>
                  <a:pt x="526447" y="374142"/>
                  <a:pt x="477488" y="417481"/>
                </a:cubicBezTo>
                <a:cubicBezTo>
                  <a:pt x="428530" y="460915"/>
                  <a:pt x="359950" y="482537"/>
                  <a:pt x="271748" y="482537"/>
                </a:cubicBezTo>
                <a:lnTo>
                  <a:pt x="120777" y="482537"/>
                </a:lnTo>
                <a:close/>
                <a:moveTo>
                  <a:pt x="120587" y="103822"/>
                </a:moveTo>
                <a:lnTo>
                  <a:pt x="120587" y="378905"/>
                </a:lnTo>
                <a:lnTo>
                  <a:pt x="271558" y="378905"/>
                </a:lnTo>
                <a:cubicBezTo>
                  <a:pt x="323374" y="378905"/>
                  <a:pt x="362903" y="366903"/>
                  <a:pt x="390239" y="342805"/>
                </a:cubicBezTo>
                <a:cubicBezTo>
                  <a:pt x="417481" y="318611"/>
                  <a:pt x="431102" y="286512"/>
                  <a:pt x="431102" y="246602"/>
                </a:cubicBezTo>
                <a:cubicBezTo>
                  <a:pt x="431102" y="203263"/>
                  <a:pt x="417576" y="168593"/>
                  <a:pt x="390620" y="142780"/>
                </a:cubicBezTo>
                <a:cubicBezTo>
                  <a:pt x="363760" y="116872"/>
                  <a:pt x="325469" y="103918"/>
                  <a:pt x="275749" y="103918"/>
                </a:cubicBezTo>
                <a:lnTo>
                  <a:pt x="120587" y="10391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>
              <a:solidFill>
                <a:schemeClr val="bg1"/>
              </a:solidFill>
            </a:endParaRPr>
          </a:p>
        </p:txBody>
      </p:sp>
      <p:sp>
        <p:nvSpPr>
          <p:cNvPr id="7" name="Forme libre : forme 6">
            <a:extLst>
              <a:ext uri="{FF2B5EF4-FFF2-40B4-BE49-F238E27FC236}">
                <a16:creationId xmlns:a16="http://schemas.microsoft.com/office/drawing/2014/main" id="{6C19B7C8-9820-F04A-0E60-AA23D07B0034}"/>
              </a:ext>
            </a:extLst>
          </p:cNvPr>
          <p:cNvSpPr/>
          <p:nvPr/>
        </p:nvSpPr>
        <p:spPr>
          <a:xfrm>
            <a:off x="2681986" y="1032890"/>
            <a:ext cx="53584" cy="299060"/>
          </a:xfrm>
          <a:custGeom>
            <a:avLst/>
            <a:gdLst>
              <a:gd name="connsiteX0" fmla="*/ 121634 w 121634"/>
              <a:gd name="connsiteY0" fmla="*/ 66104 h 678846"/>
              <a:gd name="connsiteX1" fmla="*/ 102203 w 121634"/>
              <a:gd name="connsiteY1" fmla="*/ 105442 h 678846"/>
              <a:gd name="connsiteX2" fmla="*/ 60770 w 121634"/>
              <a:gd name="connsiteY2" fmla="*/ 118586 h 678846"/>
              <a:gd name="connsiteX3" fmla="*/ 18860 w 121634"/>
              <a:gd name="connsiteY3" fmla="*/ 105442 h 678846"/>
              <a:gd name="connsiteX4" fmla="*/ 0 w 121634"/>
              <a:gd name="connsiteY4" fmla="*/ 66104 h 678846"/>
              <a:gd name="connsiteX5" fmla="*/ 0 w 121634"/>
              <a:gd name="connsiteY5" fmla="*/ 52388 h 678846"/>
              <a:gd name="connsiteX6" fmla="*/ 18860 w 121634"/>
              <a:gd name="connsiteY6" fmla="*/ 12668 h 678846"/>
              <a:gd name="connsiteX7" fmla="*/ 60770 w 121634"/>
              <a:gd name="connsiteY7" fmla="*/ 0 h 678846"/>
              <a:gd name="connsiteX8" fmla="*/ 102203 w 121634"/>
              <a:gd name="connsiteY8" fmla="*/ 12668 h 678846"/>
              <a:gd name="connsiteX9" fmla="*/ 121634 w 121634"/>
              <a:gd name="connsiteY9" fmla="*/ 52388 h 678846"/>
              <a:gd name="connsiteX10" fmla="*/ 121634 w 121634"/>
              <a:gd name="connsiteY10" fmla="*/ 66104 h 678846"/>
              <a:gd name="connsiteX11" fmla="*/ 953 w 121634"/>
              <a:gd name="connsiteY11" fmla="*/ 196215 h 678846"/>
              <a:gd name="connsiteX12" fmla="*/ 20384 w 121634"/>
              <a:gd name="connsiteY12" fmla="*/ 157925 h 678846"/>
              <a:gd name="connsiteX13" fmla="*/ 60674 w 121634"/>
              <a:gd name="connsiteY13" fmla="*/ 144589 h 678846"/>
              <a:gd name="connsiteX14" fmla="*/ 101727 w 121634"/>
              <a:gd name="connsiteY14" fmla="*/ 157925 h 678846"/>
              <a:gd name="connsiteX15" fmla="*/ 120587 w 121634"/>
              <a:gd name="connsiteY15" fmla="*/ 195072 h 678846"/>
              <a:gd name="connsiteX16" fmla="*/ 120587 w 121634"/>
              <a:gd name="connsiteY16" fmla="*/ 627507 h 678846"/>
              <a:gd name="connsiteX17" fmla="*/ 101727 w 121634"/>
              <a:gd name="connsiteY17" fmla="*/ 666369 h 678846"/>
              <a:gd name="connsiteX18" fmla="*/ 60674 w 121634"/>
              <a:gd name="connsiteY18" fmla="*/ 678847 h 678846"/>
              <a:gd name="connsiteX19" fmla="*/ 20384 w 121634"/>
              <a:gd name="connsiteY19" fmla="*/ 666369 h 678846"/>
              <a:gd name="connsiteX20" fmla="*/ 953 w 121634"/>
              <a:gd name="connsiteY20" fmla="*/ 627507 h 678846"/>
              <a:gd name="connsiteX21" fmla="*/ 953 w 121634"/>
              <a:gd name="connsiteY21" fmla="*/ 196310 h 6788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21634" h="678846">
                <a:moveTo>
                  <a:pt x="121634" y="66104"/>
                </a:moveTo>
                <a:cubicBezTo>
                  <a:pt x="121634" y="83534"/>
                  <a:pt x="115158" y="96679"/>
                  <a:pt x="102203" y="105442"/>
                </a:cubicBezTo>
                <a:cubicBezTo>
                  <a:pt x="89345" y="114205"/>
                  <a:pt x="75533" y="118586"/>
                  <a:pt x="60770" y="118586"/>
                </a:cubicBezTo>
                <a:cubicBezTo>
                  <a:pt x="46006" y="118586"/>
                  <a:pt x="31433" y="114205"/>
                  <a:pt x="18860" y="105442"/>
                </a:cubicBezTo>
                <a:cubicBezTo>
                  <a:pt x="6287" y="96679"/>
                  <a:pt x="0" y="83629"/>
                  <a:pt x="0" y="66104"/>
                </a:cubicBezTo>
                <a:lnTo>
                  <a:pt x="0" y="52388"/>
                </a:lnTo>
                <a:cubicBezTo>
                  <a:pt x="0" y="34290"/>
                  <a:pt x="6287" y="21050"/>
                  <a:pt x="18860" y="12668"/>
                </a:cubicBezTo>
                <a:cubicBezTo>
                  <a:pt x="31433" y="4191"/>
                  <a:pt x="45339" y="0"/>
                  <a:pt x="60770" y="0"/>
                </a:cubicBezTo>
                <a:cubicBezTo>
                  <a:pt x="76200" y="0"/>
                  <a:pt x="89440" y="4286"/>
                  <a:pt x="102203" y="12668"/>
                </a:cubicBezTo>
                <a:cubicBezTo>
                  <a:pt x="115158" y="21050"/>
                  <a:pt x="121634" y="34290"/>
                  <a:pt x="121634" y="52388"/>
                </a:cubicBezTo>
                <a:lnTo>
                  <a:pt x="121634" y="66104"/>
                </a:lnTo>
                <a:close/>
                <a:moveTo>
                  <a:pt x="953" y="196215"/>
                </a:moveTo>
                <a:cubicBezTo>
                  <a:pt x="953" y="179451"/>
                  <a:pt x="7430" y="166688"/>
                  <a:pt x="20384" y="157925"/>
                </a:cubicBezTo>
                <a:cubicBezTo>
                  <a:pt x="33338" y="149066"/>
                  <a:pt x="46768" y="144589"/>
                  <a:pt x="60674" y="144589"/>
                </a:cubicBezTo>
                <a:cubicBezTo>
                  <a:pt x="75438" y="144589"/>
                  <a:pt x="89154" y="149066"/>
                  <a:pt x="101727" y="157925"/>
                </a:cubicBezTo>
                <a:cubicBezTo>
                  <a:pt x="114300" y="166688"/>
                  <a:pt x="120587" y="179070"/>
                  <a:pt x="120587" y="195072"/>
                </a:cubicBezTo>
                <a:lnTo>
                  <a:pt x="120587" y="627507"/>
                </a:lnTo>
                <a:cubicBezTo>
                  <a:pt x="120587" y="644938"/>
                  <a:pt x="114300" y="657987"/>
                  <a:pt x="101727" y="666369"/>
                </a:cubicBezTo>
                <a:cubicBezTo>
                  <a:pt x="89154" y="674751"/>
                  <a:pt x="75438" y="678847"/>
                  <a:pt x="60674" y="678847"/>
                </a:cubicBezTo>
                <a:cubicBezTo>
                  <a:pt x="46768" y="678847"/>
                  <a:pt x="33338" y="674656"/>
                  <a:pt x="20384" y="666369"/>
                </a:cubicBezTo>
                <a:cubicBezTo>
                  <a:pt x="7430" y="657892"/>
                  <a:pt x="953" y="644938"/>
                  <a:pt x="953" y="627507"/>
                </a:cubicBezTo>
                <a:lnTo>
                  <a:pt x="953" y="196310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>
              <a:solidFill>
                <a:schemeClr val="bg1"/>
              </a:solidFill>
            </a:endParaRPr>
          </a:p>
        </p:txBody>
      </p:sp>
      <p:sp>
        <p:nvSpPr>
          <p:cNvPr id="8" name="Forme libre : forme 7">
            <a:extLst>
              <a:ext uri="{FF2B5EF4-FFF2-40B4-BE49-F238E27FC236}">
                <a16:creationId xmlns:a16="http://schemas.microsoft.com/office/drawing/2014/main" id="{96E94AF0-4A9D-E17D-6907-9C3D45954201}"/>
              </a:ext>
            </a:extLst>
          </p:cNvPr>
          <p:cNvSpPr/>
          <p:nvPr/>
        </p:nvSpPr>
        <p:spPr>
          <a:xfrm>
            <a:off x="2775771" y="1032890"/>
            <a:ext cx="52703" cy="299060"/>
          </a:xfrm>
          <a:custGeom>
            <a:avLst/>
            <a:gdLst>
              <a:gd name="connsiteX0" fmla="*/ 119634 w 119633"/>
              <a:gd name="connsiteY0" fmla="*/ 626459 h 678846"/>
              <a:gd name="connsiteX1" fmla="*/ 102203 w 119633"/>
              <a:gd name="connsiteY1" fmla="*/ 663130 h 678846"/>
              <a:gd name="connsiteX2" fmla="*/ 59722 w 119633"/>
              <a:gd name="connsiteY2" fmla="*/ 678847 h 678846"/>
              <a:gd name="connsiteX3" fmla="*/ 16669 w 119633"/>
              <a:gd name="connsiteY3" fmla="*/ 663130 h 678846"/>
              <a:gd name="connsiteX4" fmla="*/ 0 w 119633"/>
              <a:gd name="connsiteY4" fmla="*/ 626459 h 678846"/>
              <a:gd name="connsiteX5" fmla="*/ 0 w 119633"/>
              <a:gd name="connsiteY5" fmla="*/ 52388 h 678846"/>
              <a:gd name="connsiteX6" fmla="*/ 16669 w 119633"/>
              <a:gd name="connsiteY6" fmla="*/ 15716 h 678846"/>
              <a:gd name="connsiteX7" fmla="*/ 59722 w 119633"/>
              <a:gd name="connsiteY7" fmla="*/ 0 h 678846"/>
              <a:gd name="connsiteX8" fmla="*/ 102203 w 119633"/>
              <a:gd name="connsiteY8" fmla="*/ 15716 h 678846"/>
              <a:gd name="connsiteX9" fmla="*/ 119634 w 119633"/>
              <a:gd name="connsiteY9" fmla="*/ 52388 h 678846"/>
              <a:gd name="connsiteX10" fmla="*/ 119634 w 119633"/>
              <a:gd name="connsiteY10" fmla="*/ 626459 h 6788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9633" h="678846">
                <a:moveTo>
                  <a:pt x="119634" y="626459"/>
                </a:moveTo>
                <a:cubicBezTo>
                  <a:pt x="119634" y="640366"/>
                  <a:pt x="113824" y="652558"/>
                  <a:pt x="102203" y="663130"/>
                </a:cubicBezTo>
                <a:cubicBezTo>
                  <a:pt x="90678" y="673608"/>
                  <a:pt x="76486" y="678847"/>
                  <a:pt x="59722" y="678847"/>
                </a:cubicBezTo>
                <a:cubicBezTo>
                  <a:pt x="42958" y="678847"/>
                  <a:pt x="27908" y="673608"/>
                  <a:pt x="16669" y="663130"/>
                </a:cubicBezTo>
                <a:cubicBezTo>
                  <a:pt x="5525" y="652558"/>
                  <a:pt x="0" y="640271"/>
                  <a:pt x="0" y="626459"/>
                </a:cubicBezTo>
                <a:lnTo>
                  <a:pt x="0" y="52388"/>
                </a:lnTo>
                <a:cubicBezTo>
                  <a:pt x="0" y="38386"/>
                  <a:pt x="5525" y="26098"/>
                  <a:pt x="16669" y="15716"/>
                </a:cubicBezTo>
                <a:cubicBezTo>
                  <a:pt x="27908" y="5334"/>
                  <a:pt x="42291" y="0"/>
                  <a:pt x="59722" y="0"/>
                </a:cubicBezTo>
                <a:cubicBezTo>
                  <a:pt x="77153" y="0"/>
                  <a:pt x="90678" y="5239"/>
                  <a:pt x="102203" y="15716"/>
                </a:cubicBezTo>
                <a:cubicBezTo>
                  <a:pt x="113824" y="26194"/>
                  <a:pt x="119634" y="38481"/>
                  <a:pt x="119634" y="52388"/>
                </a:cubicBezTo>
                <a:lnTo>
                  <a:pt x="119634" y="626459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>
              <a:solidFill>
                <a:schemeClr val="bg1"/>
              </a:solidFill>
            </a:endParaRPr>
          </a:p>
        </p:txBody>
      </p:sp>
      <p:sp>
        <p:nvSpPr>
          <p:cNvPr id="9" name="Forme libre : forme 8">
            <a:extLst>
              <a:ext uri="{FF2B5EF4-FFF2-40B4-BE49-F238E27FC236}">
                <a16:creationId xmlns:a16="http://schemas.microsoft.com/office/drawing/2014/main" id="{5AE818E6-862C-AC09-E190-67F543BCB4B9}"/>
              </a:ext>
            </a:extLst>
          </p:cNvPr>
          <p:cNvSpPr/>
          <p:nvPr/>
        </p:nvSpPr>
        <p:spPr>
          <a:xfrm>
            <a:off x="2869177" y="1032890"/>
            <a:ext cx="52703" cy="299060"/>
          </a:xfrm>
          <a:custGeom>
            <a:avLst/>
            <a:gdLst>
              <a:gd name="connsiteX0" fmla="*/ 119634 w 119633"/>
              <a:gd name="connsiteY0" fmla="*/ 626459 h 678846"/>
              <a:gd name="connsiteX1" fmla="*/ 102203 w 119633"/>
              <a:gd name="connsiteY1" fmla="*/ 663130 h 678846"/>
              <a:gd name="connsiteX2" fmla="*/ 59722 w 119633"/>
              <a:gd name="connsiteY2" fmla="*/ 678847 h 678846"/>
              <a:gd name="connsiteX3" fmla="*/ 16669 w 119633"/>
              <a:gd name="connsiteY3" fmla="*/ 663130 h 678846"/>
              <a:gd name="connsiteX4" fmla="*/ 0 w 119633"/>
              <a:gd name="connsiteY4" fmla="*/ 626459 h 678846"/>
              <a:gd name="connsiteX5" fmla="*/ 0 w 119633"/>
              <a:gd name="connsiteY5" fmla="*/ 52388 h 678846"/>
              <a:gd name="connsiteX6" fmla="*/ 16669 w 119633"/>
              <a:gd name="connsiteY6" fmla="*/ 15716 h 678846"/>
              <a:gd name="connsiteX7" fmla="*/ 59722 w 119633"/>
              <a:gd name="connsiteY7" fmla="*/ 0 h 678846"/>
              <a:gd name="connsiteX8" fmla="*/ 102203 w 119633"/>
              <a:gd name="connsiteY8" fmla="*/ 15716 h 678846"/>
              <a:gd name="connsiteX9" fmla="*/ 119634 w 119633"/>
              <a:gd name="connsiteY9" fmla="*/ 52388 h 678846"/>
              <a:gd name="connsiteX10" fmla="*/ 119634 w 119633"/>
              <a:gd name="connsiteY10" fmla="*/ 626459 h 6788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9633" h="678846">
                <a:moveTo>
                  <a:pt x="119634" y="626459"/>
                </a:moveTo>
                <a:cubicBezTo>
                  <a:pt x="119634" y="640366"/>
                  <a:pt x="113824" y="652558"/>
                  <a:pt x="102203" y="663130"/>
                </a:cubicBezTo>
                <a:cubicBezTo>
                  <a:pt x="90678" y="673608"/>
                  <a:pt x="76486" y="678847"/>
                  <a:pt x="59722" y="678847"/>
                </a:cubicBezTo>
                <a:cubicBezTo>
                  <a:pt x="42958" y="678847"/>
                  <a:pt x="27908" y="673608"/>
                  <a:pt x="16669" y="663130"/>
                </a:cubicBezTo>
                <a:cubicBezTo>
                  <a:pt x="5524" y="652558"/>
                  <a:pt x="0" y="640271"/>
                  <a:pt x="0" y="626459"/>
                </a:cubicBezTo>
                <a:lnTo>
                  <a:pt x="0" y="52388"/>
                </a:lnTo>
                <a:cubicBezTo>
                  <a:pt x="0" y="38386"/>
                  <a:pt x="5524" y="26098"/>
                  <a:pt x="16669" y="15716"/>
                </a:cubicBezTo>
                <a:cubicBezTo>
                  <a:pt x="27908" y="5334"/>
                  <a:pt x="42291" y="0"/>
                  <a:pt x="59722" y="0"/>
                </a:cubicBezTo>
                <a:cubicBezTo>
                  <a:pt x="77153" y="0"/>
                  <a:pt x="90678" y="5239"/>
                  <a:pt x="102203" y="15716"/>
                </a:cubicBezTo>
                <a:cubicBezTo>
                  <a:pt x="113824" y="26194"/>
                  <a:pt x="119634" y="38481"/>
                  <a:pt x="119634" y="52388"/>
                </a:cubicBezTo>
                <a:lnTo>
                  <a:pt x="119634" y="626459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>
              <a:solidFill>
                <a:schemeClr val="bg1"/>
              </a:solidFill>
            </a:endParaRPr>
          </a:p>
        </p:txBody>
      </p:sp>
      <p:sp>
        <p:nvSpPr>
          <p:cNvPr id="10" name="Forme libre : forme 9">
            <a:extLst>
              <a:ext uri="{FF2B5EF4-FFF2-40B4-BE49-F238E27FC236}">
                <a16:creationId xmlns:a16="http://schemas.microsoft.com/office/drawing/2014/main" id="{9B9B2863-63CA-377B-F9B4-752CCC8D930B}"/>
              </a:ext>
            </a:extLst>
          </p:cNvPr>
          <p:cNvSpPr/>
          <p:nvPr/>
        </p:nvSpPr>
        <p:spPr>
          <a:xfrm>
            <a:off x="2951534" y="1092014"/>
            <a:ext cx="218128" cy="244426"/>
          </a:xfrm>
          <a:custGeom>
            <a:avLst/>
            <a:gdLst>
              <a:gd name="connsiteX0" fmla="*/ 1935 w 495139"/>
              <a:gd name="connsiteY0" fmla="*/ 419862 h 554831"/>
              <a:gd name="connsiteX1" fmla="*/ 15461 w 495139"/>
              <a:gd name="connsiteY1" fmla="*/ 372618 h 554831"/>
              <a:gd name="connsiteX2" fmla="*/ 61657 w 495139"/>
              <a:gd name="connsiteY2" fmla="*/ 354711 h 554831"/>
              <a:gd name="connsiteX3" fmla="*/ 95185 w 495139"/>
              <a:gd name="connsiteY3" fmla="*/ 365855 h 554831"/>
              <a:gd name="connsiteX4" fmla="*/ 117188 w 495139"/>
              <a:gd name="connsiteY4" fmla="*/ 398812 h 554831"/>
              <a:gd name="connsiteX5" fmla="*/ 144620 w 495139"/>
              <a:gd name="connsiteY5" fmla="*/ 429768 h 554831"/>
              <a:gd name="connsiteX6" fmla="*/ 193483 w 495139"/>
              <a:gd name="connsiteY6" fmla="*/ 447199 h 554831"/>
              <a:gd name="connsiteX7" fmla="*/ 249680 w 495139"/>
              <a:gd name="connsiteY7" fmla="*/ 452342 h 554831"/>
              <a:gd name="connsiteX8" fmla="*/ 340739 w 495139"/>
              <a:gd name="connsiteY8" fmla="*/ 431863 h 554831"/>
              <a:gd name="connsiteX9" fmla="*/ 375505 w 495139"/>
              <a:gd name="connsiteY9" fmla="*/ 379857 h 554831"/>
              <a:gd name="connsiteX10" fmla="*/ 357027 w 495139"/>
              <a:gd name="connsiteY10" fmla="*/ 347282 h 554831"/>
              <a:gd name="connsiteX11" fmla="*/ 308830 w 495139"/>
              <a:gd name="connsiteY11" fmla="*/ 332613 h 554831"/>
              <a:gd name="connsiteX12" fmla="*/ 245489 w 495139"/>
              <a:gd name="connsiteY12" fmla="*/ 326231 h 554831"/>
              <a:gd name="connsiteX13" fmla="*/ 158812 w 495139"/>
              <a:gd name="connsiteY13" fmla="*/ 315754 h 554831"/>
              <a:gd name="connsiteX14" fmla="*/ 81659 w 495139"/>
              <a:gd name="connsiteY14" fmla="*/ 294322 h 554831"/>
              <a:gd name="connsiteX15" fmla="*/ 26129 w 495139"/>
              <a:gd name="connsiteY15" fmla="*/ 249269 h 554831"/>
              <a:gd name="connsiteX16" fmla="*/ 5269 w 495139"/>
              <a:gd name="connsiteY16" fmla="*/ 167926 h 554831"/>
              <a:gd name="connsiteX17" fmla="*/ 34606 w 495139"/>
              <a:gd name="connsiteY17" fmla="*/ 79820 h 554831"/>
              <a:gd name="connsiteX18" fmla="*/ 117378 w 495139"/>
              <a:gd name="connsiteY18" fmla="*/ 21050 h 554831"/>
              <a:gd name="connsiteX19" fmla="*/ 241203 w 495139"/>
              <a:gd name="connsiteY19" fmla="*/ 0 h 554831"/>
              <a:gd name="connsiteX20" fmla="*/ 329500 w 495139"/>
              <a:gd name="connsiteY20" fmla="*/ 7906 h 554831"/>
              <a:gd name="connsiteX21" fmla="*/ 417035 w 495139"/>
              <a:gd name="connsiteY21" fmla="*/ 39815 h 554831"/>
              <a:gd name="connsiteX22" fmla="*/ 476375 w 495139"/>
              <a:gd name="connsiteY22" fmla="*/ 114205 h 554831"/>
              <a:gd name="connsiteX23" fmla="*/ 475137 w 495139"/>
              <a:gd name="connsiteY23" fmla="*/ 151543 h 554831"/>
              <a:gd name="connsiteX24" fmla="*/ 450563 w 495139"/>
              <a:gd name="connsiteY24" fmla="*/ 176117 h 554831"/>
              <a:gd name="connsiteX25" fmla="*/ 417606 w 495139"/>
              <a:gd name="connsiteY25" fmla="*/ 184499 h 554831"/>
              <a:gd name="connsiteX26" fmla="*/ 386650 w 495139"/>
              <a:gd name="connsiteY26" fmla="*/ 177165 h 554831"/>
              <a:gd name="connsiteX27" fmla="*/ 366171 w 495139"/>
              <a:gd name="connsiteY27" fmla="*/ 151924 h 554831"/>
              <a:gd name="connsiteX28" fmla="*/ 333977 w 495139"/>
              <a:gd name="connsiteY28" fmla="*/ 119348 h 554831"/>
              <a:gd name="connsiteX29" fmla="*/ 285780 w 495139"/>
              <a:gd name="connsiteY29" fmla="*/ 106204 h 554831"/>
              <a:gd name="connsiteX30" fmla="*/ 241108 w 495139"/>
              <a:gd name="connsiteY30" fmla="*/ 103632 h 554831"/>
              <a:gd name="connsiteX31" fmla="*/ 156526 w 495139"/>
              <a:gd name="connsiteY31" fmla="*/ 121539 h 554831"/>
              <a:gd name="connsiteX32" fmla="*/ 124617 w 495139"/>
              <a:gd name="connsiteY32" fmla="*/ 168783 h 554831"/>
              <a:gd name="connsiteX33" fmla="*/ 141476 w 495139"/>
              <a:gd name="connsiteY33" fmla="*/ 202883 h 554831"/>
              <a:gd name="connsiteX34" fmla="*/ 187101 w 495139"/>
              <a:gd name="connsiteY34" fmla="*/ 213360 h 554831"/>
              <a:gd name="connsiteX35" fmla="*/ 251585 w 495139"/>
              <a:gd name="connsiteY35" fmla="*/ 219075 h 554831"/>
              <a:gd name="connsiteX36" fmla="*/ 338739 w 495139"/>
              <a:gd name="connsiteY36" fmla="*/ 230600 h 554831"/>
              <a:gd name="connsiteX37" fmla="*/ 417511 w 495139"/>
              <a:gd name="connsiteY37" fmla="*/ 252222 h 554831"/>
              <a:gd name="connsiteX38" fmla="*/ 474089 w 495139"/>
              <a:gd name="connsiteY38" fmla="*/ 297275 h 554831"/>
              <a:gd name="connsiteX39" fmla="*/ 495139 w 495139"/>
              <a:gd name="connsiteY39" fmla="*/ 379667 h 554831"/>
              <a:gd name="connsiteX40" fmla="*/ 464183 w 495139"/>
              <a:gd name="connsiteY40" fmla="*/ 470916 h 554831"/>
              <a:gd name="connsiteX41" fmla="*/ 378077 w 495139"/>
              <a:gd name="connsiteY41" fmla="*/ 532829 h 554831"/>
              <a:gd name="connsiteX42" fmla="*/ 249680 w 495139"/>
              <a:gd name="connsiteY42" fmla="*/ 554831 h 554831"/>
              <a:gd name="connsiteX43" fmla="*/ 178814 w 495139"/>
              <a:gd name="connsiteY43" fmla="*/ 550069 h 554831"/>
              <a:gd name="connsiteX44" fmla="*/ 104234 w 495139"/>
              <a:gd name="connsiteY44" fmla="*/ 531209 h 554831"/>
              <a:gd name="connsiteX45" fmla="*/ 40702 w 495139"/>
              <a:gd name="connsiteY45" fmla="*/ 490347 h 554831"/>
              <a:gd name="connsiteX46" fmla="*/ 2030 w 495139"/>
              <a:gd name="connsiteY46" fmla="*/ 419481 h 554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495139" h="554831">
                <a:moveTo>
                  <a:pt x="1935" y="419862"/>
                </a:moveTo>
                <a:cubicBezTo>
                  <a:pt x="-3018" y="400336"/>
                  <a:pt x="1554" y="384524"/>
                  <a:pt x="15461" y="372618"/>
                </a:cubicBezTo>
                <a:cubicBezTo>
                  <a:pt x="29462" y="360712"/>
                  <a:pt x="44893" y="354711"/>
                  <a:pt x="61657" y="354711"/>
                </a:cubicBezTo>
                <a:cubicBezTo>
                  <a:pt x="74230" y="354711"/>
                  <a:pt x="85374" y="358426"/>
                  <a:pt x="95185" y="365855"/>
                </a:cubicBezTo>
                <a:cubicBezTo>
                  <a:pt x="104996" y="373190"/>
                  <a:pt x="112330" y="384143"/>
                  <a:pt x="117188" y="398812"/>
                </a:cubicBezTo>
                <a:cubicBezTo>
                  <a:pt x="121379" y="411385"/>
                  <a:pt x="130522" y="421767"/>
                  <a:pt x="144620" y="429768"/>
                </a:cubicBezTo>
                <a:cubicBezTo>
                  <a:pt x="158621" y="437864"/>
                  <a:pt x="174909" y="443675"/>
                  <a:pt x="193483" y="447199"/>
                </a:cubicBezTo>
                <a:cubicBezTo>
                  <a:pt x="211961" y="450628"/>
                  <a:pt x="230726" y="452342"/>
                  <a:pt x="249680" y="452342"/>
                </a:cubicBezTo>
                <a:cubicBezTo>
                  <a:pt x="287399" y="452342"/>
                  <a:pt x="317784" y="445580"/>
                  <a:pt x="340739" y="431863"/>
                </a:cubicBezTo>
                <a:cubicBezTo>
                  <a:pt x="363885" y="418147"/>
                  <a:pt x="375505" y="400812"/>
                  <a:pt x="375505" y="379857"/>
                </a:cubicBezTo>
                <a:cubicBezTo>
                  <a:pt x="375505" y="365188"/>
                  <a:pt x="369314" y="354330"/>
                  <a:pt x="357027" y="347282"/>
                </a:cubicBezTo>
                <a:cubicBezTo>
                  <a:pt x="344835" y="340328"/>
                  <a:pt x="328738" y="335375"/>
                  <a:pt x="308830" y="332613"/>
                </a:cubicBezTo>
                <a:cubicBezTo>
                  <a:pt x="289019" y="329851"/>
                  <a:pt x="267873" y="327755"/>
                  <a:pt x="245489" y="326231"/>
                </a:cubicBezTo>
                <a:cubicBezTo>
                  <a:pt x="215962" y="323469"/>
                  <a:pt x="187006" y="319945"/>
                  <a:pt x="158812" y="315754"/>
                </a:cubicBezTo>
                <a:cubicBezTo>
                  <a:pt x="130522" y="311563"/>
                  <a:pt x="104710" y="304419"/>
                  <a:pt x="81659" y="294322"/>
                </a:cubicBezTo>
                <a:cubicBezTo>
                  <a:pt x="58609" y="284131"/>
                  <a:pt x="40130" y="269081"/>
                  <a:pt x="26129" y="249269"/>
                </a:cubicBezTo>
                <a:cubicBezTo>
                  <a:pt x="12222" y="229362"/>
                  <a:pt x="5269" y="202216"/>
                  <a:pt x="5269" y="167926"/>
                </a:cubicBezTo>
                <a:cubicBezTo>
                  <a:pt x="5269" y="133636"/>
                  <a:pt x="15079" y="104966"/>
                  <a:pt x="34606" y="79820"/>
                </a:cubicBezTo>
                <a:cubicBezTo>
                  <a:pt x="54132" y="54578"/>
                  <a:pt x="81755" y="34957"/>
                  <a:pt x="117378" y="21050"/>
                </a:cubicBezTo>
                <a:cubicBezTo>
                  <a:pt x="153097" y="7049"/>
                  <a:pt x="194340" y="0"/>
                  <a:pt x="241203" y="0"/>
                </a:cubicBezTo>
                <a:cubicBezTo>
                  <a:pt x="268635" y="0"/>
                  <a:pt x="297972" y="2667"/>
                  <a:pt x="329500" y="7906"/>
                </a:cubicBezTo>
                <a:cubicBezTo>
                  <a:pt x="360932" y="13049"/>
                  <a:pt x="390079" y="23717"/>
                  <a:pt x="417035" y="39815"/>
                </a:cubicBezTo>
                <a:cubicBezTo>
                  <a:pt x="443990" y="55817"/>
                  <a:pt x="463802" y="80677"/>
                  <a:pt x="476375" y="114205"/>
                </a:cubicBezTo>
                <a:cubicBezTo>
                  <a:pt x="481233" y="128207"/>
                  <a:pt x="480852" y="140684"/>
                  <a:pt x="475137" y="151543"/>
                </a:cubicBezTo>
                <a:cubicBezTo>
                  <a:pt x="469613" y="162401"/>
                  <a:pt x="461326" y="170593"/>
                  <a:pt x="450563" y="176117"/>
                </a:cubicBezTo>
                <a:cubicBezTo>
                  <a:pt x="439704" y="181642"/>
                  <a:pt x="428750" y="184499"/>
                  <a:pt x="417606" y="184499"/>
                </a:cubicBezTo>
                <a:cubicBezTo>
                  <a:pt x="405033" y="184499"/>
                  <a:pt x="394651" y="182023"/>
                  <a:pt x="386650" y="177165"/>
                </a:cubicBezTo>
                <a:cubicBezTo>
                  <a:pt x="378554" y="172307"/>
                  <a:pt x="371791" y="163830"/>
                  <a:pt x="366171" y="151924"/>
                </a:cubicBezTo>
                <a:cubicBezTo>
                  <a:pt x="359789" y="137255"/>
                  <a:pt x="349121" y="126397"/>
                  <a:pt x="333977" y="119348"/>
                </a:cubicBezTo>
                <a:cubicBezTo>
                  <a:pt x="319022" y="112395"/>
                  <a:pt x="302925" y="108013"/>
                  <a:pt x="285780" y="106204"/>
                </a:cubicBezTo>
                <a:cubicBezTo>
                  <a:pt x="268730" y="104489"/>
                  <a:pt x="253871" y="103632"/>
                  <a:pt x="241108" y="103632"/>
                </a:cubicBezTo>
                <a:cubicBezTo>
                  <a:pt x="206151" y="103632"/>
                  <a:pt x="177957" y="109633"/>
                  <a:pt x="156526" y="121539"/>
                </a:cubicBezTo>
                <a:cubicBezTo>
                  <a:pt x="135190" y="133445"/>
                  <a:pt x="124617" y="149257"/>
                  <a:pt x="124617" y="168783"/>
                </a:cubicBezTo>
                <a:cubicBezTo>
                  <a:pt x="124617" y="185642"/>
                  <a:pt x="130237" y="196977"/>
                  <a:pt x="141476" y="202883"/>
                </a:cubicBezTo>
                <a:cubicBezTo>
                  <a:pt x="152716" y="208883"/>
                  <a:pt x="167956" y="212312"/>
                  <a:pt x="187101" y="213360"/>
                </a:cubicBezTo>
                <a:cubicBezTo>
                  <a:pt x="206246" y="214408"/>
                  <a:pt x="227773" y="216313"/>
                  <a:pt x="251585" y="219075"/>
                </a:cubicBezTo>
                <a:cubicBezTo>
                  <a:pt x="280922" y="222504"/>
                  <a:pt x="309974" y="226409"/>
                  <a:pt x="338739" y="230600"/>
                </a:cubicBezTo>
                <a:cubicBezTo>
                  <a:pt x="367409" y="234887"/>
                  <a:pt x="393698" y="242030"/>
                  <a:pt x="417511" y="252222"/>
                </a:cubicBezTo>
                <a:cubicBezTo>
                  <a:pt x="441323" y="262319"/>
                  <a:pt x="460183" y="277368"/>
                  <a:pt x="474089" y="297275"/>
                </a:cubicBezTo>
                <a:cubicBezTo>
                  <a:pt x="488091" y="317087"/>
                  <a:pt x="495139" y="344615"/>
                  <a:pt x="495139" y="379667"/>
                </a:cubicBezTo>
                <a:cubicBezTo>
                  <a:pt x="495139" y="414719"/>
                  <a:pt x="484853" y="444341"/>
                  <a:pt x="464183" y="470916"/>
                </a:cubicBezTo>
                <a:cubicBezTo>
                  <a:pt x="443514" y="497491"/>
                  <a:pt x="414844" y="518160"/>
                  <a:pt x="378077" y="532829"/>
                </a:cubicBezTo>
                <a:cubicBezTo>
                  <a:pt x="341406" y="547497"/>
                  <a:pt x="298639" y="554831"/>
                  <a:pt x="249680" y="554831"/>
                </a:cubicBezTo>
                <a:cubicBezTo>
                  <a:pt x="227963" y="554831"/>
                  <a:pt x="204341" y="553212"/>
                  <a:pt x="178814" y="550069"/>
                </a:cubicBezTo>
                <a:cubicBezTo>
                  <a:pt x="153287" y="546926"/>
                  <a:pt x="128427" y="540639"/>
                  <a:pt x="104234" y="531209"/>
                </a:cubicBezTo>
                <a:cubicBezTo>
                  <a:pt x="80135" y="521875"/>
                  <a:pt x="58990" y="508159"/>
                  <a:pt x="40702" y="490347"/>
                </a:cubicBezTo>
                <a:cubicBezTo>
                  <a:pt x="22509" y="472440"/>
                  <a:pt x="9650" y="448913"/>
                  <a:pt x="2030" y="419481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>
              <a:solidFill>
                <a:schemeClr val="bg1"/>
              </a:solidFill>
            </a:endParaRPr>
          </a:p>
        </p:txBody>
      </p:sp>
      <p:sp>
        <p:nvSpPr>
          <p:cNvPr id="11" name="Forme libre : forme 10">
            <a:extLst>
              <a:ext uri="{FF2B5EF4-FFF2-40B4-BE49-F238E27FC236}">
                <a16:creationId xmlns:a16="http://schemas.microsoft.com/office/drawing/2014/main" id="{6F554FBE-B38C-BC22-B6D0-C2CAFBD841F8}"/>
              </a:ext>
            </a:extLst>
          </p:cNvPr>
          <p:cNvSpPr/>
          <p:nvPr/>
        </p:nvSpPr>
        <p:spPr>
          <a:xfrm>
            <a:off x="1148496" y="1062130"/>
            <a:ext cx="284156" cy="284070"/>
          </a:xfrm>
          <a:custGeom>
            <a:avLst/>
            <a:gdLst>
              <a:gd name="connsiteX0" fmla="*/ 1927193 w 3012185"/>
              <a:gd name="connsiteY0" fmla="*/ 3011281 h 3011281"/>
              <a:gd name="connsiteX1" fmla="*/ 1159955 w 3012185"/>
              <a:gd name="connsiteY1" fmla="*/ 2694003 h 3011281"/>
              <a:gd name="connsiteX2" fmla="*/ 317754 w 3012185"/>
              <a:gd name="connsiteY2" fmla="*/ 1851803 h 3011281"/>
              <a:gd name="connsiteX3" fmla="*/ 0 w 3012185"/>
              <a:gd name="connsiteY3" fmla="*/ 1084564 h 3011281"/>
              <a:gd name="connsiteX4" fmla="*/ 317754 w 3012185"/>
              <a:gd name="connsiteY4" fmla="*/ 317325 h 3011281"/>
              <a:gd name="connsiteX5" fmla="*/ 1852232 w 3012185"/>
              <a:gd name="connsiteY5" fmla="*/ 317325 h 3011281"/>
              <a:gd name="connsiteX6" fmla="*/ 2694432 w 3012185"/>
              <a:gd name="connsiteY6" fmla="*/ 1159526 h 3011281"/>
              <a:gd name="connsiteX7" fmla="*/ 3012186 w 3012185"/>
              <a:gd name="connsiteY7" fmla="*/ 1926765 h 3011281"/>
              <a:gd name="connsiteX8" fmla="*/ 2694432 w 3012185"/>
              <a:gd name="connsiteY8" fmla="*/ 2694003 h 3011281"/>
              <a:gd name="connsiteX9" fmla="*/ 1927193 w 3012185"/>
              <a:gd name="connsiteY9" fmla="*/ 3011281 h 3011281"/>
              <a:gd name="connsiteX10" fmla="*/ 1084993 w 3012185"/>
              <a:gd name="connsiteY10" fmla="*/ 480012 h 3011281"/>
              <a:gd name="connsiteX11" fmla="*/ 657320 w 3012185"/>
              <a:gd name="connsiteY11" fmla="*/ 656892 h 3011281"/>
              <a:gd name="connsiteX12" fmla="*/ 480155 w 3012185"/>
              <a:gd name="connsiteY12" fmla="*/ 1084564 h 3011281"/>
              <a:gd name="connsiteX13" fmla="*/ 657320 w 3012185"/>
              <a:gd name="connsiteY13" fmla="*/ 1512237 h 3011281"/>
              <a:gd name="connsiteX14" fmla="*/ 1499521 w 3012185"/>
              <a:gd name="connsiteY14" fmla="*/ 2354437 h 3011281"/>
              <a:gd name="connsiteX15" fmla="*/ 2354961 w 3012185"/>
              <a:gd name="connsiteY15" fmla="*/ 2354437 h 3011281"/>
              <a:gd name="connsiteX16" fmla="*/ 2532126 w 3012185"/>
              <a:gd name="connsiteY16" fmla="*/ 1926765 h 3011281"/>
              <a:gd name="connsiteX17" fmla="*/ 2354961 w 3012185"/>
              <a:gd name="connsiteY17" fmla="*/ 1499092 h 3011281"/>
              <a:gd name="connsiteX18" fmla="*/ 1512761 w 3012185"/>
              <a:gd name="connsiteY18" fmla="*/ 656892 h 3011281"/>
              <a:gd name="connsiteX19" fmla="*/ 1084993 w 3012185"/>
              <a:gd name="connsiteY19" fmla="*/ 480012 h 3011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012185" h="3011281">
                <a:moveTo>
                  <a:pt x="1927193" y="3011281"/>
                </a:moveTo>
                <a:cubicBezTo>
                  <a:pt x="1649349" y="3011281"/>
                  <a:pt x="1371505" y="2905554"/>
                  <a:pt x="1159955" y="2694003"/>
                </a:cubicBezTo>
                <a:lnTo>
                  <a:pt x="317754" y="1851803"/>
                </a:lnTo>
                <a:cubicBezTo>
                  <a:pt x="112871" y="1646825"/>
                  <a:pt x="0" y="1374410"/>
                  <a:pt x="0" y="1084564"/>
                </a:cubicBezTo>
                <a:cubicBezTo>
                  <a:pt x="0" y="794718"/>
                  <a:pt x="112871" y="522303"/>
                  <a:pt x="317754" y="317325"/>
                </a:cubicBezTo>
                <a:cubicBezTo>
                  <a:pt x="740855" y="-105775"/>
                  <a:pt x="1429131" y="-105775"/>
                  <a:pt x="1852232" y="317325"/>
                </a:cubicBezTo>
                <a:lnTo>
                  <a:pt x="2694432" y="1159526"/>
                </a:lnTo>
                <a:cubicBezTo>
                  <a:pt x="2899410" y="1364504"/>
                  <a:pt x="3012186" y="1636919"/>
                  <a:pt x="3012186" y="1926765"/>
                </a:cubicBezTo>
                <a:cubicBezTo>
                  <a:pt x="3012186" y="2216611"/>
                  <a:pt x="2899315" y="2489025"/>
                  <a:pt x="2694432" y="2694003"/>
                </a:cubicBezTo>
                <a:cubicBezTo>
                  <a:pt x="2489549" y="2898982"/>
                  <a:pt x="2205038" y="3011281"/>
                  <a:pt x="1927193" y="3011281"/>
                </a:cubicBezTo>
                <a:close/>
                <a:moveTo>
                  <a:pt x="1084993" y="480012"/>
                </a:moveTo>
                <a:cubicBezTo>
                  <a:pt x="930116" y="480012"/>
                  <a:pt x="775240" y="538972"/>
                  <a:pt x="657320" y="656892"/>
                </a:cubicBezTo>
                <a:cubicBezTo>
                  <a:pt x="543116" y="771096"/>
                  <a:pt x="480155" y="923020"/>
                  <a:pt x="480155" y="1084564"/>
                </a:cubicBezTo>
                <a:cubicBezTo>
                  <a:pt x="480155" y="1246108"/>
                  <a:pt x="543020" y="1398032"/>
                  <a:pt x="657320" y="1512237"/>
                </a:cubicBezTo>
                <a:lnTo>
                  <a:pt x="1499521" y="2354437"/>
                </a:lnTo>
                <a:cubicBezTo>
                  <a:pt x="1735360" y="2590276"/>
                  <a:pt x="2119122" y="2590276"/>
                  <a:pt x="2354961" y="2354437"/>
                </a:cubicBezTo>
                <a:cubicBezTo>
                  <a:pt x="2469166" y="2240233"/>
                  <a:pt x="2532126" y="2088309"/>
                  <a:pt x="2532126" y="1926765"/>
                </a:cubicBezTo>
                <a:cubicBezTo>
                  <a:pt x="2532126" y="1765221"/>
                  <a:pt x="2469261" y="1613297"/>
                  <a:pt x="2354961" y="1499092"/>
                </a:cubicBezTo>
                <a:lnTo>
                  <a:pt x="1512761" y="656892"/>
                </a:lnTo>
                <a:cubicBezTo>
                  <a:pt x="1394841" y="538972"/>
                  <a:pt x="1239964" y="480012"/>
                  <a:pt x="1084993" y="480012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>
              <a:solidFill>
                <a:schemeClr val="bg1"/>
              </a:solidFill>
            </a:endParaRPr>
          </a:p>
        </p:txBody>
      </p:sp>
      <p:sp>
        <p:nvSpPr>
          <p:cNvPr id="12" name="Forme libre : forme 11">
            <a:extLst>
              <a:ext uri="{FF2B5EF4-FFF2-40B4-BE49-F238E27FC236}">
                <a16:creationId xmlns:a16="http://schemas.microsoft.com/office/drawing/2014/main" id="{D7AC59EB-786B-C5BF-F671-3AC67BB2A36B}"/>
              </a:ext>
            </a:extLst>
          </p:cNvPr>
          <p:cNvSpPr/>
          <p:nvPr/>
        </p:nvSpPr>
        <p:spPr>
          <a:xfrm>
            <a:off x="1228502" y="1062130"/>
            <a:ext cx="284147" cy="284070"/>
          </a:xfrm>
          <a:custGeom>
            <a:avLst/>
            <a:gdLst>
              <a:gd name="connsiteX0" fmla="*/ 1084993 w 3012090"/>
              <a:gd name="connsiteY0" fmla="*/ 3011281 h 3011281"/>
              <a:gd name="connsiteX1" fmla="*/ 317754 w 3012090"/>
              <a:gd name="connsiteY1" fmla="*/ 2694003 h 3011281"/>
              <a:gd name="connsiteX2" fmla="*/ 0 w 3012090"/>
              <a:gd name="connsiteY2" fmla="*/ 1926765 h 3011281"/>
              <a:gd name="connsiteX3" fmla="*/ 317754 w 3012090"/>
              <a:gd name="connsiteY3" fmla="*/ 1159526 h 3011281"/>
              <a:gd name="connsiteX4" fmla="*/ 1159955 w 3012090"/>
              <a:gd name="connsiteY4" fmla="*/ 317325 h 3011281"/>
              <a:gd name="connsiteX5" fmla="*/ 2694337 w 3012090"/>
              <a:gd name="connsiteY5" fmla="*/ 317325 h 3011281"/>
              <a:gd name="connsiteX6" fmla="*/ 3012091 w 3012090"/>
              <a:gd name="connsiteY6" fmla="*/ 1084564 h 3011281"/>
              <a:gd name="connsiteX7" fmla="*/ 2694337 w 3012090"/>
              <a:gd name="connsiteY7" fmla="*/ 1851803 h 3011281"/>
              <a:gd name="connsiteX8" fmla="*/ 1852136 w 3012090"/>
              <a:gd name="connsiteY8" fmla="*/ 2694003 h 3011281"/>
              <a:gd name="connsiteX9" fmla="*/ 1084898 w 3012090"/>
              <a:gd name="connsiteY9" fmla="*/ 3011281 h 3011281"/>
              <a:gd name="connsiteX10" fmla="*/ 1927098 w 3012090"/>
              <a:gd name="connsiteY10" fmla="*/ 480012 h 3011281"/>
              <a:gd name="connsiteX11" fmla="*/ 1499426 w 3012090"/>
              <a:gd name="connsiteY11" fmla="*/ 656892 h 3011281"/>
              <a:gd name="connsiteX12" fmla="*/ 657225 w 3012090"/>
              <a:gd name="connsiteY12" fmla="*/ 1499092 h 3011281"/>
              <a:gd name="connsiteX13" fmla="*/ 480060 w 3012090"/>
              <a:gd name="connsiteY13" fmla="*/ 1926765 h 3011281"/>
              <a:gd name="connsiteX14" fmla="*/ 657225 w 3012090"/>
              <a:gd name="connsiteY14" fmla="*/ 2354437 h 3011281"/>
              <a:gd name="connsiteX15" fmla="*/ 1512570 w 3012090"/>
              <a:gd name="connsiteY15" fmla="*/ 2354437 h 3011281"/>
              <a:gd name="connsiteX16" fmla="*/ 2354771 w 3012090"/>
              <a:gd name="connsiteY16" fmla="*/ 1512237 h 3011281"/>
              <a:gd name="connsiteX17" fmla="*/ 2531935 w 3012090"/>
              <a:gd name="connsiteY17" fmla="*/ 1084564 h 3011281"/>
              <a:gd name="connsiteX18" fmla="*/ 2354771 w 3012090"/>
              <a:gd name="connsiteY18" fmla="*/ 656892 h 3011281"/>
              <a:gd name="connsiteX19" fmla="*/ 1927098 w 3012090"/>
              <a:gd name="connsiteY19" fmla="*/ 480012 h 3011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012090" h="3011281">
                <a:moveTo>
                  <a:pt x="1084993" y="3011281"/>
                </a:moveTo>
                <a:cubicBezTo>
                  <a:pt x="807149" y="3011281"/>
                  <a:pt x="529304" y="2905554"/>
                  <a:pt x="317754" y="2694003"/>
                </a:cubicBezTo>
                <a:cubicBezTo>
                  <a:pt x="106204" y="2482453"/>
                  <a:pt x="0" y="2216611"/>
                  <a:pt x="0" y="1926765"/>
                </a:cubicBezTo>
                <a:cubicBezTo>
                  <a:pt x="0" y="1636919"/>
                  <a:pt x="112871" y="1364504"/>
                  <a:pt x="317754" y="1159526"/>
                </a:cubicBezTo>
                <a:lnTo>
                  <a:pt x="1159955" y="317325"/>
                </a:lnTo>
                <a:cubicBezTo>
                  <a:pt x="1582960" y="-105775"/>
                  <a:pt x="2271332" y="-105775"/>
                  <a:pt x="2694337" y="317325"/>
                </a:cubicBezTo>
                <a:cubicBezTo>
                  <a:pt x="2899315" y="522303"/>
                  <a:pt x="3012091" y="794718"/>
                  <a:pt x="3012091" y="1084564"/>
                </a:cubicBezTo>
                <a:cubicBezTo>
                  <a:pt x="3012091" y="1374410"/>
                  <a:pt x="2899220" y="1646825"/>
                  <a:pt x="2694337" y="1851803"/>
                </a:cubicBezTo>
                <a:lnTo>
                  <a:pt x="1852136" y="2694003"/>
                </a:lnTo>
                <a:cubicBezTo>
                  <a:pt x="1640586" y="2905554"/>
                  <a:pt x="1362742" y="3011281"/>
                  <a:pt x="1084898" y="3011281"/>
                </a:cubicBezTo>
                <a:close/>
                <a:moveTo>
                  <a:pt x="1927098" y="480012"/>
                </a:moveTo>
                <a:cubicBezTo>
                  <a:pt x="1772222" y="480012"/>
                  <a:pt x="1617345" y="538972"/>
                  <a:pt x="1499426" y="656892"/>
                </a:cubicBezTo>
                <a:lnTo>
                  <a:pt x="657225" y="1499092"/>
                </a:lnTo>
                <a:cubicBezTo>
                  <a:pt x="543020" y="1613297"/>
                  <a:pt x="480060" y="1765221"/>
                  <a:pt x="480060" y="1926765"/>
                </a:cubicBezTo>
                <a:cubicBezTo>
                  <a:pt x="480060" y="2088309"/>
                  <a:pt x="542925" y="2240233"/>
                  <a:pt x="657225" y="2354437"/>
                </a:cubicBezTo>
                <a:cubicBezTo>
                  <a:pt x="893064" y="2590276"/>
                  <a:pt x="1276731" y="2590276"/>
                  <a:pt x="1512570" y="2354437"/>
                </a:cubicBezTo>
                <a:lnTo>
                  <a:pt x="2354771" y="1512237"/>
                </a:lnTo>
                <a:cubicBezTo>
                  <a:pt x="2468975" y="1398032"/>
                  <a:pt x="2531935" y="1246108"/>
                  <a:pt x="2531935" y="1084564"/>
                </a:cubicBezTo>
                <a:cubicBezTo>
                  <a:pt x="2531935" y="923020"/>
                  <a:pt x="2469071" y="771096"/>
                  <a:pt x="2354771" y="656892"/>
                </a:cubicBezTo>
                <a:cubicBezTo>
                  <a:pt x="2236851" y="538972"/>
                  <a:pt x="2081975" y="480012"/>
                  <a:pt x="1927098" y="480012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>
              <a:solidFill>
                <a:schemeClr val="bg1"/>
              </a:solidFill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60E2B8E8-2FF7-6A04-5C60-7AC586995AE6}"/>
              </a:ext>
            </a:extLst>
          </p:cNvPr>
          <p:cNvSpPr txBox="1"/>
          <p:nvPr/>
        </p:nvSpPr>
        <p:spPr>
          <a:xfrm>
            <a:off x="1464115" y="2844840"/>
            <a:ext cx="4550926" cy="523220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fr-FR" sz="3400" b="1">
                <a:solidFill>
                  <a:schemeClr val="bg1"/>
                </a:solidFill>
                <a:latin typeface="+mj-lt"/>
              </a:rPr>
              <a:t>Votre allié anti-gaspi </a:t>
            </a:r>
            <a:endParaRPr lang="fr-FR" sz="34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B049BAD-5079-52EA-C7FA-621B344DF4A5}"/>
              </a:ext>
            </a:extLst>
          </p:cNvPr>
          <p:cNvSpPr txBox="1"/>
          <p:nvPr/>
        </p:nvSpPr>
        <p:spPr>
          <a:xfrm>
            <a:off x="1464115" y="3356117"/>
            <a:ext cx="4594206" cy="523220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fr-FR" sz="3400">
                <a:solidFill>
                  <a:schemeClr val="bg1"/>
                </a:solidFill>
                <a:latin typeface="+mj-lt"/>
              </a:rPr>
              <a:t>pour les médicaments </a:t>
            </a:r>
          </a:p>
        </p:txBody>
      </p:sp>
      <p:sp>
        <p:nvSpPr>
          <p:cNvPr id="16" name="!!_Sous-Tire_01_!!">
            <a:extLst>
              <a:ext uri="{FF2B5EF4-FFF2-40B4-BE49-F238E27FC236}">
                <a16:creationId xmlns:a16="http://schemas.microsoft.com/office/drawing/2014/main" id="{46F64442-9E62-3B5C-93F3-C7C1F65A5166}"/>
              </a:ext>
            </a:extLst>
          </p:cNvPr>
          <p:cNvSpPr txBox="1"/>
          <p:nvPr/>
        </p:nvSpPr>
        <p:spPr>
          <a:xfrm>
            <a:off x="1464115" y="4021902"/>
            <a:ext cx="4512454" cy="1615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fr-FR" sz="1050" spc="300">
                <a:solidFill>
                  <a:schemeClr val="tx2">
                    <a:lumMod val="20000"/>
                    <a:lumOff val="80000"/>
                  </a:schemeClr>
                </a:solidFill>
                <a:latin typeface="Montserrat Alternates SemiBold" panose="00000700000000000000" pitchFamily="2" charset="0"/>
              </a:rPr>
              <a:t>AGISSONS / ÉCONOMISONS / PRÉSERVONS</a:t>
            </a:r>
          </a:p>
        </p:txBody>
      </p:sp>
      <p:pic>
        <p:nvPicPr>
          <p:cNvPr id="22" name="Image 21" descr="Une image contenant médicament, médecine, Médicament, Médicament sous ordonnance&#10;&#10;Le contenu généré par l’IA peut être incorrect.">
            <a:extLst>
              <a:ext uri="{FF2B5EF4-FFF2-40B4-BE49-F238E27FC236}">
                <a16:creationId xmlns:a16="http://schemas.microsoft.com/office/drawing/2014/main" id="{0A4D2CF6-9F93-2C12-81D5-719982299C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33029" y="1587837"/>
            <a:ext cx="5021942" cy="4262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30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097B3">
            <a:alpha val="5000"/>
          </a:srgb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5D1590B-D216-98CB-4D54-ABDA88C6BB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Forme libre : forme 57">
            <a:extLst>
              <a:ext uri="{FF2B5EF4-FFF2-40B4-BE49-F238E27FC236}">
                <a16:creationId xmlns:a16="http://schemas.microsoft.com/office/drawing/2014/main" id="{B807C724-88C4-6C5F-F109-8272CC794442}"/>
              </a:ext>
            </a:extLst>
          </p:cNvPr>
          <p:cNvSpPr/>
          <p:nvPr/>
        </p:nvSpPr>
        <p:spPr>
          <a:xfrm>
            <a:off x="4623011" y="0"/>
            <a:ext cx="7568989" cy="6858000"/>
          </a:xfrm>
          <a:custGeom>
            <a:avLst/>
            <a:gdLst>
              <a:gd name="connsiteX0" fmla="*/ 3196333 w 7568989"/>
              <a:gd name="connsiteY0" fmla="*/ 0 h 6858000"/>
              <a:gd name="connsiteX1" fmla="*/ 3368768 w 7568989"/>
              <a:gd name="connsiteY1" fmla="*/ 0 h 6858000"/>
              <a:gd name="connsiteX2" fmla="*/ 3412233 w 7568989"/>
              <a:gd name="connsiteY2" fmla="*/ 0 h 6858000"/>
              <a:gd name="connsiteX3" fmla="*/ 3584668 w 7568989"/>
              <a:gd name="connsiteY3" fmla="*/ 0 h 6858000"/>
              <a:gd name="connsiteX4" fmla="*/ 4174233 w 7568989"/>
              <a:gd name="connsiteY4" fmla="*/ 0 h 6858000"/>
              <a:gd name="connsiteX5" fmla="*/ 4346668 w 7568989"/>
              <a:gd name="connsiteY5" fmla="*/ 0 h 6858000"/>
              <a:gd name="connsiteX6" fmla="*/ 4390133 w 7568989"/>
              <a:gd name="connsiteY6" fmla="*/ 0 h 6858000"/>
              <a:gd name="connsiteX7" fmla="*/ 4562568 w 7568989"/>
              <a:gd name="connsiteY7" fmla="*/ 0 h 6858000"/>
              <a:gd name="connsiteX8" fmla="*/ 6202755 w 7568989"/>
              <a:gd name="connsiteY8" fmla="*/ 0 h 6858000"/>
              <a:gd name="connsiteX9" fmla="*/ 6375189 w 7568989"/>
              <a:gd name="connsiteY9" fmla="*/ 0 h 6858000"/>
              <a:gd name="connsiteX10" fmla="*/ 6418655 w 7568989"/>
              <a:gd name="connsiteY10" fmla="*/ 0 h 6858000"/>
              <a:gd name="connsiteX11" fmla="*/ 6591089 w 7568989"/>
              <a:gd name="connsiteY11" fmla="*/ 0 h 6858000"/>
              <a:gd name="connsiteX12" fmla="*/ 7180655 w 7568989"/>
              <a:gd name="connsiteY12" fmla="*/ 0 h 6858000"/>
              <a:gd name="connsiteX13" fmla="*/ 7353089 w 7568989"/>
              <a:gd name="connsiteY13" fmla="*/ 0 h 6858000"/>
              <a:gd name="connsiteX14" fmla="*/ 7396555 w 7568989"/>
              <a:gd name="connsiteY14" fmla="*/ 0 h 6858000"/>
              <a:gd name="connsiteX15" fmla="*/ 7568989 w 7568989"/>
              <a:gd name="connsiteY15" fmla="*/ 0 h 6858000"/>
              <a:gd name="connsiteX16" fmla="*/ 7568989 w 7568989"/>
              <a:gd name="connsiteY16" fmla="*/ 6858000 h 6858000"/>
              <a:gd name="connsiteX17" fmla="*/ 7396555 w 7568989"/>
              <a:gd name="connsiteY17" fmla="*/ 6858000 h 6858000"/>
              <a:gd name="connsiteX18" fmla="*/ 7353089 w 7568989"/>
              <a:gd name="connsiteY18" fmla="*/ 6858000 h 6858000"/>
              <a:gd name="connsiteX19" fmla="*/ 7180655 w 7568989"/>
              <a:gd name="connsiteY19" fmla="*/ 6858000 h 6858000"/>
              <a:gd name="connsiteX20" fmla="*/ 6591089 w 7568989"/>
              <a:gd name="connsiteY20" fmla="*/ 6858000 h 6858000"/>
              <a:gd name="connsiteX21" fmla="*/ 6418655 w 7568989"/>
              <a:gd name="connsiteY21" fmla="*/ 6858000 h 6858000"/>
              <a:gd name="connsiteX22" fmla="*/ 6375189 w 7568989"/>
              <a:gd name="connsiteY22" fmla="*/ 6858000 h 6858000"/>
              <a:gd name="connsiteX23" fmla="*/ 6202755 w 7568989"/>
              <a:gd name="connsiteY23" fmla="*/ 6858000 h 6858000"/>
              <a:gd name="connsiteX24" fmla="*/ 1385594 w 7568989"/>
              <a:gd name="connsiteY24" fmla="*/ 6858000 h 6858000"/>
              <a:gd name="connsiteX25" fmla="*/ 1213159 w 7568989"/>
              <a:gd name="connsiteY25" fmla="*/ 6858000 h 6858000"/>
              <a:gd name="connsiteX26" fmla="*/ 1169694 w 7568989"/>
              <a:gd name="connsiteY26" fmla="*/ 6858000 h 6858000"/>
              <a:gd name="connsiteX27" fmla="*/ 997259 w 7568989"/>
              <a:gd name="connsiteY27" fmla="*/ 6858000 h 6858000"/>
              <a:gd name="connsiteX28" fmla="*/ 407693 w 7568989"/>
              <a:gd name="connsiteY28" fmla="*/ 6858000 h 6858000"/>
              <a:gd name="connsiteX29" fmla="*/ 235259 w 7568989"/>
              <a:gd name="connsiteY29" fmla="*/ 6858000 h 6858000"/>
              <a:gd name="connsiteX30" fmla="*/ 191793 w 7568989"/>
              <a:gd name="connsiteY30" fmla="*/ 6858000 h 6858000"/>
              <a:gd name="connsiteX31" fmla="*/ 19359 w 7568989"/>
              <a:gd name="connsiteY31" fmla="*/ 6858000 h 6858000"/>
              <a:gd name="connsiteX32" fmla="*/ 17996 w 7568989"/>
              <a:gd name="connsiteY32" fmla="*/ 6849955 h 6858000"/>
              <a:gd name="connsiteX33" fmla="*/ 524525 w 7568989"/>
              <a:gd name="connsiteY33" fmla="*/ 5157900 h 6858000"/>
              <a:gd name="connsiteX34" fmla="*/ 1050926 w 7568989"/>
              <a:gd name="connsiteY34" fmla="*/ 4776304 h 6858000"/>
              <a:gd name="connsiteX35" fmla="*/ 2678933 w 7568989"/>
              <a:gd name="connsiteY35" fmla="*/ 1666078 h 6858000"/>
              <a:gd name="connsiteX36" fmla="*/ 3070301 w 7568989"/>
              <a:gd name="connsiteY36" fmla="*/ 18871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7568989" h="6858000">
                <a:moveTo>
                  <a:pt x="3196333" y="0"/>
                </a:moveTo>
                <a:lnTo>
                  <a:pt x="3368768" y="0"/>
                </a:lnTo>
                <a:lnTo>
                  <a:pt x="3412233" y="0"/>
                </a:lnTo>
                <a:lnTo>
                  <a:pt x="3584668" y="0"/>
                </a:lnTo>
                <a:lnTo>
                  <a:pt x="4174233" y="0"/>
                </a:lnTo>
                <a:lnTo>
                  <a:pt x="4346668" y="0"/>
                </a:lnTo>
                <a:lnTo>
                  <a:pt x="4390133" y="0"/>
                </a:lnTo>
                <a:lnTo>
                  <a:pt x="4562568" y="0"/>
                </a:lnTo>
                <a:lnTo>
                  <a:pt x="6202755" y="0"/>
                </a:lnTo>
                <a:lnTo>
                  <a:pt x="6375189" y="0"/>
                </a:lnTo>
                <a:lnTo>
                  <a:pt x="6418655" y="0"/>
                </a:lnTo>
                <a:lnTo>
                  <a:pt x="6591089" y="0"/>
                </a:lnTo>
                <a:lnTo>
                  <a:pt x="7180655" y="0"/>
                </a:lnTo>
                <a:lnTo>
                  <a:pt x="7353089" y="0"/>
                </a:lnTo>
                <a:lnTo>
                  <a:pt x="7396555" y="0"/>
                </a:lnTo>
                <a:lnTo>
                  <a:pt x="7568989" y="0"/>
                </a:lnTo>
                <a:lnTo>
                  <a:pt x="7568989" y="6858000"/>
                </a:lnTo>
                <a:lnTo>
                  <a:pt x="7396555" y="6858000"/>
                </a:lnTo>
                <a:lnTo>
                  <a:pt x="7353089" y="6858000"/>
                </a:lnTo>
                <a:lnTo>
                  <a:pt x="7180655" y="6858000"/>
                </a:lnTo>
                <a:lnTo>
                  <a:pt x="6591089" y="6858000"/>
                </a:lnTo>
                <a:lnTo>
                  <a:pt x="6418655" y="6858000"/>
                </a:lnTo>
                <a:lnTo>
                  <a:pt x="6375189" y="6858000"/>
                </a:lnTo>
                <a:lnTo>
                  <a:pt x="6202755" y="6858000"/>
                </a:lnTo>
                <a:lnTo>
                  <a:pt x="1385594" y="6858000"/>
                </a:lnTo>
                <a:lnTo>
                  <a:pt x="1213159" y="6858000"/>
                </a:lnTo>
                <a:lnTo>
                  <a:pt x="1169694" y="6858000"/>
                </a:lnTo>
                <a:lnTo>
                  <a:pt x="997259" y="6858000"/>
                </a:lnTo>
                <a:lnTo>
                  <a:pt x="407693" y="6858000"/>
                </a:lnTo>
                <a:lnTo>
                  <a:pt x="235259" y="6858000"/>
                </a:lnTo>
                <a:lnTo>
                  <a:pt x="191793" y="6858000"/>
                </a:lnTo>
                <a:lnTo>
                  <a:pt x="19359" y="6858000"/>
                </a:lnTo>
                <a:lnTo>
                  <a:pt x="17996" y="6849955"/>
                </a:lnTo>
                <a:cubicBezTo>
                  <a:pt x="-59197" y="6243442"/>
                  <a:pt x="112360" y="5604070"/>
                  <a:pt x="524525" y="5157900"/>
                </a:cubicBezTo>
                <a:cubicBezTo>
                  <a:pt x="682566" y="4986819"/>
                  <a:pt x="861468" y="4859893"/>
                  <a:pt x="1050926" y="4776304"/>
                </a:cubicBezTo>
                <a:cubicBezTo>
                  <a:pt x="2276869" y="4200459"/>
                  <a:pt x="2690367" y="3752272"/>
                  <a:pt x="2678933" y="1666078"/>
                </a:cubicBezTo>
                <a:cubicBezTo>
                  <a:pt x="2676233" y="1147067"/>
                  <a:pt x="2807627" y="628568"/>
                  <a:pt x="3070301" y="188711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DFB0509A-9658-3A4A-22B9-5E1F5C5004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0142780">
            <a:off x="5361783" y="726004"/>
            <a:ext cx="5115528" cy="6748857"/>
          </a:xfrm>
          <a:prstGeom prst="rect">
            <a:avLst/>
          </a:prstGeom>
        </p:spPr>
      </p:pic>
      <p:grpSp>
        <p:nvGrpSpPr>
          <p:cNvPr id="13" name="Groupe 12">
            <a:extLst>
              <a:ext uri="{FF2B5EF4-FFF2-40B4-BE49-F238E27FC236}">
                <a16:creationId xmlns:a16="http://schemas.microsoft.com/office/drawing/2014/main" id="{75EC38C0-32CA-EBDB-EEBA-F05214803060}"/>
              </a:ext>
            </a:extLst>
          </p:cNvPr>
          <p:cNvGrpSpPr/>
          <p:nvPr/>
        </p:nvGrpSpPr>
        <p:grpSpPr>
          <a:xfrm>
            <a:off x="572667" y="487521"/>
            <a:ext cx="364153" cy="284070"/>
            <a:chOff x="1148496" y="1062130"/>
            <a:chExt cx="364153" cy="284070"/>
          </a:xfrm>
        </p:grpSpPr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9BA75D0B-9867-5786-53D1-9EF00C9D74AE}"/>
                </a:ext>
              </a:extLst>
            </p:cNvPr>
            <p:cNvSpPr/>
            <p:nvPr/>
          </p:nvSpPr>
          <p:spPr>
            <a:xfrm>
              <a:off x="1148496" y="1062130"/>
              <a:ext cx="284156" cy="284070"/>
            </a:xfrm>
            <a:custGeom>
              <a:avLst/>
              <a:gdLst>
                <a:gd name="connsiteX0" fmla="*/ 1927193 w 3012185"/>
                <a:gd name="connsiteY0" fmla="*/ 3011281 h 3011281"/>
                <a:gd name="connsiteX1" fmla="*/ 1159955 w 3012185"/>
                <a:gd name="connsiteY1" fmla="*/ 2694003 h 3011281"/>
                <a:gd name="connsiteX2" fmla="*/ 317754 w 3012185"/>
                <a:gd name="connsiteY2" fmla="*/ 1851803 h 3011281"/>
                <a:gd name="connsiteX3" fmla="*/ 0 w 3012185"/>
                <a:gd name="connsiteY3" fmla="*/ 1084564 h 3011281"/>
                <a:gd name="connsiteX4" fmla="*/ 317754 w 3012185"/>
                <a:gd name="connsiteY4" fmla="*/ 317325 h 3011281"/>
                <a:gd name="connsiteX5" fmla="*/ 1852232 w 3012185"/>
                <a:gd name="connsiteY5" fmla="*/ 317325 h 3011281"/>
                <a:gd name="connsiteX6" fmla="*/ 2694432 w 3012185"/>
                <a:gd name="connsiteY6" fmla="*/ 1159526 h 3011281"/>
                <a:gd name="connsiteX7" fmla="*/ 3012186 w 3012185"/>
                <a:gd name="connsiteY7" fmla="*/ 1926765 h 3011281"/>
                <a:gd name="connsiteX8" fmla="*/ 2694432 w 3012185"/>
                <a:gd name="connsiteY8" fmla="*/ 2694003 h 3011281"/>
                <a:gd name="connsiteX9" fmla="*/ 1927193 w 3012185"/>
                <a:gd name="connsiteY9" fmla="*/ 3011281 h 3011281"/>
                <a:gd name="connsiteX10" fmla="*/ 1084993 w 3012185"/>
                <a:gd name="connsiteY10" fmla="*/ 480012 h 3011281"/>
                <a:gd name="connsiteX11" fmla="*/ 657320 w 3012185"/>
                <a:gd name="connsiteY11" fmla="*/ 656892 h 3011281"/>
                <a:gd name="connsiteX12" fmla="*/ 480155 w 3012185"/>
                <a:gd name="connsiteY12" fmla="*/ 1084564 h 3011281"/>
                <a:gd name="connsiteX13" fmla="*/ 657320 w 3012185"/>
                <a:gd name="connsiteY13" fmla="*/ 1512237 h 3011281"/>
                <a:gd name="connsiteX14" fmla="*/ 1499521 w 3012185"/>
                <a:gd name="connsiteY14" fmla="*/ 2354437 h 3011281"/>
                <a:gd name="connsiteX15" fmla="*/ 2354961 w 3012185"/>
                <a:gd name="connsiteY15" fmla="*/ 2354437 h 3011281"/>
                <a:gd name="connsiteX16" fmla="*/ 2532126 w 3012185"/>
                <a:gd name="connsiteY16" fmla="*/ 1926765 h 3011281"/>
                <a:gd name="connsiteX17" fmla="*/ 2354961 w 3012185"/>
                <a:gd name="connsiteY17" fmla="*/ 1499092 h 3011281"/>
                <a:gd name="connsiteX18" fmla="*/ 1512761 w 3012185"/>
                <a:gd name="connsiteY18" fmla="*/ 656892 h 3011281"/>
                <a:gd name="connsiteX19" fmla="*/ 1084993 w 3012185"/>
                <a:gd name="connsiteY19" fmla="*/ 480012 h 301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12185" h="3011281">
                  <a:moveTo>
                    <a:pt x="1927193" y="3011281"/>
                  </a:moveTo>
                  <a:cubicBezTo>
                    <a:pt x="1649349" y="3011281"/>
                    <a:pt x="1371505" y="2905554"/>
                    <a:pt x="1159955" y="2694003"/>
                  </a:cubicBezTo>
                  <a:lnTo>
                    <a:pt x="317754" y="1851803"/>
                  </a:lnTo>
                  <a:cubicBezTo>
                    <a:pt x="112871" y="1646825"/>
                    <a:pt x="0" y="1374410"/>
                    <a:pt x="0" y="1084564"/>
                  </a:cubicBezTo>
                  <a:cubicBezTo>
                    <a:pt x="0" y="794718"/>
                    <a:pt x="112871" y="522303"/>
                    <a:pt x="317754" y="317325"/>
                  </a:cubicBezTo>
                  <a:cubicBezTo>
                    <a:pt x="740855" y="-105775"/>
                    <a:pt x="1429131" y="-105775"/>
                    <a:pt x="1852232" y="317325"/>
                  </a:cubicBezTo>
                  <a:lnTo>
                    <a:pt x="2694432" y="1159526"/>
                  </a:lnTo>
                  <a:cubicBezTo>
                    <a:pt x="2899410" y="1364504"/>
                    <a:pt x="3012186" y="1636919"/>
                    <a:pt x="3012186" y="1926765"/>
                  </a:cubicBezTo>
                  <a:cubicBezTo>
                    <a:pt x="3012186" y="2216611"/>
                    <a:pt x="2899315" y="2489025"/>
                    <a:pt x="2694432" y="2694003"/>
                  </a:cubicBezTo>
                  <a:cubicBezTo>
                    <a:pt x="2489549" y="2898982"/>
                    <a:pt x="2205038" y="3011281"/>
                    <a:pt x="1927193" y="3011281"/>
                  </a:cubicBezTo>
                  <a:close/>
                  <a:moveTo>
                    <a:pt x="1084993" y="480012"/>
                  </a:moveTo>
                  <a:cubicBezTo>
                    <a:pt x="930116" y="480012"/>
                    <a:pt x="775240" y="538972"/>
                    <a:pt x="657320" y="656892"/>
                  </a:cubicBezTo>
                  <a:cubicBezTo>
                    <a:pt x="543116" y="771096"/>
                    <a:pt x="480155" y="923020"/>
                    <a:pt x="480155" y="1084564"/>
                  </a:cubicBezTo>
                  <a:cubicBezTo>
                    <a:pt x="480155" y="1246108"/>
                    <a:pt x="543020" y="1398032"/>
                    <a:pt x="657320" y="1512237"/>
                  </a:cubicBezTo>
                  <a:lnTo>
                    <a:pt x="1499521" y="2354437"/>
                  </a:lnTo>
                  <a:cubicBezTo>
                    <a:pt x="1735360" y="2590276"/>
                    <a:pt x="2119122" y="2590276"/>
                    <a:pt x="2354961" y="2354437"/>
                  </a:cubicBezTo>
                  <a:cubicBezTo>
                    <a:pt x="2469166" y="2240233"/>
                    <a:pt x="2532126" y="2088309"/>
                    <a:pt x="2532126" y="1926765"/>
                  </a:cubicBezTo>
                  <a:cubicBezTo>
                    <a:pt x="2532126" y="1765221"/>
                    <a:pt x="2469261" y="1613297"/>
                    <a:pt x="2354961" y="1499092"/>
                  </a:cubicBezTo>
                  <a:lnTo>
                    <a:pt x="1512761" y="656892"/>
                  </a:lnTo>
                  <a:cubicBezTo>
                    <a:pt x="1394841" y="538972"/>
                    <a:pt x="1239964" y="480012"/>
                    <a:pt x="1084993" y="480012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3F2CD340-99E7-F220-5EAA-A319E04C4421}"/>
                </a:ext>
              </a:extLst>
            </p:cNvPr>
            <p:cNvSpPr/>
            <p:nvPr/>
          </p:nvSpPr>
          <p:spPr>
            <a:xfrm>
              <a:off x="1228502" y="1062130"/>
              <a:ext cx="284147" cy="284070"/>
            </a:xfrm>
            <a:custGeom>
              <a:avLst/>
              <a:gdLst>
                <a:gd name="connsiteX0" fmla="*/ 1084993 w 3012090"/>
                <a:gd name="connsiteY0" fmla="*/ 3011281 h 3011281"/>
                <a:gd name="connsiteX1" fmla="*/ 317754 w 3012090"/>
                <a:gd name="connsiteY1" fmla="*/ 2694003 h 3011281"/>
                <a:gd name="connsiteX2" fmla="*/ 0 w 3012090"/>
                <a:gd name="connsiteY2" fmla="*/ 1926765 h 3011281"/>
                <a:gd name="connsiteX3" fmla="*/ 317754 w 3012090"/>
                <a:gd name="connsiteY3" fmla="*/ 1159526 h 3011281"/>
                <a:gd name="connsiteX4" fmla="*/ 1159955 w 3012090"/>
                <a:gd name="connsiteY4" fmla="*/ 317325 h 3011281"/>
                <a:gd name="connsiteX5" fmla="*/ 2694337 w 3012090"/>
                <a:gd name="connsiteY5" fmla="*/ 317325 h 3011281"/>
                <a:gd name="connsiteX6" fmla="*/ 3012091 w 3012090"/>
                <a:gd name="connsiteY6" fmla="*/ 1084564 h 3011281"/>
                <a:gd name="connsiteX7" fmla="*/ 2694337 w 3012090"/>
                <a:gd name="connsiteY7" fmla="*/ 1851803 h 3011281"/>
                <a:gd name="connsiteX8" fmla="*/ 1852136 w 3012090"/>
                <a:gd name="connsiteY8" fmla="*/ 2694003 h 3011281"/>
                <a:gd name="connsiteX9" fmla="*/ 1084898 w 3012090"/>
                <a:gd name="connsiteY9" fmla="*/ 3011281 h 3011281"/>
                <a:gd name="connsiteX10" fmla="*/ 1927098 w 3012090"/>
                <a:gd name="connsiteY10" fmla="*/ 480012 h 3011281"/>
                <a:gd name="connsiteX11" fmla="*/ 1499426 w 3012090"/>
                <a:gd name="connsiteY11" fmla="*/ 656892 h 3011281"/>
                <a:gd name="connsiteX12" fmla="*/ 657225 w 3012090"/>
                <a:gd name="connsiteY12" fmla="*/ 1499092 h 3011281"/>
                <a:gd name="connsiteX13" fmla="*/ 480060 w 3012090"/>
                <a:gd name="connsiteY13" fmla="*/ 1926765 h 3011281"/>
                <a:gd name="connsiteX14" fmla="*/ 657225 w 3012090"/>
                <a:gd name="connsiteY14" fmla="*/ 2354437 h 3011281"/>
                <a:gd name="connsiteX15" fmla="*/ 1512570 w 3012090"/>
                <a:gd name="connsiteY15" fmla="*/ 2354437 h 3011281"/>
                <a:gd name="connsiteX16" fmla="*/ 2354771 w 3012090"/>
                <a:gd name="connsiteY16" fmla="*/ 1512237 h 3011281"/>
                <a:gd name="connsiteX17" fmla="*/ 2531935 w 3012090"/>
                <a:gd name="connsiteY17" fmla="*/ 1084564 h 3011281"/>
                <a:gd name="connsiteX18" fmla="*/ 2354771 w 3012090"/>
                <a:gd name="connsiteY18" fmla="*/ 656892 h 3011281"/>
                <a:gd name="connsiteX19" fmla="*/ 1927098 w 3012090"/>
                <a:gd name="connsiteY19" fmla="*/ 480012 h 301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12090" h="3011281">
                  <a:moveTo>
                    <a:pt x="1084993" y="3011281"/>
                  </a:moveTo>
                  <a:cubicBezTo>
                    <a:pt x="807149" y="3011281"/>
                    <a:pt x="529304" y="2905554"/>
                    <a:pt x="317754" y="2694003"/>
                  </a:cubicBezTo>
                  <a:cubicBezTo>
                    <a:pt x="106204" y="2482453"/>
                    <a:pt x="0" y="2216611"/>
                    <a:pt x="0" y="1926765"/>
                  </a:cubicBezTo>
                  <a:cubicBezTo>
                    <a:pt x="0" y="1636919"/>
                    <a:pt x="112871" y="1364504"/>
                    <a:pt x="317754" y="1159526"/>
                  </a:cubicBezTo>
                  <a:lnTo>
                    <a:pt x="1159955" y="317325"/>
                  </a:lnTo>
                  <a:cubicBezTo>
                    <a:pt x="1582960" y="-105775"/>
                    <a:pt x="2271332" y="-105775"/>
                    <a:pt x="2694337" y="317325"/>
                  </a:cubicBezTo>
                  <a:cubicBezTo>
                    <a:pt x="2899315" y="522303"/>
                    <a:pt x="3012091" y="794718"/>
                    <a:pt x="3012091" y="1084564"/>
                  </a:cubicBezTo>
                  <a:cubicBezTo>
                    <a:pt x="3012091" y="1374410"/>
                    <a:pt x="2899220" y="1646825"/>
                    <a:pt x="2694337" y="1851803"/>
                  </a:cubicBezTo>
                  <a:lnTo>
                    <a:pt x="1852136" y="2694003"/>
                  </a:lnTo>
                  <a:cubicBezTo>
                    <a:pt x="1640586" y="2905554"/>
                    <a:pt x="1362742" y="3011281"/>
                    <a:pt x="1084898" y="3011281"/>
                  </a:cubicBezTo>
                  <a:close/>
                  <a:moveTo>
                    <a:pt x="1927098" y="480012"/>
                  </a:moveTo>
                  <a:cubicBezTo>
                    <a:pt x="1772222" y="480012"/>
                    <a:pt x="1617345" y="538972"/>
                    <a:pt x="1499426" y="656892"/>
                  </a:cubicBezTo>
                  <a:lnTo>
                    <a:pt x="657225" y="1499092"/>
                  </a:lnTo>
                  <a:cubicBezTo>
                    <a:pt x="543020" y="1613297"/>
                    <a:pt x="480060" y="1765221"/>
                    <a:pt x="480060" y="1926765"/>
                  </a:cubicBezTo>
                  <a:cubicBezTo>
                    <a:pt x="480060" y="2088309"/>
                    <a:pt x="542925" y="2240233"/>
                    <a:pt x="657225" y="2354437"/>
                  </a:cubicBezTo>
                  <a:cubicBezTo>
                    <a:pt x="893064" y="2590276"/>
                    <a:pt x="1276731" y="2590276"/>
                    <a:pt x="1512570" y="2354437"/>
                  </a:cubicBezTo>
                  <a:lnTo>
                    <a:pt x="2354771" y="1512237"/>
                  </a:lnTo>
                  <a:cubicBezTo>
                    <a:pt x="2468975" y="1398032"/>
                    <a:pt x="2531935" y="1246108"/>
                    <a:pt x="2531935" y="1084564"/>
                  </a:cubicBezTo>
                  <a:cubicBezTo>
                    <a:pt x="2531935" y="923020"/>
                    <a:pt x="2469071" y="771096"/>
                    <a:pt x="2354771" y="656892"/>
                  </a:cubicBezTo>
                  <a:cubicBezTo>
                    <a:pt x="2236851" y="538972"/>
                    <a:pt x="2081975" y="480012"/>
                    <a:pt x="1927098" y="480012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D7AA67F9-D096-5144-7CB3-C759E6DFB426}"/>
              </a:ext>
            </a:extLst>
          </p:cNvPr>
          <p:cNvGrpSpPr/>
          <p:nvPr/>
        </p:nvGrpSpPr>
        <p:grpSpPr>
          <a:xfrm>
            <a:off x="1253744" y="449942"/>
            <a:ext cx="10444847" cy="359228"/>
            <a:chOff x="1253744" y="406400"/>
            <a:chExt cx="10444847" cy="359228"/>
          </a:xfrm>
        </p:grpSpPr>
        <p:sp>
          <p:nvSpPr>
            <p:cNvPr id="14" name="Rectangle : coins arrondis 13">
              <a:extLst>
                <a:ext uri="{FF2B5EF4-FFF2-40B4-BE49-F238E27FC236}">
                  <a16:creationId xmlns:a16="http://schemas.microsoft.com/office/drawing/2014/main" id="{DD23CA5F-738F-E2EF-9162-7CC2CFFF4834}"/>
                </a:ext>
              </a:extLst>
            </p:cNvPr>
            <p:cNvSpPr/>
            <p:nvPr/>
          </p:nvSpPr>
          <p:spPr>
            <a:xfrm>
              <a:off x="1253744" y="406400"/>
              <a:ext cx="1474942" cy="359228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chemeClr val="bg1"/>
                  </a:solidFill>
                  <a:latin typeface="Montserrat Alternates SemiBold" panose="00000700000000000000" pitchFamily="2" charset="0"/>
                </a:rPr>
                <a:t>Enjeu</a:t>
              </a:r>
            </a:p>
          </p:txBody>
        </p:sp>
        <p:sp>
          <p:nvSpPr>
            <p:cNvPr id="15" name="Rectangle : coins arrondis 14">
              <a:extLst>
                <a:ext uri="{FF2B5EF4-FFF2-40B4-BE49-F238E27FC236}">
                  <a16:creationId xmlns:a16="http://schemas.microsoft.com/office/drawing/2014/main" id="{28D68F52-8575-7B24-48FC-9F38BF6CCD40}"/>
                </a:ext>
              </a:extLst>
            </p:cNvPr>
            <p:cNvSpPr/>
            <p:nvPr/>
          </p:nvSpPr>
          <p:spPr>
            <a:xfrm>
              <a:off x="3047725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chemeClr val="tx2">
                      <a:lumMod val="40000"/>
                      <a:lumOff val="60000"/>
                    </a:schemeClr>
                  </a:solidFill>
                </a:rPr>
                <a:t>Mission</a:t>
              </a:r>
            </a:p>
          </p:txBody>
        </p:sp>
        <p:sp>
          <p:nvSpPr>
            <p:cNvPr id="16" name="Rectangle : coins arrondis 15">
              <a:extLst>
                <a:ext uri="{FF2B5EF4-FFF2-40B4-BE49-F238E27FC236}">
                  <a16:creationId xmlns:a16="http://schemas.microsoft.com/office/drawing/2014/main" id="{1EA8F356-9237-5903-0999-2A0FDBAFEF84}"/>
                </a:ext>
              </a:extLst>
            </p:cNvPr>
            <p:cNvSpPr/>
            <p:nvPr/>
          </p:nvSpPr>
          <p:spPr>
            <a:xfrm>
              <a:off x="6635687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chemeClr val="tx2">
                      <a:lumMod val="40000"/>
                      <a:lumOff val="60000"/>
                    </a:schemeClr>
                  </a:solidFill>
                </a:rPr>
                <a:t>Fonctionnement</a:t>
              </a:r>
            </a:p>
          </p:txBody>
        </p:sp>
        <p:sp>
          <p:nvSpPr>
            <p:cNvPr id="17" name="Rectangle : coins arrondis 16">
              <a:extLst>
                <a:ext uri="{FF2B5EF4-FFF2-40B4-BE49-F238E27FC236}">
                  <a16:creationId xmlns:a16="http://schemas.microsoft.com/office/drawing/2014/main" id="{BC07DB99-1CE0-EDAC-DCAA-738888C49958}"/>
                </a:ext>
              </a:extLst>
            </p:cNvPr>
            <p:cNvSpPr/>
            <p:nvPr/>
          </p:nvSpPr>
          <p:spPr>
            <a:xfrm>
              <a:off x="8429668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chemeClr val="tx2">
                      <a:lumMod val="40000"/>
                      <a:lumOff val="60000"/>
                    </a:schemeClr>
                  </a:solidFill>
                </a:rPr>
                <a:t>Offre</a:t>
              </a:r>
            </a:p>
          </p:txBody>
        </p:sp>
        <p:sp>
          <p:nvSpPr>
            <p:cNvPr id="18" name="Rectangle : coins arrondis 17">
              <a:extLst>
                <a:ext uri="{FF2B5EF4-FFF2-40B4-BE49-F238E27FC236}">
                  <a16:creationId xmlns:a16="http://schemas.microsoft.com/office/drawing/2014/main" id="{EEDE93FF-F45F-D3CB-E898-C4C08AAE9F69}"/>
                </a:ext>
              </a:extLst>
            </p:cNvPr>
            <p:cNvSpPr/>
            <p:nvPr/>
          </p:nvSpPr>
          <p:spPr>
            <a:xfrm>
              <a:off x="4841706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chemeClr val="tx2">
                      <a:lumMod val="40000"/>
                      <a:lumOff val="60000"/>
                    </a:schemeClr>
                  </a:solidFill>
                </a:rPr>
                <a:t>Solution</a:t>
              </a:r>
            </a:p>
          </p:txBody>
        </p:sp>
        <p:sp>
          <p:nvSpPr>
            <p:cNvPr id="19" name="Rectangle : coins arrondis 18">
              <a:extLst>
                <a:ext uri="{FF2B5EF4-FFF2-40B4-BE49-F238E27FC236}">
                  <a16:creationId xmlns:a16="http://schemas.microsoft.com/office/drawing/2014/main" id="{DC68E1C3-1729-0A1E-F68D-5DEF229C0387}"/>
                </a:ext>
              </a:extLst>
            </p:cNvPr>
            <p:cNvSpPr/>
            <p:nvPr/>
          </p:nvSpPr>
          <p:spPr>
            <a:xfrm>
              <a:off x="10223649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chemeClr val="tx2">
                      <a:lumMod val="40000"/>
                      <a:lumOff val="60000"/>
                    </a:schemeClr>
                  </a:solidFill>
                </a:rPr>
                <a:t>Fondateur</a:t>
              </a:r>
            </a:p>
          </p:txBody>
        </p:sp>
      </p:grpSp>
      <p:sp>
        <p:nvSpPr>
          <p:cNvPr id="22" name="ZoneTexte 21">
            <a:extLst>
              <a:ext uri="{FF2B5EF4-FFF2-40B4-BE49-F238E27FC236}">
                <a16:creationId xmlns:a16="http://schemas.microsoft.com/office/drawing/2014/main" id="{CFF0534C-86A9-C529-C078-31936F439363}"/>
              </a:ext>
            </a:extLst>
          </p:cNvPr>
          <p:cNvSpPr txBox="1"/>
          <p:nvPr/>
        </p:nvSpPr>
        <p:spPr>
          <a:xfrm>
            <a:off x="572666" y="1471183"/>
            <a:ext cx="4490332" cy="83099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fr-FR" sz="4800" b="1" dirty="0">
                <a:solidFill>
                  <a:schemeClr val="accent1"/>
                </a:solidFill>
                <a:latin typeface="+mj-lt"/>
              </a:rPr>
              <a:t>MÉDICAMENTS</a:t>
            </a:r>
            <a:endParaRPr lang="fr-FR" sz="2400" dirty="0">
              <a:solidFill>
                <a:schemeClr val="accent1"/>
              </a:solidFill>
              <a:latin typeface="Montserrat Alternates SemiBold" panose="00000700000000000000" pitchFamily="2" charset="0"/>
            </a:endParaRP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D327B010-367B-A3D2-C439-35AFA4A1A790}"/>
              </a:ext>
            </a:extLst>
          </p:cNvPr>
          <p:cNvSpPr txBox="1"/>
          <p:nvPr/>
        </p:nvSpPr>
        <p:spPr>
          <a:xfrm>
            <a:off x="572667" y="2110502"/>
            <a:ext cx="3950000" cy="64633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kumimoji="0" lang="fr-FR" sz="3600" b="0" i="0" u="none" strike="noStrike" kern="1200" cap="none" spc="0" normalizeH="0" baseline="0" noProof="0" dirty="0">
                <a:ln>
                  <a:noFill/>
                </a:ln>
                <a:solidFill>
                  <a:srgbClr val="555D7D"/>
                </a:solidFill>
                <a:effectLst/>
                <a:uLnTx/>
                <a:uFillTx/>
                <a:latin typeface="Montserrat Alternates SemiBold" panose="00000700000000000000" pitchFamily="2" charset="0"/>
              </a:rPr>
              <a:t>le grand gâchis</a:t>
            </a:r>
            <a:endParaRPr lang="fr-FR" dirty="0">
              <a:solidFill>
                <a:srgbClr val="555D7D"/>
              </a:solidFill>
              <a:latin typeface="Montserrat Alternates SemiBold" panose="00000700000000000000" pitchFamily="2" charset="0"/>
            </a:endParaRP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BC252279-6066-E69F-09AA-D1BBB0958EC6}"/>
              </a:ext>
            </a:extLst>
          </p:cNvPr>
          <p:cNvSpPr txBox="1"/>
          <p:nvPr/>
        </p:nvSpPr>
        <p:spPr>
          <a:xfrm>
            <a:off x="572666" y="3184371"/>
            <a:ext cx="3307316" cy="95410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555D7D"/>
                </a:solidFill>
                <a:effectLst/>
                <a:uLnTx/>
                <a:uFillTx/>
                <a:ea typeface="+mn-ea"/>
                <a:cs typeface="+mn-cs"/>
              </a:rPr>
              <a:t>Nos placards débordent </a:t>
            </a:r>
            <a:b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555D7D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555D7D"/>
                </a:solidFill>
                <a:effectLst/>
                <a:uLnTx/>
                <a:uFillTx/>
                <a:ea typeface="+mn-ea"/>
                <a:cs typeface="+mn-cs"/>
              </a:rPr>
              <a:t>de médicaments </a:t>
            </a:r>
            <a:b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555D7D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555D7D"/>
                </a:solidFill>
                <a:effectLst/>
                <a:uLnTx/>
                <a:uFillTx/>
                <a:ea typeface="+mn-ea"/>
                <a:cs typeface="+mn-cs"/>
              </a:rPr>
              <a:t>que nous n'utilisons pas. </a:t>
            </a:r>
          </a:p>
          <a:p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555D7D"/>
                </a:solidFill>
                <a:effectLst/>
                <a:uLnTx/>
                <a:uFillTx/>
              </a:rPr>
              <a:t>Nous en gaspillons plus d'un tiers. 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1B36A555-A791-F85C-E466-6A542E14F744}"/>
              </a:ext>
            </a:extLst>
          </p:cNvPr>
          <p:cNvSpPr txBox="1"/>
          <p:nvPr/>
        </p:nvSpPr>
        <p:spPr>
          <a:xfrm>
            <a:off x="572666" y="4566016"/>
            <a:ext cx="4168129" cy="132343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srgbClr val="555D7D"/>
                </a:solidFill>
                <a:effectLst/>
                <a:uLnTx/>
                <a:uFillTx/>
                <a:latin typeface="Montserrat Alternates SemiBold" panose="00000700000000000000" pitchFamily="2" charset="0"/>
                <a:ea typeface="+mn-ea"/>
                <a:cs typeface="+mn-cs"/>
              </a:rPr>
              <a:t>La quantité, le coût, </a:t>
            </a:r>
            <a:b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srgbClr val="555D7D"/>
                </a:solidFill>
                <a:effectLst/>
                <a:uLnTx/>
                <a:uFillTx/>
                <a:latin typeface="Montserrat Alternates SemiBold" panose="00000700000000000000" pitchFamily="2" charset="0"/>
                <a:ea typeface="+mn-ea"/>
                <a:cs typeface="+mn-cs"/>
              </a:rPr>
            </a:b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srgbClr val="555D7D"/>
                </a:solidFill>
                <a:effectLst/>
                <a:uLnTx/>
                <a:uFillTx/>
                <a:latin typeface="Montserrat Alternates SemiBold" panose="00000700000000000000" pitchFamily="2" charset="0"/>
                <a:ea typeface="+mn-ea"/>
                <a:cs typeface="+mn-cs"/>
              </a:rPr>
              <a:t>le poids de ce gaspillage</a:t>
            </a:r>
            <a:br>
              <a:rPr lang="fr-FR" sz="2400" dirty="0">
                <a:solidFill>
                  <a:srgbClr val="9097B3"/>
                </a:solidFill>
                <a:latin typeface="Montserrat Alternates SemiBold" panose="00000700000000000000" pitchFamily="2" charset="0"/>
              </a:rPr>
            </a:br>
            <a:r>
              <a:rPr kumimoji="0" lang="fr-FR" sz="32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ontserrat Alternates ExtraBold" panose="00000900000000000000" pitchFamily="2" charset="0"/>
              </a:rPr>
              <a:t>sont énormes</a:t>
            </a:r>
          </a:p>
        </p:txBody>
      </p: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335E2C43-80A4-32B2-40AE-65F0A4EFA3CC}"/>
              </a:ext>
            </a:extLst>
          </p:cNvPr>
          <p:cNvGrpSpPr/>
          <p:nvPr/>
        </p:nvGrpSpPr>
        <p:grpSpPr>
          <a:xfrm>
            <a:off x="3771972" y="5458460"/>
            <a:ext cx="814542" cy="302622"/>
            <a:chOff x="3771972" y="5318760"/>
            <a:chExt cx="814542" cy="302622"/>
          </a:xfrm>
        </p:grpSpPr>
        <p:sp>
          <p:nvSpPr>
            <p:cNvPr id="28" name="Rectangle : coins arrondis 27">
              <a:extLst>
                <a:ext uri="{FF2B5EF4-FFF2-40B4-BE49-F238E27FC236}">
                  <a16:creationId xmlns:a16="http://schemas.microsoft.com/office/drawing/2014/main" id="{6A6A37C4-FA4C-8D23-14DB-2CB9CDA8391E}"/>
                </a:ext>
              </a:extLst>
            </p:cNvPr>
            <p:cNvSpPr/>
            <p:nvPr/>
          </p:nvSpPr>
          <p:spPr>
            <a:xfrm>
              <a:off x="3771972" y="5318760"/>
              <a:ext cx="814542" cy="302622"/>
            </a:xfrm>
            <a:prstGeom prst="roundRect">
              <a:avLst>
                <a:gd name="adj" fmla="val 50000"/>
              </a:avLst>
            </a:prstGeom>
            <a:solidFill>
              <a:srgbClr val="4E966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100">
                <a:solidFill>
                  <a:schemeClr val="bg1"/>
                </a:solidFill>
                <a:latin typeface="Montserrat Alternates SemiBold" panose="00000700000000000000" pitchFamily="2" charset="0"/>
              </a:endParaRPr>
            </a:p>
          </p:txBody>
        </p:sp>
        <p:cxnSp>
          <p:nvCxnSpPr>
            <p:cNvPr id="30" name="Connecteur droit avec flèche 29">
              <a:extLst>
                <a:ext uri="{FF2B5EF4-FFF2-40B4-BE49-F238E27FC236}">
                  <a16:creationId xmlns:a16="http://schemas.microsoft.com/office/drawing/2014/main" id="{C4852B1F-DA97-A831-EE2F-4AC6E1D16010}"/>
                </a:ext>
              </a:extLst>
            </p:cNvPr>
            <p:cNvCxnSpPr>
              <a:cxnSpLocks/>
            </p:cNvCxnSpPr>
            <p:nvPr/>
          </p:nvCxnSpPr>
          <p:spPr>
            <a:xfrm>
              <a:off x="3950643" y="5470071"/>
              <a:ext cx="457200" cy="0"/>
            </a:xfrm>
            <a:prstGeom prst="straightConnector1">
              <a:avLst/>
            </a:prstGeom>
            <a:ln w="19050">
              <a:solidFill>
                <a:schemeClr val="bg1"/>
              </a:solidFill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ZoneTexte 31">
            <a:extLst>
              <a:ext uri="{FF2B5EF4-FFF2-40B4-BE49-F238E27FC236}">
                <a16:creationId xmlns:a16="http://schemas.microsoft.com/office/drawing/2014/main" id="{2CC091BE-3FCE-D26C-5CD8-7BD79AEE2734}"/>
              </a:ext>
            </a:extLst>
          </p:cNvPr>
          <p:cNvSpPr txBox="1"/>
          <p:nvPr/>
        </p:nvSpPr>
        <p:spPr>
          <a:xfrm>
            <a:off x="9154440" y="1375662"/>
            <a:ext cx="2531452" cy="6617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fr-FR" sz="2000" dirty="0">
                <a:solidFill>
                  <a:schemeClr val="accent1"/>
                </a:solidFill>
                <a:latin typeface="Montserrat Alternates ExtraBold" panose="00000900000000000000" pitchFamily="2" charset="0"/>
              </a:rPr>
              <a:t>17 600 tonnes </a:t>
            </a:r>
          </a:p>
          <a:p>
            <a:pPr>
              <a:spcBef>
                <a:spcPts val="600"/>
              </a:spcBef>
            </a:pPr>
            <a:r>
              <a:rPr lang="fr-FR" sz="1200" dirty="0">
                <a:solidFill>
                  <a:schemeClr val="tx2"/>
                </a:solidFill>
              </a:rPr>
              <a:t>jetées chaque année</a:t>
            </a:r>
            <a:r>
              <a:rPr lang="fr-FR" sz="1200" baseline="30000" dirty="0">
                <a:solidFill>
                  <a:schemeClr val="tx2"/>
                </a:solidFill>
              </a:rPr>
              <a:t>1</a:t>
            </a:r>
            <a:endParaRPr lang="fr-FR" sz="2000" baseline="30000" dirty="0">
              <a:solidFill>
                <a:schemeClr val="tx2"/>
              </a:solidFill>
            </a:endParaRPr>
          </a:p>
        </p:txBody>
      </p:sp>
      <p:cxnSp>
        <p:nvCxnSpPr>
          <p:cNvPr id="34" name="Connecteur droit 33">
            <a:extLst>
              <a:ext uri="{FF2B5EF4-FFF2-40B4-BE49-F238E27FC236}">
                <a16:creationId xmlns:a16="http://schemas.microsoft.com/office/drawing/2014/main" id="{FC455867-7A55-3C1E-AD8F-A3CDB3B6F5DE}"/>
              </a:ext>
            </a:extLst>
          </p:cNvPr>
          <p:cNvCxnSpPr>
            <a:cxnSpLocks/>
          </p:cNvCxnSpPr>
          <p:nvPr/>
        </p:nvCxnSpPr>
        <p:spPr>
          <a:xfrm>
            <a:off x="7086601" y="1732475"/>
            <a:ext cx="4013200" cy="0"/>
          </a:xfrm>
          <a:prstGeom prst="line">
            <a:avLst/>
          </a:prstGeom>
          <a:ln>
            <a:solidFill>
              <a:srgbClr val="4E96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ZoneTexte 37">
            <a:extLst>
              <a:ext uri="{FF2B5EF4-FFF2-40B4-BE49-F238E27FC236}">
                <a16:creationId xmlns:a16="http://schemas.microsoft.com/office/drawing/2014/main" id="{11212552-1B04-247C-CF61-8B4437B22359}"/>
              </a:ext>
            </a:extLst>
          </p:cNvPr>
          <p:cNvSpPr txBox="1"/>
          <p:nvPr/>
        </p:nvSpPr>
        <p:spPr>
          <a:xfrm>
            <a:off x="9154440" y="2409480"/>
            <a:ext cx="2531452" cy="6617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fr-FR" sz="2000">
                <a:solidFill>
                  <a:schemeClr val="accent1"/>
                </a:solidFill>
                <a:latin typeface="Montserrat Alternates ExtraBold" panose="00000900000000000000" pitchFamily="2" charset="0"/>
              </a:rPr>
              <a:t>123 millions € </a:t>
            </a:r>
          </a:p>
          <a:p>
            <a:pPr>
              <a:spcBef>
                <a:spcPts val="600"/>
              </a:spcBef>
            </a:pPr>
            <a:r>
              <a:rPr lang="fr-FR" sz="1200">
                <a:solidFill>
                  <a:schemeClr val="tx2"/>
                </a:solidFill>
              </a:rPr>
              <a:t>par mois</a:t>
            </a:r>
            <a:endParaRPr lang="fr-FR" sz="2000" baseline="30000">
              <a:solidFill>
                <a:schemeClr val="tx2"/>
              </a:solidFill>
            </a:endParaRP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7A43F6C2-7DA7-A7F0-A89E-56A1A5695DC0}"/>
              </a:ext>
            </a:extLst>
          </p:cNvPr>
          <p:cNvCxnSpPr>
            <a:cxnSpLocks/>
          </p:cNvCxnSpPr>
          <p:nvPr/>
        </p:nvCxnSpPr>
        <p:spPr>
          <a:xfrm>
            <a:off x="7670801" y="2786487"/>
            <a:ext cx="3441700" cy="0"/>
          </a:xfrm>
          <a:prstGeom prst="line">
            <a:avLst/>
          </a:prstGeom>
          <a:ln>
            <a:solidFill>
              <a:srgbClr val="4E96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ZoneTexte 41">
            <a:extLst>
              <a:ext uri="{FF2B5EF4-FFF2-40B4-BE49-F238E27FC236}">
                <a16:creationId xmlns:a16="http://schemas.microsoft.com/office/drawing/2014/main" id="{B86F034D-835B-C5E1-788D-94F41297AD50}"/>
              </a:ext>
            </a:extLst>
          </p:cNvPr>
          <p:cNvSpPr txBox="1"/>
          <p:nvPr/>
        </p:nvSpPr>
        <p:spPr>
          <a:xfrm>
            <a:off x="9154440" y="3443298"/>
            <a:ext cx="2531452" cy="6617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fr-FR" sz="2000">
                <a:solidFill>
                  <a:schemeClr val="accent1"/>
                </a:solidFill>
                <a:latin typeface="Montserrat Alternates ExtraBold" panose="00000900000000000000" pitchFamily="2" charset="0"/>
              </a:rPr>
              <a:t>1,5 milliards € </a:t>
            </a:r>
          </a:p>
          <a:p>
            <a:pPr>
              <a:spcBef>
                <a:spcPts val="600"/>
              </a:spcBef>
            </a:pPr>
            <a:r>
              <a:rPr lang="fr-FR" sz="1200">
                <a:solidFill>
                  <a:schemeClr val="tx2"/>
                </a:solidFill>
              </a:rPr>
              <a:t>par an</a:t>
            </a:r>
            <a:r>
              <a:rPr lang="fr-FR" sz="1200" baseline="30000">
                <a:solidFill>
                  <a:schemeClr val="tx2"/>
                </a:solidFill>
              </a:rPr>
              <a:t>2</a:t>
            </a:r>
            <a:endParaRPr lang="fr-FR" sz="2000" baseline="30000">
              <a:solidFill>
                <a:schemeClr val="tx2"/>
              </a:solidFill>
            </a:endParaRPr>
          </a:p>
        </p:txBody>
      </p:sp>
      <p:cxnSp>
        <p:nvCxnSpPr>
          <p:cNvPr id="43" name="Connecteur droit 42">
            <a:extLst>
              <a:ext uri="{FF2B5EF4-FFF2-40B4-BE49-F238E27FC236}">
                <a16:creationId xmlns:a16="http://schemas.microsoft.com/office/drawing/2014/main" id="{7DF313EA-BA8A-37E9-44D1-061624631BE3}"/>
              </a:ext>
            </a:extLst>
          </p:cNvPr>
          <p:cNvCxnSpPr>
            <a:cxnSpLocks/>
          </p:cNvCxnSpPr>
          <p:nvPr/>
        </p:nvCxnSpPr>
        <p:spPr>
          <a:xfrm>
            <a:off x="7670801" y="3827887"/>
            <a:ext cx="3479800" cy="0"/>
          </a:xfrm>
          <a:prstGeom prst="line">
            <a:avLst/>
          </a:prstGeom>
          <a:ln>
            <a:solidFill>
              <a:srgbClr val="4E96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cteur droit 49">
            <a:extLst>
              <a:ext uri="{FF2B5EF4-FFF2-40B4-BE49-F238E27FC236}">
                <a16:creationId xmlns:a16="http://schemas.microsoft.com/office/drawing/2014/main" id="{2DF88776-BDB0-AFA1-C34D-FAFEBD3ADC7C}"/>
              </a:ext>
            </a:extLst>
          </p:cNvPr>
          <p:cNvCxnSpPr>
            <a:cxnSpLocks/>
          </p:cNvCxnSpPr>
          <p:nvPr/>
        </p:nvCxnSpPr>
        <p:spPr>
          <a:xfrm>
            <a:off x="7670801" y="4846541"/>
            <a:ext cx="3975100" cy="0"/>
          </a:xfrm>
          <a:prstGeom prst="line">
            <a:avLst/>
          </a:prstGeom>
          <a:ln>
            <a:solidFill>
              <a:srgbClr val="4E96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Image 24">
            <a:extLst>
              <a:ext uri="{FF2B5EF4-FFF2-40B4-BE49-F238E27FC236}">
                <a16:creationId xmlns:a16="http://schemas.microsoft.com/office/drawing/2014/main" id="{7A606292-D58A-FE7D-5DF1-0C5A04CFCC3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42803" r="5822"/>
          <a:stretch/>
        </p:blipFill>
        <p:spPr>
          <a:xfrm>
            <a:off x="5043935" y="1117600"/>
            <a:ext cx="3932794" cy="4775200"/>
          </a:xfrm>
          <a:prstGeom prst="rect">
            <a:avLst/>
          </a:prstGeom>
          <a:effectLst/>
        </p:spPr>
      </p:pic>
      <p:sp>
        <p:nvSpPr>
          <p:cNvPr id="49" name="ZoneTexte 48">
            <a:extLst>
              <a:ext uri="{FF2B5EF4-FFF2-40B4-BE49-F238E27FC236}">
                <a16:creationId xmlns:a16="http://schemas.microsoft.com/office/drawing/2014/main" id="{E64D4F31-BDE6-71DE-B649-37AE5AEDB489}"/>
              </a:ext>
            </a:extLst>
          </p:cNvPr>
          <p:cNvSpPr txBox="1"/>
          <p:nvPr/>
        </p:nvSpPr>
        <p:spPr>
          <a:xfrm>
            <a:off x="9154439" y="4477116"/>
            <a:ext cx="3377043" cy="6617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fr-FR" sz="2000">
                <a:solidFill>
                  <a:schemeClr val="accent1"/>
                </a:solidFill>
                <a:latin typeface="Montserrat Alternates ExtraBold" panose="00000900000000000000" pitchFamily="2" charset="0"/>
              </a:rPr>
              <a:t>4% des émissions</a:t>
            </a:r>
          </a:p>
          <a:p>
            <a:pPr>
              <a:spcBef>
                <a:spcPts val="600"/>
              </a:spcBef>
            </a:pPr>
            <a:r>
              <a:rPr lang="fr-FR" sz="1200">
                <a:solidFill>
                  <a:schemeClr val="tx2"/>
                </a:solidFill>
              </a:rPr>
              <a:t>de GES dues aux médicaments</a:t>
            </a:r>
            <a:r>
              <a:rPr lang="fr-FR" sz="1200" baseline="30000">
                <a:solidFill>
                  <a:schemeClr val="tx2"/>
                </a:solidFill>
              </a:rPr>
              <a:t>3</a:t>
            </a:r>
            <a:endParaRPr lang="fr-FR" sz="2000" baseline="30000">
              <a:solidFill>
                <a:schemeClr val="tx2"/>
              </a:solidFill>
            </a:endParaRP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B3F9C7ED-F715-0B13-B60C-7819B14D3A2E}"/>
              </a:ext>
            </a:extLst>
          </p:cNvPr>
          <p:cNvGrpSpPr/>
          <p:nvPr/>
        </p:nvGrpSpPr>
        <p:grpSpPr>
          <a:xfrm>
            <a:off x="8751467" y="6256838"/>
            <a:ext cx="3154784" cy="215444"/>
            <a:chOff x="572667" y="6256838"/>
            <a:chExt cx="3154784" cy="215444"/>
          </a:xfrm>
        </p:grpSpPr>
        <p:sp>
          <p:nvSpPr>
            <p:cNvPr id="3" name="ZoneTexte 2">
              <a:extLst>
                <a:ext uri="{FF2B5EF4-FFF2-40B4-BE49-F238E27FC236}">
                  <a16:creationId xmlns:a16="http://schemas.microsoft.com/office/drawing/2014/main" id="{B62B3435-AB48-00A3-A2B2-627BAE99DCBC}"/>
                </a:ext>
              </a:extLst>
            </p:cNvPr>
            <p:cNvSpPr txBox="1"/>
            <p:nvPr/>
          </p:nvSpPr>
          <p:spPr>
            <a:xfrm>
              <a:off x="572667" y="6256838"/>
              <a:ext cx="3154784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800">
                  <a:solidFill>
                    <a:schemeClr val="tx2">
                      <a:lumMod val="40000"/>
                      <a:lumOff val="60000"/>
                    </a:schemeClr>
                  </a:solidFill>
                </a:rPr>
                <a:t>1.Le Quotidien 2. Source 3.Données baromètre Mercer </a:t>
              </a:r>
              <a:endParaRPr lang="fr-FR" sz="800">
                <a:solidFill>
                  <a:schemeClr val="tx2">
                    <a:lumMod val="40000"/>
                    <a:lumOff val="60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2" name="ZoneTexte 1">
              <a:hlinkClick r:id="rId5"/>
              <a:extLst>
                <a:ext uri="{FF2B5EF4-FFF2-40B4-BE49-F238E27FC236}">
                  <a16:creationId xmlns:a16="http://schemas.microsoft.com/office/drawing/2014/main" id="{40FFDEC1-CEA0-DE6C-5555-8224856E2250}"/>
                </a:ext>
              </a:extLst>
            </p:cNvPr>
            <p:cNvSpPr txBox="1"/>
            <p:nvPr/>
          </p:nvSpPr>
          <p:spPr>
            <a:xfrm>
              <a:off x="572668" y="6256838"/>
              <a:ext cx="822746" cy="215444"/>
            </a:xfrm>
            <a:prstGeom prst="rect">
              <a:avLst/>
            </a:prstGeom>
            <a:solidFill>
              <a:srgbClr val="FFFF00">
                <a:alpha val="0"/>
              </a:srgbClr>
            </a:solidFill>
          </p:spPr>
          <p:txBody>
            <a:bodyPr wrap="square">
              <a:spAutoFit/>
            </a:bodyPr>
            <a:lstStyle/>
            <a:p>
              <a:endParaRPr lang="fr-FR" sz="800">
                <a:noFill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4" name="ZoneTexte 3">
              <a:hlinkClick r:id="rId6"/>
              <a:extLst>
                <a:ext uri="{FF2B5EF4-FFF2-40B4-BE49-F238E27FC236}">
                  <a16:creationId xmlns:a16="http://schemas.microsoft.com/office/drawing/2014/main" id="{1113827C-CBD1-3ABD-149F-A045D0205AA3}"/>
                </a:ext>
              </a:extLst>
            </p:cNvPr>
            <p:cNvSpPr txBox="1"/>
            <p:nvPr/>
          </p:nvSpPr>
          <p:spPr>
            <a:xfrm>
              <a:off x="1395414" y="6256838"/>
              <a:ext cx="481011" cy="215444"/>
            </a:xfrm>
            <a:prstGeom prst="rect">
              <a:avLst/>
            </a:prstGeom>
            <a:solidFill>
              <a:srgbClr val="FFFF00">
                <a:alpha val="0"/>
              </a:srgbClr>
            </a:solidFill>
          </p:spPr>
          <p:txBody>
            <a:bodyPr wrap="square">
              <a:spAutoFit/>
            </a:bodyPr>
            <a:lstStyle/>
            <a:p>
              <a:endParaRPr lang="fr-FR" sz="800">
                <a:noFill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</p:grpSp>
      <p:sp>
        <p:nvSpPr>
          <p:cNvPr id="56" name="ZoneTexte 55">
            <a:extLst>
              <a:ext uri="{FF2B5EF4-FFF2-40B4-BE49-F238E27FC236}">
                <a16:creationId xmlns:a16="http://schemas.microsoft.com/office/drawing/2014/main" id="{6B199F35-FBDC-C2FA-E161-59397D6E686A}"/>
              </a:ext>
            </a:extLst>
          </p:cNvPr>
          <p:cNvSpPr txBox="1"/>
          <p:nvPr/>
        </p:nvSpPr>
        <p:spPr>
          <a:xfrm>
            <a:off x="9230841" y="5317132"/>
            <a:ext cx="246775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fr-FR" sz="1400">
                <a:solidFill>
                  <a:schemeClr val="tx2"/>
                </a:solidFill>
              </a:rPr>
              <a:t>Notre système de santé </a:t>
            </a:r>
            <a:br>
              <a:rPr lang="fr-FR" sz="1400">
                <a:solidFill>
                  <a:schemeClr val="tx2"/>
                </a:solidFill>
              </a:rPr>
            </a:br>
            <a:r>
              <a:rPr lang="fr-FR" sz="1400">
                <a:solidFill>
                  <a:schemeClr val="tx2"/>
                </a:solidFill>
              </a:rPr>
              <a:t>est mal en point, </a:t>
            </a:r>
            <a:r>
              <a:rPr lang="fr-FR" sz="1400" b="1">
                <a:solidFill>
                  <a:schemeClr val="tx2"/>
                </a:solidFill>
              </a:rPr>
              <a:t>et nous</a:t>
            </a:r>
            <a:br>
              <a:rPr lang="fr-FR" sz="1400" b="1">
                <a:solidFill>
                  <a:schemeClr val="tx2"/>
                </a:solidFill>
              </a:rPr>
            </a:br>
            <a:r>
              <a:rPr lang="fr-FR" sz="1400" b="1">
                <a:solidFill>
                  <a:schemeClr val="tx2"/>
                </a:solidFill>
              </a:rPr>
              <a:t>jetons les remèdes !</a:t>
            </a:r>
          </a:p>
        </p:txBody>
      </p:sp>
    </p:spTree>
    <p:extLst>
      <p:ext uri="{BB962C8B-B14F-4D97-AF65-F5344CB8AC3E}">
        <p14:creationId xmlns:p14="http://schemas.microsoft.com/office/powerpoint/2010/main" val="1322399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167E-6 -4.07407E-6 L -1.04167E-6 -0.02338 " pathEditMode="relative" rAng="0" ptsTypes="AA">
                                      <p:cBhvr>
                                        <p:cTn id="9" dur="20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81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1.04167E-6 -4.07407E-6 L -1.04167E-6 -0.02338 " pathEditMode="relative" rAng="0" ptsTypes="AA">
                                      <p:cBhvr>
                                        <p:cTn id="14" dur="2000" spd="-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81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08333E-7 0 L 0.07096 0 " pathEditMode="relative" rAng="0" ptsTypes="AA">
                                      <p:cBhvr>
                                        <p:cTn id="19" dur="2000" spd="-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42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08333E-7 0 L 0.07096 0 " pathEditMode="relative" rAng="0" ptsTypes="AA">
                                      <p:cBhvr>
                                        <p:cTn id="24" dur="2000" spd="-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42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2.08333E-7 0 L 0.07096 0 " pathEditMode="relative" rAng="0" ptsTypes="AA">
                                      <p:cBhvr>
                                        <p:cTn id="29" dur="2000" spd="-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42" y="0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08333E-7 0 L 0.07096 0 " pathEditMode="relative" rAng="0" ptsTypes="AA">
                                      <p:cBhvr>
                                        <p:cTn id="34" dur="2000" spd="-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42" y="0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2.08333E-7 0 L 0.07096 0 " pathEditMode="relative" rAng="0" ptsTypes="AA">
                                      <p:cBhvr>
                                        <p:cTn id="39" dur="20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42" y="0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3.33333E-6 0 L 0.16459 0 " pathEditMode="relative" rAng="0" ptsTypes="AA">
                                      <p:cBhvr>
                                        <p:cTn id="44" dur="2000" spd="-100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229" y="0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6" presetClass="emph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Scale>
                                      <p:cBhvr>
                                        <p:cTn id="49" dur="750" fill="hold"/>
                                        <p:tgtEl>
                                          <p:spTgt spid="25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50" presetID="6" presetClass="emp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Scale>
                                      <p:cBhvr>
                                        <p:cTn id="51" dur="1000" fill="hold"/>
                                        <p:tgtEl>
                                          <p:spTgt spid="25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52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42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8333E-7 0 L 0.07096 0 " pathEditMode="relative" rAng="0" ptsTypes="AA">
                                      <p:cBhvr>
                                        <p:cTn id="59" dur="2000" spd="-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42" y="0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42" presetClass="path" presetSubtype="0" decel="100000" fill="hold" grpId="1" nodeType="withEffect">
                                  <p:stCondLst>
                                    <p:cond delay="1100"/>
                                  </p:stCondLst>
                                  <p:childTnLst>
                                    <p:animMotion origin="layout" path="M 2.08333E-7 0 L 0.07096 0 " pathEditMode="relative" rAng="0" ptsTypes="AA">
                                      <p:cBhvr>
                                        <p:cTn id="64" dur="2000" spd="-100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42" y="0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42" presetClass="path" presetSubtype="0" decel="100000" fill="hold" grpId="1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2.08333E-7 0 L 0.07096 0 " pathEditMode="relative" rAng="0" ptsTypes="AA">
                                      <p:cBhvr>
                                        <p:cTn id="69" dur="20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42" y="0"/>
                                    </p:animMotion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42" presetClass="path" presetSubtype="0" decel="100000" fill="hold" grpId="1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2.08333E-7 0 L 0.07096 0 " pathEditMode="relative" rAng="0" ptsTypes="AA">
                                      <p:cBhvr>
                                        <p:cTn id="74" dur="20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42" y="0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6" presetClass="emph" presetSubtype="0" fill="hold" grpId="1" nodeType="withEffect">
                                  <p:stCondLst>
                                    <p:cond delay="1400"/>
                                  </p:stCondLst>
                                  <p:childTnLst>
                                    <p:animScale>
                                      <p:cBhvr>
                                        <p:cTn id="79" dur="750" fill="hold"/>
                                        <p:tgtEl>
                                          <p:spTgt spid="56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80" presetID="6" presetClass="emph" presetSubtype="0" decel="100000" fill="hold" grpId="2" nodeType="withEffect">
                                  <p:stCondLst>
                                    <p:cond delay="1400"/>
                                  </p:stCondLst>
                                  <p:childTnLst>
                                    <p:animScale>
                                      <p:cBhvr>
                                        <p:cTn id="81" dur="1000" fill="hold"/>
                                        <p:tgtEl>
                                          <p:spTgt spid="56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82" presetID="22" presetClass="entr" presetSubtype="8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22" presetClass="entr" presetSubtype="8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22" presetClass="entr" presetSubtype="8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  <p:bldP spid="58" grpId="1" animBg="1"/>
      <p:bldP spid="22" grpId="0"/>
      <p:bldP spid="22" grpId="1"/>
      <p:bldP spid="23" grpId="0"/>
      <p:bldP spid="23" grpId="1"/>
      <p:bldP spid="24" grpId="0"/>
      <p:bldP spid="24" grpId="1"/>
      <p:bldP spid="27" grpId="0"/>
      <p:bldP spid="27" grpId="1"/>
      <p:bldP spid="32" grpId="0"/>
      <p:bldP spid="32" grpId="1"/>
      <p:bldP spid="38" grpId="0"/>
      <p:bldP spid="38" grpId="1"/>
      <p:bldP spid="42" grpId="0"/>
      <p:bldP spid="42" grpId="1"/>
      <p:bldP spid="49" grpId="0"/>
      <p:bldP spid="49" grpId="1"/>
      <p:bldP spid="56" grpId="0"/>
      <p:bldP spid="56" grpId="1"/>
      <p:bldP spid="56" grpId="2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097B3">
            <a:alpha val="5000"/>
          </a:srgb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36C6A35-6784-6FC2-5A1B-8F0E64151C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tangle : coins arrondis 65">
            <a:extLst>
              <a:ext uri="{FF2B5EF4-FFF2-40B4-BE49-F238E27FC236}">
                <a16:creationId xmlns:a16="http://schemas.microsoft.com/office/drawing/2014/main" id="{FA050F07-E14F-5D48-D439-B5194150EE19}"/>
              </a:ext>
            </a:extLst>
          </p:cNvPr>
          <p:cNvSpPr/>
          <p:nvPr/>
        </p:nvSpPr>
        <p:spPr>
          <a:xfrm>
            <a:off x="777411" y="4003040"/>
            <a:ext cx="10637178" cy="2357120"/>
          </a:xfrm>
          <a:prstGeom prst="roundRect">
            <a:avLst>
              <a:gd name="adj" fmla="val 7184"/>
            </a:avLst>
          </a:prstGeom>
          <a:noFill/>
          <a:ln w="317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986CB97-80D5-CB37-1FD4-470AB17F8991}"/>
              </a:ext>
            </a:extLst>
          </p:cNvPr>
          <p:cNvSpPr/>
          <p:nvPr/>
        </p:nvSpPr>
        <p:spPr>
          <a:xfrm>
            <a:off x="0" y="0"/>
            <a:ext cx="12192000" cy="3081130"/>
          </a:xfrm>
          <a:prstGeom prst="rect">
            <a:avLst/>
          </a:prstGeom>
          <a:solidFill>
            <a:srgbClr val="9097B3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E7725405-0A50-C1D4-E7DD-9C271337AAA7}"/>
              </a:ext>
            </a:extLst>
          </p:cNvPr>
          <p:cNvGrpSpPr/>
          <p:nvPr/>
        </p:nvGrpSpPr>
        <p:grpSpPr>
          <a:xfrm>
            <a:off x="572667" y="487521"/>
            <a:ext cx="364153" cy="284070"/>
            <a:chOff x="1148496" y="1062130"/>
            <a:chExt cx="364153" cy="284070"/>
          </a:xfrm>
        </p:grpSpPr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4FD306B6-95C7-AECD-53F2-115913F4E1B7}"/>
                </a:ext>
              </a:extLst>
            </p:cNvPr>
            <p:cNvSpPr/>
            <p:nvPr/>
          </p:nvSpPr>
          <p:spPr>
            <a:xfrm>
              <a:off x="1148496" y="1062130"/>
              <a:ext cx="284156" cy="284070"/>
            </a:xfrm>
            <a:custGeom>
              <a:avLst/>
              <a:gdLst>
                <a:gd name="connsiteX0" fmla="*/ 1927193 w 3012185"/>
                <a:gd name="connsiteY0" fmla="*/ 3011281 h 3011281"/>
                <a:gd name="connsiteX1" fmla="*/ 1159955 w 3012185"/>
                <a:gd name="connsiteY1" fmla="*/ 2694003 h 3011281"/>
                <a:gd name="connsiteX2" fmla="*/ 317754 w 3012185"/>
                <a:gd name="connsiteY2" fmla="*/ 1851803 h 3011281"/>
                <a:gd name="connsiteX3" fmla="*/ 0 w 3012185"/>
                <a:gd name="connsiteY3" fmla="*/ 1084564 h 3011281"/>
                <a:gd name="connsiteX4" fmla="*/ 317754 w 3012185"/>
                <a:gd name="connsiteY4" fmla="*/ 317325 h 3011281"/>
                <a:gd name="connsiteX5" fmla="*/ 1852232 w 3012185"/>
                <a:gd name="connsiteY5" fmla="*/ 317325 h 3011281"/>
                <a:gd name="connsiteX6" fmla="*/ 2694432 w 3012185"/>
                <a:gd name="connsiteY6" fmla="*/ 1159526 h 3011281"/>
                <a:gd name="connsiteX7" fmla="*/ 3012186 w 3012185"/>
                <a:gd name="connsiteY7" fmla="*/ 1926765 h 3011281"/>
                <a:gd name="connsiteX8" fmla="*/ 2694432 w 3012185"/>
                <a:gd name="connsiteY8" fmla="*/ 2694003 h 3011281"/>
                <a:gd name="connsiteX9" fmla="*/ 1927193 w 3012185"/>
                <a:gd name="connsiteY9" fmla="*/ 3011281 h 3011281"/>
                <a:gd name="connsiteX10" fmla="*/ 1084993 w 3012185"/>
                <a:gd name="connsiteY10" fmla="*/ 480012 h 3011281"/>
                <a:gd name="connsiteX11" fmla="*/ 657320 w 3012185"/>
                <a:gd name="connsiteY11" fmla="*/ 656892 h 3011281"/>
                <a:gd name="connsiteX12" fmla="*/ 480155 w 3012185"/>
                <a:gd name="connsiteY12" fmla="*/ 1084564 h 3011281"/>
                <a:gd name="connsiteX13" fmla="*/ 657320 w 3012185"/>
                <a:gd name="connsiteY13" fmla="*/ 1512237 h 3011281"/>
                <a:gd name="connsiteX14" fmla="*/ 1499521 w 3012185"/>
                <a:gd name="connsiteY14" fmla="*/ 2354437 h 3011281"/>
                <a:gd name="connsiteX15" fmla="*/ 2354961 w 3012185"/>
                <a:gd name="connsiteY15" fmla="*/ 2354437 h 3011281"/>
                <a:gd name="connsiteX16" fmla="*/ 2532126 w 3012185"/>
                <a:gd name="connsiteY16" fmla="*/ 1926765 h 3011281"/>
                <a:gd name="connsiteX17" fmla="*/ 2354961 w 3012185"/>
                <a:gd name="connsiteY17" fmla="*/ 1499092 h 3011281"/>
                <a:gd name="connsiteX18" fmla="*/ 1512761 w 3012185"/>
                <a:gd name="connsiteY18" fmla="*/ 656892 h 3011281"/>
                <a:gd name="connsiteX19" fmla="*/ 1084993 w 3012185"/>
                <a:gd name="connsiteY19" fmla="*/ 480012 h 301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12185" h="3011281">
                  <a:moveTo>
                    <a:pt x="1927193" y="3011281"/>
                  </a:moveTo>
                  <a:cubicBezTo>
                    <a:pt x="1649349" y="3011281"/>
                    <a:pt x="1371505" y="2905554"/>
                    <a:pt x="1159955" y="2694003"/>
                  </a:cubicBezTo>
                  <a:lnTo>
                    <a:pt x="317754" y="1851803"/>
                  </a:lnTo>
                  <a:cubicBezTo>
                    <a:pt x="112871" y="1646825"/>
                    <a:pt x="0" y="1374410"/>
                    <a:pt x="0" y="1084564"/>
                  </a:cubicBezTo>
                  <a:cubicBezTo>
                    <a:pt x="0" y="794718"/>
                    <a:pt x="112871" y="522303"/>
                    <a:pt x="317754" y="317325"/>
                  </a:cubicBezTo>
                  <a:cubicBezTo>
                    <a:pt x="740855" y="-105775"/>
                    <a:pt x="1429131" y="-105775"/>
                    <a:pt x="1852232" y="317325"/>
                  </a:cubicBezTo>
                  <a:lnTo>
                    <a:pt x="2694432" y="1159526"/>
                  </a:lnTo>
                  <a:cubicBezTo>
                    <a:pt x="2899410" y="1364504"/>
                    <a:pt x="3012186" y="1636919"/>
                    <a:pt x="3012186" y="1926765"/>
                  </a:cubicBezTo>
                  <a:cubicBezTo>
                    <a:pt x="3012186" y="2216611"/>
                    <a:pt x="2899315" y="2489025"/>
                    <a:pt x="2694432" y="2694003"/>
                  </a:cubicBezTo>
                  <a:cubicBezTo>
                    <a:pt x="2489549" y="2898982"/>
                    <a:pt x="2205038" y="3011281"/>
                    <a:pt x="1927193" y="3011281"/>
                  </a:cubicBezTo>
                  <a:close/>
                  <a:moveTo>
                    <a:pt x="1084993" y="480012"/>
                  </a:moveTo>
                  <a:cubicBezTo>
                    <a:pt x="930116" y="480012"/>
                    <a:pt x="775240" y="538972"/>
                    <a:pt x="657320" y="656892"/>
                  </a:cubicBezTo>
                  <a:cubicBezTo>
                    <a:pt x="543116" y="771096"/>
                    <a:pt x="480155" y="923020"/>
                    <a:pt x="480155" y="1084564"/>
                  </a:cubicBezTo>
                  <a:cubicBezTo>
                    <a:pt x="480155" y="1246108"/>
                    <a:pt x="543020" y="1398032"/>
                    <a:pt x="657320" y="1512237"/>
                  </a:cubicBezTo>
                  <a:lnTo>
                    <a:pt x="1499521" y="2354437"/>
                  </a:lnTo>
                  <a:cubicBezTo>
                    <a:pt x="1735360" y="2590276"/>
                    <a:pt x="2119122" y="2590276"/>
                    <a:pt x="2354961" y="2354437"/>
                  </a:cubicBezTo>
                  <a:cubicBezTo>
                    <a:pt x="2469166" y="2240233"/>
                    <a:pt x="2532126" y="2088309"/>
                    <a:pt x="2532126" y="1926765"/>
                  </a:cubicBezTo>
                  <a:cubicBezTo>
                    <a:pt x="2532126" y="1765221"/>
                    <a:pt x="2469261" y="1613297"/>
                    <a:pt x="2354961" y="1499092"/>
                  </a:cubicBezTo>
                  <a:lnTo>
                    <a:pt x="1512761" y="656892"/>
                  </a:lnTo>
                  <a:cubicBezTo>
                    <a:pt x="1394841" y="538972"/>
                    <a:pt x="1239964" y="480012"/>
                    <a:pt x="1084993" y="480012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1C3AD32B-F8AA-B6FD-D490-23AF207C735A}"/>
                </a:ext>
              </a:extLst>
            </p:cNvPr>
            <p:cNvSpPr/>
            <p:nvPr/>
          </p:nvSpPr>
          <p:spPr>
            <a:xfrm>
              <a:off x="1228502" y="1062130"/>
              <a:ext cx="284147" cy="284070"/>
            </a:xfrm>
            <a:custGeom>
              <a:avLst/>
              <a:gdLst>
                <a:gd name="connsiteX0" fmla="*/ 1084993 w 3012090"/>
                <a:gd name="connsiteY0" fmla="*/ 3011281 h 3011281"/>
                <a:gd name="connsiteX1" fmla="*/ 317754 w 3012090"/>
                <a:gd name="connsiteY1" fmla="*/ 2694003 h 3011281"/>
                <a:gd name="connsiteX2" fmla="*/ 0 w 3012090"/>
                <a:gd name="connsiteY2" fmla="*/ 1926765 h 3011281"/>
                <a:gd name="connsiteX3" fmla="*/ 317754 w 3012090"/>
                <a:gd name="connsiteY3" fmla="*/ 1159526 h 3011281"/>
                <a:gd name="connsiteX4" fmla="*/ 1159955 w 3012090"/>
                <a:gd name="connsiteY4" fmla="*/ 317325 h 3011281"/>
                <a:gd name="connsiteX5" fmla="*/ 2694337 w 3012090"/>
                <a:gd name="connsiteY5" fmla="*/ 317325 h 3011281"/>
                <a:gd name="connsiteX6" fmla="*/ 3012091 w 3012090"/>
                <a:gd name="connsiteY6" fmla="*/ 1084564 h 3011281"/>
                <a:gd name="connsiteX7" fmla="*/ 2694337 w 3012090"/>
                <a:gd name="connsiteY7" fmla="*/ 1851803 h 3011281"/>
                <a:gd name="connsiteX8" fmla="*/ 1852136 w 3012090"/>
                <a:gd name="connsiteY8" fmla="*/ 2694003 h 3011281"/>
                <a:gd name="connsiteX9" fmla="*/ 1084898 w 3012090"/>
                <a:gd name="connsiteY9" fmla="*/ 3011281 h 3011281"/>
                <a:gd name="connsiteX10" fmla="*/ 1927098 w 3012090"/>
                <a:gd name="connsiteY10" fmla="*/ 480012 h 3011281"/>
                <a:gd name="connsiteX11" fmla="*/ 1499426 w 3012090"/>
                <a:gd name="connsiteY11" fmla="*/ 656892 h 3011281"/>
                <a:gd name="connsiteX12" fmla="*/ 657225 w 3012090"/>
                <a:gd name="connsiteY12" fmla="*/ 1499092 h 3011281"/>
                <a:gd name="connsiteX13" fmla="*/ 480060 w 3012090"/>
                <a:gd name="connsiteY13" fmla="*/ 1926765 h 3011281"/>
                <a:gd name="connsiteX14" fmla="*/ 657225 w 3012090"/>
                <a:gd name="connsiteY14" fmla="*/ 2354437 h 3011281"/>
                <a:gd name="connsiteX15" fmla="*/ 1512570 w 3012090"/>
                <a:gd name="connsiteY15" fmla="*/ 2354437 h 3011281"/>
                <a:gd name="connsiteX16" fmla="*/ 2354771 w 3012090"/>
                <a:gd name="connsiteY16" fmla="*/ 1512237 h 3011281"/>
                <a:gd name="connsiteX17" fmla="*/ 2531935 w 3012090"/>
                <a:gd name="connsiteY17" fmla="*/ 1084564 h 3011281"/>
                <a:gd name="connsiteX18" fmla="*/ 2354771 w 3012090"/>
                <a:gd name="connsiteY18" fmla="*/ 656892 h 3011281"/>
                <a:gd name="connsiteX19" fmla="*/ 1927098 w 3012090"/>
                <a:gd name="connsiteY19" fmla="*/ 480012 h 301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12090" h="3011281">
                  <a:moveTo>
                    <a:pt x="1084993" y="3011281"/>
                  </a:moveTo>
                  <a:cubicBezTo>
                    <a:pt x="807149" y="3011281"/>
                    <a:pt x="529304" y="2905554"/>
                    <a:pt x="317754" y="2694003"/>
                  </a:cubicBezTo>
                  <a:cubicBezTo>
                    <a:pt x="106204" y="2482453"/>
                    <a:pt x="0" y="2216611"/>
                    <a:pt x="0" y="1926765"/>
                  </a:cubicBezTo>
                  <a:cubicBezTo>
                    <a:pt x="0" y="1636919"/>
                    <a:pt x="112871" y="1364504"/>
                    <a:pt x="317754" y="1159526"/>
                  </a:cubicBezTo>
                  <a:lnTo>
                    <a:pt x="1159955" y="317325"/>
                  </a:lnTo>
                  <a:cubicBezTo>
                    <a:pt x="1582960" y="-105775"/>
                    <a:pt x="2271332" y="-105775"/>
                    <a:pt x="2694337" y="317325"/>
                  </a:cubicBezTo>
                  <a:cubicBezTo>
                    <a:pt x="2899315" y="522303"/>
                    <a:pt x="3012091" y="794718"/>
                    <a:pt x="3012091" y="1084564"/>
                  </a:cubicBezTo>
                  <a:cubicBezTo>
                    <a:pt x="3012091" y="1374410"/>
                    <a:pt x="2899220" y="1646825"/>
                    <a:pt x="2694337" y="1851803"/>
                  </a:cubicBezTo>
                  <a:lnTo>
                    <a:pt x="1852136" y="2694003"/>
                  </a:lnTo>
                  <a:cubicBezTo>
                    <a:pt x="1640586" y="2905554"/>
                    <a:pt x="1362742" y="3011281"/>
                    <a:pt x="1084898" y="3011281"/>
                  </a:cubicBezTo>
                  <a:close/>
                  <a:moveTo>
                    <a:pt x="1927098" y="480012"/>
                  </a:moveTo>
                  <a:cubicBezTo>
                    <a:pt x="1772222" y="480012"/>
                    <a:pt x="1617345" y="538972"/>
                    <a:pt x="1499426" y="656892"/>
                  </a:cubicBezTo>
                  <a:lnTo>
                    <a:pt x="657225" y="1499092"/>
                  </a:lnTo>
                  <a:cubicBezTo>
                    <a:pt x="543020" y="1613297"/>
                    <a:pt x="480060" y="1765221"/>
                    <a:pt x="480060" y="1926765"/>
                  </a:cubicBezTo>
                  <a:cubicBezTo>
                    <a:pt x="480060" y="2088309"/>
                    <a:pt x="542925" y="2240233"/>
                    <a:pt x="657225" y="2354437"/>
                  </a:cubicBezTo>
                  <a:cubicBezTo>
                    <a:pt x="893064" y="2590276"/>
                    <a:pt x="1276731" y="2590276"/>
                    <a:pt x="1512570" y="2354437"/>
                  </a:cubicBezTo>
                  <a:lnTo>
                    <a:pt x="2354771" y="1512237"/>
                  </a:lnTo>
                  <a:cubicBezTo>
                    <a:pt x="2468975" y="1398032"/>
                    <a:pt x="2531935" y="1246108"/>
                    <a:pt x="2531935" y="1084564"/>
                  </a:cubicBezTo>
                  <a:cubicBezTo>
                    <a:pt x="2531935" y="923020"/>
                    <a:pt x="2469071" y="771096"/>
                    <a:pt x="2354771" y="656892"/>
                  </a:cubicBezTo>
                  <a:cubicBezTo>
                    <a:pt x="2236851" y="538972"/>
                    <a:pt x="2081975" y="480012"/>
                    <a:pt x="1927098" y="480012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F6DAEB4F-CA9B-1424-8A2F-65D398262F0C}"/>
              </a:ext>
            </a:extLst>
          </p:cNvPr>
          <p:cNvGrpSpPr/>
          <p:nvPr/>
        </p:nvGrpSpPr>
        <p:grpSpPr>
          <a:xfrm>
            <a:off x="1253744" y="449942"/>
            <a:ext cx="10444847" cy="359228"/>
            <a:chOff x="1253744" y="406400"/>
            <a:chExt cx="10444847" cy="359228"/>
          </a:xfrm>
        </p:grpSpPr>
        <p:sp>
          <p:nvSpPr>
            <p:cNvPr id="14" name="Rectangle : coins arrondis 13">
              <a:extLst>
                <a:ext uri="{FF2B5EF4-FFF2-40B4-BE49-F238E27FC236}">
                  <a16:creationId xmlns:a16="http://schemas.microsoft.com/office/drawing/2014/main" id="{8F23E45F-318F-319C-DDEC-BFD5708CA826}"/>
                </a:ext>
              </a:extLst>
            </p:cNvPr>
            <p:cNvSpPr/>
            <p:nvPr/>
          </p:nvSpPr>
          <p:spPr>
            <a:xfrm>
              <a:off x="1253744" y="406400"/>
              <a:ext cx="1474942" cy="359228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chemeClr val="bg1"/>
                  </a:solidFill>
                  <a:latin typeface="Montserrat Alternates SemiBold" panose="00000700000000000000" pitchFamily="2" charset="0"/>
                </a:rPr>
                <a:t>Enjeu</a:t>
              </a:r>
            </a:p>
          </p:txBody>
        </p:sp>
        <p:sp>
          <p:nvSpPr>
            <p:cNvPr id="15" name="Rectangle : coins arrondis 14">
              <a:extLst>
                <a:ext uri="{FF2B5EF4-FFF2-40B4-BE49-F238E27FC236}">
                  <a16:creationId xmlns:a16="http://schemas.microsoft.com/office/drawing/2014/main" id="{DF75B6C3-EA48-88A6-B681-C90846B82420}"/>
                </a:ext>
              </a:extLst>
            </p:cNvPr>
            <p:cNvSpPr/>
            <p:nvPr/>
          </p:nvSpPr>
          <p:spPr>
            <a:xfrm>
              <a:off x="3047725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chemeClr val="tx2">
                      <a:lumMod val="40000"/>
                      <a:lumOff val="60000"/>
                    </a:schemeClr>
                  </a:solidFill>
                </a:rPr>
                <a:t>Mission</a:t>
              </a:r>
            </a:p>
          </p:txBody>
        </p:sp>
        <p:sp>
          <p:nvSpPr>
            <p:cNvPr id="16" name="Rectangle : coins arrondis 15">
              <a:extLst>
                <a:ext uri="{FF2B5EF4-FFF2-40B4-BE49-F238E27FC236}">
                  <a16:creationId xmlns:a16="http://schemas.microsoft.com/office/drawing/2014/main" id="{EDC8B067-906A-AF6D-A431-12E0AE906A5D}"/>
                </a:ext>
              </a:extLst>
            </p:cNvPr>
            <p:cNvSpPr/>
            <p:nvPr/>
          </p:nvSpPr>
          <p:spPr>
            <a:xfrm>
              <a:off x="6635687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chemeClr val="tx2">
                      <a:lumMod val="40000"/>
                      <a:lumOff val="60000"/>
                    </a:schemeClr>
                  </a:solidFill>
                </a:rPr>
                <a:t>Fonctionnement</a:t>
              </a:r>
            </a:p>
          </p:txBody>
        </p:sp>
        <p:sp>
          <p:nvSpPr>
            <p:cNvPr id="17" name="Rectangle : coins arrondis 16">
              <a:extLst>
                <a:ext uri="{FF2B5EF4-FFF2-40B4-BE49-F238E27FC236}">
                  <a16:creationId xmlns:a16="http://schemas.microsoft.com/office/drawing/2014/main" id="{7800937C-ACEB-1A65-F117-C7CBC8C9D576}"/>
                </a:ext>
              </a:extLst>
            </p:cNvPr>
            <p:cNvSpPr/>
            <p:nvPr/>
          </p:nvSpPr>
          <p:spPr>
            <a:xfrm>
              <a:off x="8429668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chemeClr val="tx2">
                      <a:lumMod val="40000"/>
                      <a:lumOff val="60000"/>
                    </a:schemeClr>
                  </a:solidFill>
                </a:rPr>
                <a:t>Offre</a:t>
              </a:r>
            </a:p>
          </p:txBody>
        </p:sp>
        <p:sp>
          <p:nvSpPr>
            <p:cNvPr id="18" name="Rectangle : coins arrondis 17">
              <a:extLst>
                <a:ext uri="{FF2B5EF4-FFF2-40B4-BE49-F238E27FC236}">
                  <a16:creationId xmlns:a16="http://schemas.microsoft.com/office/drawing/2014/main" id="{8CB4F7B3-0C07-CEF8-3FB6-2CAA1A1F8962}"/>
                </a:ext>
              </a:extLst>
            </p:cNvPr>
            <p:cNvSpPr/>
            <p:nvPr/>
          </p:nvSpPr>
          <p:spPr>
            <a:xfrm>
              <a:off x="4841706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chemeClr val="tx2">
                      <a:lumMod val="40000"/>
                      <a:lumOff val="60000"/>
                    </a:schemeClr>
                  </a:solidFill>
                </a:rPr>
                <a:t>Solution</a:t>
              </a:r>
            </a:p>
          </p:txBody>
        </p:sp>
        <p:sp>
          <p:nvSpPr>
            <p:cNvPr id="19" name="Rectangle : coins arrondis 18">
              <a:extLst>
                <a:ext uri="{FF2B5EF4-FFF2-40B4-BE49-F238E27FC236}">
                  <a16:creationId xmlns:a16="http://schemas.microsoft.com/office/drawing/2014/main" id="{E86AF14E-256C-5E22-AFBB-CFFBC5B438AA}"/>
                </a:ext>
              </a:extLst>
            </p:cNvPr>
            <p:cNvSpPr/>
            <p:nvPr/>
          </p:nvSpPr>
          <p:spPr>
            <a:xfrm>
              <a:off x="10223649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chemeClr val="tx2">
                      <a:lumMod val="40000"/>
                      <a:lumOff val="60000"/>
                    </a:schemeClr>
                  </a:solidFill>
                </a:rPr>
                <a:t>Fondateur</a:t>
              </a:r>
            </a:p>
          </p:txBody>
        </p:sp>
      </p:grpSp>
      <p:pic>
        <p:nvPicPr>
          <p:cNvPr id="46" name="Image 45">
            <a:extLst>
              <a:ext uri="{FF2B5EF4-FFF2-40B4-BE49-F238E27FC236}">
                <a16:creationId xmlns:a16="http://schemas.microsoft.com/office/drawing/2014/main" id="{2BE61E99-921C-3F1D-CC03-9FEC1CC2A1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/>
        </p:blipFill>
        <p:spPr>
          <a:xfrm rot="9900000">
            <a:off x="10326457" y="1861134"/>
            <a:ext cx="2755525" cy="2265591"/>
          </a:xfrm>
          <a:prstGeom prst="rect">
            <a:avLst/>
          </a:prstGeom>
          <a:effectLst>
            <a:outerShdw blurRad="127000" dist="38100" dir="10800000" algn="r" rotWithShape="0">
              <a:prstClr val="black">
                <a:alpha val="34000"/>
              </a:prstClr>
            </a:outerShdw>
          </a:effec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161BFD92-C6A7-F0CD-7CD1-2FB7D71CD415}"/>
              </a:ext>
            </a:extLst>
          </p:cNvPr>
          <p:cNvSpPr txBox="1"/>
          <p:nvPr/>
        </p:nvSpPr>
        <p:spPr>
          <a:xfrm>
            <a:off x="572667" y="1257805"/>
            <a:ext cx="4347203" cy="153888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fr-FR" sz="2000">
                <a:solidFill>
                  <a:schemeClr val="tx2"/>
                </a:solidFill>
              </a:rPr>
              <a:t>Chaque boîte gaspillée est </a:t>
            </a:r>
            <a:br>
              <a:rPr lang="fr-FR" sz="2000">
                <a:solidFill>
                  <a:schemeClr val="tx2"/>
                </a:solidFill>
              </a:rPr>
            </a:br>
            <a:r>
              <a:rPr lang="fr-FR" sz="2000" b="1"/>
              <a:t>un soin manqué</a:t>
            </a:r>
            <a:r>
              <a:rPr lang="fr-FR" sz="2000"/>
              <a:t>, </a:t>
            </a:r>
            <a:r>
              <a:rPr lang="fr-FR" sz="2000" b="1"/>
              <a:t>une ressource perdue pour notre santé </a:t>
            </a:r>
            <a:br>
              <a:rPr lang="fr-FR" sz="2000" b="1"/>
            </a:br>
            <a:r>
              <a:rPr lang="fr-FR" sz="2000">
                <a:solidFill>
                  <a:schemeClr val="tx2"/>
                </a:solidFill>
              </a:rPr>
              <a:t>&amp;</a:t>
            </a:r>
            <a:r>
              <a:rPr lang="fr-FR" sz="2000"/>
              <a:t> </a:t>
            </a:r>
            <a:r>
              <a:rPr lang="fr-FR" sz="2000" b="1"/>
              <a:t>une pollution supplémentaire </a:t>
            </a:r>
            <a:br>
              <a:rPr lang="fr-FR" sz="2000" b="1"/>
            </a:br>
            <a:r>
              <a:rPr lang="fr-FR" sz="2000" b="1"/>
              <a:t>pour la planète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2F9E9BE8-FAF7-CEE3-A482-62452DDBEC57}"/>
              </a:ext>
            </a:extLst>
          </p:cNvPr>
          <p:cNvSpPr txBox="1"/>
          <p:nvPr/>
        </p:nvSpPr>
        <p:spPr>
          <a:xfrm>
            <a:off x="6993537" y="1319360"/>
            <a:ext cx="4347203" cy="135421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fr-FR" sz="1600">
                <a:solidFill>
                  <a:schemeClr val="tx2"/>
                </a:solidFill>
              </a:rPr>
              <a:t>Nos armoires à pharmacie familiales sont remplies de médicaments </a:t>
            </a:r>
            <a:br>
              <a:rPr lang="fr-FR" sz="1600">
                <a:solidFill>
                  <a:schemeClr val="tx2"/>
                </a:solidFill>
              </a:rPr>
            </a:br>
            <a:r>
              <a:rPr lang="fr-FR" sz="1600">
                <a:solidFill>
                  <a:schemeClr val="tx2"/>
                </a:solidFill>
              </a:rPr>
              <a:t>et de dispositifs médicaux qui finiront </a:t>
            </a:r>
            <a:br>
              <a:rPr lang="fr-FR" sz="1600">
                <a:solidFill>
                  <a:schemeClr val="tx2"/>
                </a:solidFill>
              </a:rPr>
            </a:br>
            <a:r>
              <a:rPr lang="fr-FR" sz="1600">
                <a:solidFill>
                  <a:schemeClr val="tx2"/>
                </a:solidFill>
              </a:rPr>
              <a:t>à la poubelle. </a:t>
            </a:r>
          </a:p>
          <a:p>
            <a:r>
              <a:rPr lang="fr-FR" sz="1600" b="1">
                <a:solidFill>
                  <a:schemeClr val="tx2"/>
                </a:solidFill>
              </a:rPr>
              <a:t>D’où vient ce gaspillage ? </a:t>
            </a:r>
          </a:p>
        </p:txBody>
      </p:sp>
      <p:cxnSp>
        <p:nvCxnSpPr>
          <p:cNvPr id="30" name="Connecteur droit 29">
            <a:extLst>
              <a:ext uri="{FF2B5EF4-FFF2-40B4-BE49-F238E27FC236}">
                <a16:creationId xmlns:a16="http://schemas.microsoft.com/office/drawing/2014/main" id="{34B64720-B39E-996B-027B-42884D3EB6EE}"/>
              </a:ext>
            </a:extLst>
          </p:cNvPr>
          <p:cNvCxnSpPr>
            <a:cxnSpLocks/>
          </p:cNvCxnSpPr>
          <p:nvPr/>
        </p:nvCxnSpPr>
        <p:spPr>
          <a:xfrm>
            <a:off x="6096000" y="1371600"/>
            <a:ext cx="0" cy="1301977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riangle isocèle 30">
            <a:extLst>
              <a:ext uri="{FF2B5EF4-FFF2-40B4-BE49-F238E27FC236}">
                <a16:creationId xmlns:a16="http://schemas.microsoft.com/office/drawing/2014/main" id="{04085BF8-55E7-BDE3-29D1-19450F8703BF}"/>
              </a:ext>
            </a:extLst>
          </p:cNvPr>
          <p:cNvSpPr/>
          <p:nvPr/>
        </p:nvSpPr>
        <p:spPr>
          <a:xfrm rot="10800000">
            <a:off x="5060674" y="2789117"/>
            <a:ext cx="2070652" cy="491482"/>
          </a:xfrm>
          <a:prstGeom prst="triangle">
            <a:avLst/>
          </a:prstGeom>
          <a:solidFill>
            <a:srgbClr val="E4E6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64" name="Groupe 63">
            <a:extLst>
              <a:ext uri="{FF2B5EF4-FFF2-40B4-BE49-F238E27FC236}">
                <a16:creationId xmlns:a16="http://schemas.microsoft.com/office/drawing/2014/main" id="{8A792392-20C0-F0E5-E1EE-5DFABDAB4661}"/>
              </a:ext>
            </a:extLst>
          </p:cNvPr>
          <p:cNvGrpSpPr/>
          <p:nvPr/>
        </p:nvGrpSpPr>
        <p:grpSpPr>
          <a:xfrm>
            <a:off x="4522667" y="3780999"/>
            <a:ext cx="3262361" cy="2228437"/>
            <a:chOff x="4385727" y="3974039"/>
            <a:chExt cx="3262361" cy="2228437"/>
          </a:xfrm>
        </p:grpSpPr>
        <p:sp>
          <p:nvSpPr>
            <p:cNvPr id="45" name="!!_01_!!">
              <a:extLst>
                <a:ext uri="{FF2B5EF4-FFF2-40B4-BE49-F238E27FC236}">
                  <a16:creationId xmlns:a16="http://schemas.microsoft.com/office/drawing/2014/main" id="{B76D460C-BAF2-020A-EF48-9B5C64203E57}"/>
                </a:ext>
              </a:extLst>
            </p:cNvPr>
            <p:cNvSpPr txBox="1"/>
            <p:nvPr/>
          </p:nvSpPr>
          <p:spPr>
            <a:xfrm>
              <a:off x="4385727" y="3974039"/>
              <a:ext cx="2943407" cy="452050"/>
            </a:xfrm>
            <a:prstGeom prst="roundRect">
              <a:avLst>
                <a:gd name="adj" fmla="val 50000"/>
              </a:avLst>
            </a:prstGeom>
            <a:solidFill>
              <a:srgbClr val="555D7D"/>
            </a:solidFill>
          </p:spPr>
          <p:txBody>
            <a:bodyPr wrap="none" anchor="ctr">
              <a:noAutofit/>
            </a:bodyPr>
            <a:lstStyle/>
            <a:p>
              <a:r>
                <a:rPr lang="fr-FR">
                  <a:solidFill>
                    <a:schemeClr val="bg1"/>
                  </a:solidFill>
                  <a:latin typeface="Montserrat Alternates ExtraBold" panose="00000900000000000000" pitchFamily="2" charset="0"/>
                </a:rPr>
                <a:t>2</a:t>
              </a:r>
            </a:p>
          </p:txBody>
        </p:sp>
        <p:sp>
          <p:nvSpPr>
            <p:cNvPr id="47" name="!!_01_Texte_!!">
              <a:extLst>
                <a:ext uri="{FF2B5EF4-FFF2-40B4-BE49-F238E27FC236}">
                  <a16:creationId xmlns:a16="http://schemas.microsoft.com/office/drawing/2014/main" id="{7B5BC8E7-B15B-83E1-D855-2B68BD9FFF05}"/>
                </a:ext>
              </a:extLst>
            </p:cNvPr>
            <p:cNvSpPr txBox="1"/>
            <p:nvPr/>
          </p:nvSpPr>
          <p:spPr>
            <a:xfrm>
              <a:off x="4704681" y="4553330"/>
              <a:ext cx="2943407" cy="7921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</a:pPr>
              <a:r>
                <a:rPr kumimoji="0" lang="fr-FR" altLang="fr-FR" sz="1050" b="1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Le médicament part aux oubliettes, dans un placard.</a:t>
              </a:r>
            </a:p>
            <a:p>
              <a:pPr marL="0" marR="0" lvl="0" indent="0" algn="l" defTabSz="914400" rtl="0" eaLnBrk="0" fontAlgn="base" latinLnBrk="0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</a:pPr>
              <a:r>
                <a:rPr kumimoji="0" lang="fr-FR" altLang="fr-FR" sz="105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Il dépasse sa date de péremption.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</a:pPr>
              <a:r>
                <a:rPr kumimoji="0" lang="fr-FR" altLang="fr-FR" sz="105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Il devient inutilisable. </a:t>
              </a:r>
            </a:p>
          </p:txBody>
        </p:sp>
        <p:sp>
          <p:nvSpPr>
            <p:cNvPr id="49" name="!!_01_Titre_!!">
              <a:extLst>
                <a:ext uri="{FF2B5EF4-FFF2-40B4-BE49-F238E27FC236}">
                  <a16:creationId xmlns:a16="http://schemas.microsoft.com/office/drawing/2014/main" id="{C8E8B631-ED41-B1F8-EF2D-9CC7DAA2782A}"/>
                </a:ext>
              </a:extLst>
            </p:cNvPr>
            <p:cNvSpPr txBox="1"/>
            <p:nvPr/>
          </p:nvSpPr>
          <p:spPr>
            <a:xfrm>
              <a:off x="4702491" y="4083836"/>
              <a:ext cx="2606323" cy="24929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>
                <a:lnSpc>
                  <a:spcPct val="85000"/>
                </a:lnSpc>
              </a:pPr>
              <a:r>
                <a:rPr lang="fr-FR" sz="1200">
                  <a:solidFill>
                    <a:schemeClr val="bg1"/>
                  </a:solidFill>
                  <a:latin typeface="Montserrat Alternates ExtraBold" panose="00000900000000000000" pitchFamily="2" charset="0"/>
                </a:rPr>
                <a:t>Oubli – Abandon – Expiration</a:t>
              </a:r>
            </a:p>
          </p:txBody>
        </p:sp>
        <p:sp>
          <p:nvSpPr>
            <p:cNvPr id="57" name="ZoneTexte 56">
              <a:extLst>
                <a:ext uri="{FF2B5EF4-FFF2-40B4-BE49-F238E27FC236}">
                  <a16:creationId xmlns:a16="http://schemas.microsoft.com/office/drawing/2014/main" id="{79A73A63-0331-4CA1-70FB-EA411EFBD3E5}"/>
                </a:ext>
              </a:extLst>
            </p:cNvPr>
            <p:cNvSpPr txBox="1"/>
            <p:nvPr/>
          </p:nvSpPr>
          <p:spPr>
            <a:xfrm>
              <a:off x="4686225" y="5459516"/>
              <a:ext cx="2722606" cy="74296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altLang="fr-FR" sz="1200" b="1" i="0" u="none" strike="noStrike" kern="1200" cap="none" spc="0" normalizeH="0" baseline="0" noProof="0">
                  <a:ln>
                    <a:noFill/>
                  </a:ln>
                  <a:solidFill>
                    <a:srgbClr val="4E9664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rPr>
                <a:t>40%</a:t>
              </a:r>
              <a:br>
                <a:rPr kumimoji="0" lang="fr-FR" altLang="fr-FR" sz="900" b="0" i="0" u="none" strike="noStrike" kern="1200" cap="none" spc="0" normalizeH="0" baseline="0" noProof="0">
                  <a:ln>
                    <a:noFill/>
                  </a:ln>
                  <a:solidFill>
                    <a:srgbClr val="555D7D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rPr>
              </a:br>
              <a:r>
                <a:rPr kumimoji="0" lang="fr-FR" altLang="fr-FR" sz="900" b="0" i="0" u="none" strike="noStrike" kern="1200" cap="none" spc="0" normalizeH="0" baseline="0" noProof="0">
                  <a:ln>
                    <a:noFill/>
                  </a:ln>
                  <a:solidFill>
                    <a:srgbClr val="555D7D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rPr>
                <a:t>des médicaments jetés</a:t>
              </a:r>
              <a:br>
                <a:rPr kumimoji="0" lang="fr-FR" altLang="fr-FR" sz="900" b="0" i="0" u="none" strike="noStrike" kern="1200" cap="none" spc="0" normalizeH="0" baseline="0" noProof="0">
                  <a:ln>
                    <a:noFill/>
                  </a:ln>
                  <a:solidFill>
                    <a:srgbClr val="555D7D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rPr>
              </a:br>
              <a:r>
                <a:rPr kumimoji="0" lang="fr-FR" altLang="fr-FR" sz="900" b="0" i="0" u="none" strike="noStrike" kern="1200" cap="none" spc="0" normalizeH="0" baseline="0" noProof="0">
                  <a:ln>
                    <a:noFill/>
                  </a:ln>
                  <a:solidFill>
                    <a:srgbClr val="555D7D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rPr>
                <a:t>le sont car leur contenant </a:t>
              </a:r>
              <a:br>
                <a:rPr kumimoji="0" lang="fr-FR" altLang="fr-FR" sz="900" b="0" i="0" u="none" strike="noStrike" kern="1200" cap="none" spc="0" normalizeH="0" baseline="0" noProof="0">
                  <a:ln>
                    <a:noFill/>
                  </a:ln>
                  <a:solidFill>
                    <a:srgbClr val="555D7D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rPr>
              </a:br>
              <a:r>
                <a:rPr kumimoji="0" lang="fr-FR" altLang="fr-FR" sz="900" b="0" i="0" u="none" strike="noStrike" kern="1200" cap="none" spc="0" normalizeH="0" baseline="0" noProof="0">
                  <a:ln>
                    <a:noFill/>
                  </a:ln>
                  <a:solidFill>
                    <a:srgbClr val="555D7D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rPr>
                <a:t>est supérieur à la quantité prescrite.</a:t>
              </a:r>
            </a:p>
          </p:txBody>
        </p:sp>
      </p:grpSp>
      <p:grpSp>
        <p:nvGrpSpPr>
          <p:cNvPr id="65" name="Groupe 64">
            <a:extLst>
              <a:ext uri="{FF2B5EF4-FFF2-40B4-BE49-F238E27FC236}">
                <a16:creationId xmlns:a16="http://schemas.microsoft.com/office/drawing/2014/main" id="{C6FDD003-401E-CC86-AB70-8C66E614847A}"/>
              </a:ext>
            </a:extLst>
          </p:cNvPr>
          <p:cNvGrpSpPr/>
          <p:nvPr/>
        </p:nvGrpSpPr>
        <p:grpSpPr>
          <a:xfrm>
            <a:off x="8293508" y="3781000"/>
            <a:ext cx="3280490" cy="2228436"/>
            <a:chOff x="8110628" y="3974040"/>
            <a:chExt cx="3280490" cy="2228436"/>
          </a:xfrm>
        </p:grpSpPr>
        <p:sp>
          <p:nvSpPr>
            <p:cNvPr id="51" name="!!_01_!!">
              <a:extLst>
                <a:ext uri="{FF2B5EF4-FFF2-40B4-BE49-F238E27FC236}">
                  <a16:creationId xmlns:a16="http://schemas.microsoft.com/office/drawing/2014/main" id="{487DEA2A-9291-854C-1367-14806530C73B}"/>
                </a:ext>
              </a:extLst>
            </p:cNvPr>
            <p:cNvSpPr txBox="1"/>
            <p:nvPr/>
          </p:nvSpPr>
          <p:spPr>
            <a:xfrm>
              <a:off x="8110628" y="3974040"/>
              <a:ext cx="1490571" cy="452050"/>
            </a:xfrm>
            <a:prstGeom prst="roundRect">
              <a:avLst>
                <a:gd name="adj" fmla="val 50000"/>
              </a:avLst>
            </a:prstGeom>
            <a:solidFill>
              <a:srgbClr val="555D7D"/>
            </a:solidFill>
          </p:spPr>
          <p:txBody>
            <a:bodyPr wrap="none" anchor="ctr">
              <a:noAutofit/>
            </a:bodyPr>
            <a:lstStyle/>
            <a:p>
              <a:r>
                <a:rPr lang="fr-FR">
                  <a:solidFill>
                    <a:schemeClr val="bg1"/>
                  </a:solidFill>
                  <a:latin typeface="Montserrat Alternates ExtraBold" panose="00000900000000000000" pitchFamily="2" charset="0"/>
                </a:rPr>
                <a:t>3</a:t>
              </a:r>
            </a:p>
          </p:txBody>
        </p:sp>
        <p:sp>
          <p:nvSpPr>
            <p:cNvPr id="52" name="!!_01_Texte_!!">
              <a:extLst>
                <a:ext uri="{FF2B5EF4-FFF2-40B4-BE49-F238E27FC236}">
                  <a16:creationId xmlns:a16="http://schemas.microsoft.com/office/drawing/2014/main" id="{B79B3E34-B941-9BA2-39F8-AD2593167604}"/>
                </a:ext>
              </a:extLst>
            </p:cNvPr>
            <p:cNvSpPr txBox="1"/>
            <p:nvPr/>
          </p:nvSpPr>
          <p:spPr>
            <a:xfrm>
              <a:off x="8447711" y="4553330"/>
              <a:ext cx="2943407" cy="9698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</a:pPr>
              <a:r>
                <a:rPr kumimoji="0" lang="fr-FR" altLang="fr-FR" sz="1050" b="1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Le médicament est jeté, pourtant coûteux à fabriquer, et essentiel</a:t>
              </a:r>
              <a:br>
                <a:rPr kumimoji="0" lang="fr-FR" altLang="fr-FR" sz="1050" b="1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</a:br>
              <a:r>
                <a:rPr kumimoji="0" lang="fr-FR" altLang="fr-FR" sz="1050" b="1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à d'autres. </a:t>
              </a:r>
              <a:br>
                <a:rPr kumimoji="0" lang="fr-FR" altLang="fr-FR" sz="1050" b="1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</a:br>
              <a:r>
                <a:rPr kumimoji="0" lang="fr-FR" altLang="fr-FR" sz="105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Puis, le cycle recommence lorsqu’un  nouveau médicament est racheté… . </a:t>
              </a:r>
            </a:p>
          </p:txBody>
        </p:sp>
        <p:sp>
          <p:nvSpPr>
            <p:cNvPr id="53" name="!!_01_Titre_!!">
              <a:extLst>
                <a:ext uri="{FF2B5EF4-FFF2-40B4-BE49-F238E27FC236}">
                  <a16:creationId xmlns:a16="http://schemas.microsoft.com/office/drawing/2014/main" id="{14E78359-5047-49F6-B0C2-DB96922AB0D2}"/>
                </a:ext>
              </a:extLst>
            </p:cNvPr>
            <p:cNvSpPr txBox="1"/>
            <p:nvPr/>
          </p:nvSpPr>
          <p:spPr>
            <a:xfrm>
              <a:off x="8417232" y="4059827"/>
              <a:ext cx="2223479" cy="27699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Montserrat Alternates ExtraBold" panose="00000900000000000000" pitchFamily="2" charset="0"/>
                </a:rPr>
                <a:t>Gaspillage</a:t>
              </a:r>
            </a:p>
          </p:txBody>
        </p:sp>
        <p:sp>
          <p:nvSpPr>
            <p:cNvPr id="58" name="ZoneTexte 57">
              <a:extLst>
                <a:ext uri="{FF2B5EF4-FFF2-40B4-BE49-F238E27FC236}">
                  <a16:creationId xmlns:a16="http://schemas.microsoft.com/office/drawing/2014/main" id="{613B573C-435B-67FA-7557-4DB8072912B9}"/>
                </a:ext>
              </a:extLst>
            </p:cNvPr>
            <p:cNvSpPr txBox="1"/>
            <p:nvPr/>
          </p:nvSpPr>
          <p:spPr>
            <a:xfrm>
              <a:off x="8454095" y="5459516"/>
              <a:ext cx="2722606" cy="74296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altLang="fr-FR" sz="1200" b="1" i="0" u="none" strike="noStrike" kern="1200" cap="none" spc="0" normalizeH="0" baseline="0" noProof="0">
                  <a:ln>
                    <a:noFill/>
                  </a:ln>
                  <a:solidFill>
                    <a:srgbClr val="4E9664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rPr>
                <a:t>60%</a:t>
              </a:r>
              <a:br>
                <a:rPr kumimoji="0" lang="fr-FR" altLang="fr-FR" sz="900" b="0" i="0" u="none" strike="noStrike" kern="1200" cap="none" spc="0" normalizeH="0" baseline="0" noProof="0">
                  <a:ln>
                    <a:noFill/>
                  </a:ln>
                  <a:solidFill>
                    <a:srgbClr val="555D7D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rPr>
              </a:br>
              <a:r>
                <a:rPr kumimoji="0" lang="fr-FR" altLang="fr-FR" sz="900" b="0" i="0" u="none" strike="noStrike" kern="1200" cap="none" spc="0" normalizeH="0" baseline="0" noProof="0">
                  <a:ln>
                    <a:noFill/>
                  </a:ln>
                  <a:solidFill>
                    <a:srgbClr val="555D7D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rPr>
                <a:t>des médicaments gaspillés </a:t>
              </a:r>
              <a:br>
                <a:rPr kumimoji="0" lang="fr-FR" altLang="fr-FR" sz="900" b="0" i="0" u="none" strike="noStrike" kern="1200" cap="none" spc="0" normalizeH="0" baseline="0" noProof="0">
                  <a:ln>
                    <a:noFill/>
                  </a:ln>
                  <a:solidFill>
                    <a:srgbClr val="555D7D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rPr>
              </a:br>
              <a:r>
                <a:rPr kumimoji="0" lang="fr-FR" altLang="fr-FR" sz="900" b="0" i="0" u="none" strike="noStrike" kern="1200" cap="none" spc="0" normalizeH="0" baseline="0" noProof="0">
                  <a:ln>
                    <a:noFill/>
                  </a:ln>
                  <a:solidFill>
                    <a:srgbClr val="555D7D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rPr>
                <a:t>sont dus à l’interruption </a:t>
              </a:r>
              <a:br>
                <a:rPr kumimoji="0" lang="fr-FR" altLang="fr-FR" sz="900" b="0" i="0" u="none" strike="noStrike" kern="1200" cap="none" spc="0" normalizeH="0" baseline="0" noProof="0">
                  <a:ln>
                    <a:noFill/>
                  </a:ln>
                  <a:solidFill>
                    <a:srgbClr val="555D7D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rPr>
              </a:br>
              <a:r>
                <a:rPr kumimoji="0" lang="fr-FR" altLang="fr-FR" sz="900" b="0" i="0" u="none" strike="noStrike" kern="1200" cap="none" spc="0" normalizeH="0" baseline="0" noProof="0">
                  <a:ln>
                    <a:noFill/>
                  </a:ln>
                  <a:solidFill>
                    <a:srgbClr val="555D7D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rPr>
                <a:t>des traitements avant leur terme </a:t>
              </a:r>
            </a:p>
          </p:txBody>
        </p:sp>
      </p:grpSp>
      <p:grpSp>
        <p:nvGrpSpPr>
          <p:cNvPr id="63" name="Groupe 62">
            <a:extLst>
              <a:ext uri="{FF2B5EF4-FFF2-40B4-BE49-F238E27FC236}">
                <a16:creationId xmlns:a16="http://schemas.microsoft.com/office/drawing/2014/main" id="{40892970-2778-A182-C254-AA0F3C333E0A}"/>
              </a:ext>
            </a:extLst>
          </p:cNvPr>
          <p:cNvGrpSpPr/>
          <p:nvPr/>
        </p:nvGrpSpPr>
        <p:grpSpPr>
          <a:xfrm>
            <a:off x="1135112" y="3780998"/>
            <a:ext cx="2499602" cy="2205313"/>
            <a:chOff x="1135112" y="3974038"/>
            <a:chExt cx="2499602" cy="2205313"/>
          </a:xfrm>
        </p:grpSpPr>
        <p:sp>
          <p:nvSpPr>
            <p:cNvPr id="34" name="!!_01_!!">
              <a:extLst>
                <a:ext uri="{FF2B5EF4-FFF2-40B4-BE49-F238E27FC236}">
                  <a16:creationId xmlns:a16="http://schemas.microsoft.com/office/drawing/2014/main" id="{3EFF9929-2D26-3BBB-28D1-C50BD42B62E9}"/>
                </a:ext>
              </a:extLst>
            </p:cNvPr>
            <p:cNvSpPr txBox="1"/>
            <p:nvPr/>
          </p:nvSpPr>
          <p:spPr>
            <a:xfrm>
              <a:off x="1135112" y="3974038"/>
              <a:ext cx="2223479" cy="452050"/>
            </a:xfrm>
            <a:prstGeom prst="roundRect">
              <a:avLst>
                <a:gd name="adj" fmla="val 50000"/>
              </a:avLst>
            </a:prstGeom>
            <a:solidFill>
              <a:srgbClr val="555D7D"/>
            </a:solidFill>
          </p:spPr>
          <p:txBody>
            <a:bodyPr wrap="none" anchor="ctr">
              <a:noAutofit/>
            </a:bodyPr>
            <a:lstStyle/>
            <a:p>
              <a:r>
                <a:rPr lang="fr-FR">
                  <a:solidFill>
                    <a:schemeClr val="bg1"/>
                  </a:solidFill>
                  <a:latin typeface="Montserrat Alternates ExtraBold" panose="00000900000000000000" pitchFamily="2" charset="0"/>
                </a:rPr>
                <a:t>1</a:t>
              </a:r>
            </a:p>
          </p:txBody>
        </p:sp>
        <p:sp>
          <p:nvSpPr>
            <p:cNvPr id="35" name="!!_01_Texte_!!">
              <a:extLst>
                <a:ext uri="{FF2B5EF4-FFF2-40B4-BE49-F238E27FC236}">
                  <a16:creationId xmlns:a16="http://schemas.microsoft.com/office/drawing/2014/main" id="{01CC8990-285B-E9B3-9F88-0DBB77BF95F0}"/>
                </a:ext>
              </a:extLst>
            </p:cNvPr>
            <p:cNvSpPr txBox="1"/>
            <p:nvPr/>
          </p:nvSpPr>
          <p:spPr>
            <a:xfrm>
              <a:off x="1411235" y="4554290"/>
              <a:ext cx="2223479" cy="162506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</a:pPr>
              <a:r>
                <a:rPr kumimoji="0" lang="fr-FR" altLang="fr-FR" sz="1050" b="1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Le médecin prescrit, </a:t>
              </a:r>
              <a:br>
                <a:rPr kumimoji="0" lang="fr-FR" altLang="fr-FR" sz="1050" b="1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</a:br>
              <a:r>
                <a:rPr kumimoji="0" lang="fr-FR" altLang="fr-FR" sz="1050" b="1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le pharmacien délivre. </a:t>
              </a:r>
              <a:endParaRPr lang="fr-FR" altLang="fr-FR" sz="1050"/>
            </a:p>
            <a:p>
              <a:pPr marR="0" lvl="0" algn="l" defTabSz="914400" rtl="0" eaLnBrk="0" fontAlgn="base" latinLnBrk="0" hangingPunct="0">
                <a:spcBef>
                  <a:spcPts val="300"/>
                </a:spcBef>
                <a:spcAft>
                  <a:spcPct val="0"/>
                </a:spcAft>
                <a:buClrTx/>
                <a:buSzTx/>
                <a:tabLst/>
              </a:pPr>
              <a:r>
                <a:rPr kumimoji="0" lang="fr-FR" altLang="fr-FR" sz="105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Le patient n'utilise souvent </a:t>
              </a:r>
              <a:br>
                <a:rPr kumimoji="0" lang="fr-FR" altLang="fr-FR" sz="105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</a:br>
              <a:r>
                <a:rPr kumimoji="0" lang="fr-FR" altLang="fr-FR" sz="105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qu'une partie du traitement… </a:t>
              </a:r>
              <a:br>
                <a:rPr kumimoji="0" lang="fr-FR" altLang="fr-FR" sz="105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</a:br>
              <a:r>
                <a:rPr kumimoji="0" lang="fr-FR" altLang="fr-FR" sz="1050" b="0" i="0" u="non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voir</a:t>
              </a:r>
              <a:r>
                <a:rPr kumimoji="0" lang="fr-FR" altLang="fr-FR" sz="105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 pas du tout !</a:t>
              </a:r>
            </a:p>
            <a:p>
              <a:pPr marL="285750" marR="0" lvl="0" indent="-285750" algn="l" defTabSz="914400" rtl="0" eaLnBrk="0" fontAlgn="base" latinLnBrk="0" hangingPunct="0">
                <a:spcBef>
                  <a:spcPts val="3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kumimoji="0" lang="fr-FR" altLang="fr-FR" sz="10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Mauvaise observance</a:t>
              </a:r>
              <a:endParaRPr lang="fr-FR" altLang="fr-FR" sz="1000">
                <a:solidFill>
                  <a:schemeClr val="tx2"/>
                </a:solidFill>
              </a:endParaRPr>
            </a:p>
            <a:p>
              <a:pPr marL="285750" marR="0" lvl="0" indent="-285750" algn="l" defTabSz="914400" rtl="0" eaLnBrk="0" fontAlgn="base" latinLnBrk="0" hangingPunct="0"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lang="fr-FR" altLang="fr-FR" sz="1000">
                  <a:solidFill>
                    <a:schemeClr val="tx2"/>
                  </a:solidFill>
                </a:rPr>
                <a:t>E</a:t>
              </a:r>
              <a:r>
                <a:rPr kumimoji="0" lang="fr-FR" altLang="fr-FR" sz="10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ffets secondaires</a:t>
              </a:r>
              <a:endParaRPr lang="fr-FR" altLang="fr-FR" sz="1000">
                <a:solidFill>
                  <a:schemeClr val="tx2"/>
                </a:solidFill>
              </a:endParaRPr>
            </a:p>
            <a:p>
              <a:pPr marL="285750" marR="0" lvl="0" indent="-285750" algn="l" defTabSz="914400" rtl="0" eaLnBrk="0" fontAlgn="base" latinLnBrk="0" hangingPunct="0"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lang="fr-FR" altLang="fr-FR" sz="1000">
                  <a:solidFill>
                    <a:schemeClr val="tx2"/>
                  </a:solidFill>
                </a:rPr>
                <a:t>G</a:t>
              </a:r>
              <a:r>
                <a:rPr kumimoji="0" lang="fr-FR" altLang="fr-FR" sz="10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uérison plus rapide </a:t>
              </a:r>
            </a:p>
            <a:p>
              <a:pPr marL="285750" marR="0" lvl="0" indent="-285750" algn="l" defTabSz="914400" rtl="0" eaLnBrk="0" fontAlgn="base" latinLnBrk="0" hangingPunct="0"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lang="fr-FR" altLang="fr-FR" sz="1000">
                  <a:solidFill>
                    <a:schemeClr val="tx2"/>
                  </a:solidFill>
                </a:rPr>
                <a:t>O</a:t>
              </a:r>
              <a:r>
                <a:rPr kumimoji="0" lang="fr-FR" altLang="fr-FR" sz="10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</a:rPr>
                <a:t>ubli du traitement.</a:t>
              </a:r>
              <a:endParaRPr lang="fr-FR" altLang="fr-FR" sz="10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</a:endParaRPr>
            </a:p>
          </p:txBody>
        </p:sp>
        <p:sp>
          <p:nvSpPr>
            <p:cNvPr id="62" name="ZoneTexte 61">
              <a:extLst>
                <a:ext uri="{FF2B5EF4-FFF2-40B4-BE49-F238E27FC236}">
                  <a16:creationId xmlns:a16="http://schemas.microsoft.com/office/drawing/2014/main" id="{4E94F544-945B-FFEB-D149-BF26F169FCFA}"/>
                </a:ext>
              </a:extLst>
            </p:cNvPr>
            <p:cNvSpPr txBox="1"/>
            <p:nvPr/>
          </p:nvSpPr>
          <p:spPr>
            <a:xfrm>
              <a:off x="1409433" y="4004518"/>
              <a:ext cx="1720516" cy="4062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 Alternates ExtraBold" panose="00000900000000000000" pitchFamily="2" charset="0"/>
                  <a:ea typeface="+mn-ea"/>
                  <a:cs typeface="+mn-cs"/>
                </a:rPr>
                <a:t>Prescription </a:t>
              </a:r>
              <a:br>
                <a:rPr kumimoji="0" lang="fr-FR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 Alternates ExtraBold" panose="00000900000000000000" pitchFamily="2" charset="0"/>
                  <a:ea typeface="+mn-ea"/>
                  <a:cs typeface="+mn-cs"/>
                </a:rPr>
              </a:br>
              <a:r>
                <a:rPr kumimoji="0" lang="fr-FR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 Alternates ExtraBold" panose="00000900000000000000" pitchFamily="2" charset="0"/>
                  <a:ea typeface="+mn-ea"/>
                  <a:cs typeface="+mn-cs"/>
                </a:rPr>
                <a:t>&amp; automédication</a:t>
              </a:r>
            </a:p>
          </p:txBody>
        </p:sp>
      </p:grpSp>
      <p:sp>
        <p:nvSpPr>
          <p:cNvPr id="69" name="Graphique 67">
            <a:extLst>
              <a:ext uri="{FF2B5EF4-FFF2-40B4-BE49-F238E27FC236}">
                <a16:creationId xmlns:a16="http://schemas.microsoft.com/office/drawing/2014/main" id="{8F58FFDD-BBA2-875C-3E3B-ED38475DD28B}"/>
              </a:ext>
            </a:extLst>
          </p:cNvPr>
          <p:cNvSpPr/>
          <p:nvPr/>
        </p:nvSpPr>
        <p:spPr>
          <a:xfrm>
            <a:off x="3976007" y="3927866"/>
            <a:ext cx="71260" cy="142520"/>
          </a:xfrm>
          <a:custGeom>
            <a:avLst/>
            <a:gdLst>
              <a:gd name="connsiteX0" fmla="*/ 0 w 2396680"/>
              <a:gd name="connsiteY0" fmla="*/ 0 h 4793360"/>
              <a:gd name="connsiteX1" fmla="*/ 2396681 w 2396680"/>
              <a:gd name="connsiteY1" fmla="*/ 2396681 h 4793360"/>
              <a:gd name="connsiteX2" fmla="*/ 0 w 2396680"/>
              <a:gd name="connsiteY2" fmla="*/ 4793361 h 4793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96680" h="4793360">
                <a:moveTo>
                  <a:pt x="0" y="0"/>
                </a:moveTo>
                <a:lnTo>
                  <a:pt x="2396681" y="2396681"/>
                </a:lnTo>
                <a:lnTo>
                  <a:pt x="0" y="4793361"/>
                </a:lnTo>
              </a:path>
            </a:pathLst>
          </a:custGeom>
          <a:noFill/>
          <a:ln w="31750" cap="rnd">
            <a:solidFill>
              <a:schemeClr val="tx2"/>
            </a:solidFill>
            <a:prstDash val="solid"/>
            <a:round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70" name="Graphique 67">
            <a:extLst>
              <a:ext uri="{FF2B5EF4-FFF2-40B4-BE49-F238E27FC236}">
                <a16:creationId xmlns:a16="http://schemas.microsoft.com/office/drawing/2014/main" id="{24FD5F2D-7581-DE7B-2001-1F444EC89B82}"/>
              </a:ext>
            </a:extLst>
          </p:cNvPr>
          <p:cNvSpPr/>
          <p:nvPr/>
        </p:nvSpPr>
        <p:spPr>
          <a:xfrm>
            <a:off x="7840945" y="3927866"/>
            <a:ext cx="71260" cy="142520"/>
          </a:xfrm>
          <a:custGeom>
            <a:avLst/>
            <a:gdLst>
              <a:gd name="connsiteX0" fmla="*/ 0 w 2396680"/>
              <a:gd name="connsiteY0" fmla="*/ 0 h 4793360"/>
              <a:gd name="connsiteX1" fmla="*/ 2396681 w 2396680"/>
              <a:gd name="connsiteY1" fmla="*/ 2396681 h 4793360"/>
              <a:gd name="connsiteX2" fmla="*/ 0 w 2396680"/>
              <a:gd name="connsiteY2" fmla="*/ 4793361 h 4793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96680" h="4793360">
                <a:moveTo>
                  <a:pt x="0" y="0"/>
                </a:moveTo>
                <a:lnTo>
                  <a:pt x="2396681" y="2396681"/>
                </a:lnTo>
                <a:lnTo>
                  <a:pt x="0" y="4793361"/>
                </a:lnTo>
              </a:path>
            </a:pathLst>
          </a:custGeom>
          <a:noFill/>
          <a:ln w="31750" cap="rnd">
            <a:solidFill>
              <a:schemeClr val="tx2"/>
            </a:solidFill>
            <a:prstDash val="solid"/>
            <a:round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71" name="Graphique 67">
            <a:extLst>
              <a:ext uri="{FF2B5EF4-FFF2-40B4-BE49-F238E27FC236}">
                <a16:creationId xmlns:a16="http://schemas.microsoft.com/office/drawing/2014/main" id="{1434CA1F-8D0B-7D3F-2FFF-26EB283C0571}"/>
              </a:ext>
            </a:extLst>
          </p:cNvPr>
          <p:cNvSpPr/>
          <p:nvPr/>
        </p:nvSpPr>
        <p:spPr>
          <a:xfrm>
            <a:off x="10498420" y="3927866"/>
            <a:ext cx="71260" cy="142520"/>
          </a:xfrm>
          <a:custGeom>
            <a:avLst/>
            <a:gdLst>
              <a:gd name="connsiteX0" fmla="*/ 0 w 2396680"/>
              <a:gd name="connsiteY0" fmla="*/ 0 h 4793360"/>
              <a:gd name="connsiteX1" fmla="*/ 2396681 w 2396680"/>
              <a:gd name="connsiteY1" fmla="*/ 2396681 h 4793360"/>
              <a:gd name="connsiteX2" fmla="*/ 0 w 2396680"/>
              <a:gd name="connsiteY2" fmla="*/ 4793361 h 4793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96680" h="4793360">
                <a:moveTo>
                  <a:pt x="0" y="0"/>
                </a:moveTo>
                <a:lnTo>
                  <a:pt x="2396681" y="2396681"/>
                </a:lnTo>
                <a:lnTo>
                  <a:pt x="0" y="4793361"/>
                </a:lnTo>
              </a:path>
            </a:pathLst>
          </a:custGeom>
          <a:noFill/>
          <a:ln w="31750" cap="rnd">
            <a:solidFill>
              <a:schemeClr val="tx2"/>
            </a:solidFill>
            <a:prstDash val="solid"/>
            <a:round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72" name="Graphique 67">
            <a:extLst>
              <a:ext uri="{FF2B5EF4-FFF2-40B4-BE49-F238E27FC236}">
                <a16:creationId xmlns:a16="http://schemas.microsoft.com/office/drawing/2014/main" id="{AB50EF3D-0B09-6456-E5F0-481968D10B95}"/>
              </a:ext>
            </a:extLst>
          </p:cNvPr>
          <p:cNvSpPr/>
          <p:nvPr/>
        </p:nvSpPr>
        <p:spPr>
          <a:xfrm rot="5400000">
            <a:off x="11380924" y="5023062"/>
            <a:ext cx="71260" cy="142520"/>
          </a:xfrm>
          <a:custGeom>
            <a:avLst/>
            <a:gdLst>
              <a:gd name="connsiteX0" fmla="*/ 0 w 2396680"/>
              <a:gd name="connsiteY0" fmla="*/ 0 h 4793360"/>
              <a:gd name="connsiteX1" fmla="*/ 2396681 w 2396680"/>
              <a:gd name="connsiteY1" fmla="*/ 2396681 h 4793360"/>
              <a:gd name="connsiteX2" fmla="*/ 0 w 2396680"/>
              <a:gd name="connsiteY2" fmla="*/ 4793361 h 4793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96680" h="4793360">
                <a:moveTo>
                  <a:pt x="0" y="0"/>
                </a:moveTo>
                <a:lnTo>
                  <a:pt x="2396681" y="2396681"/>
                </a:lnTo>
                <a:lnTo>
                  <a:pt x="0" y="4793361"/>
                </a:lnTo>
              </a:path>
            </a:pathLst>
          </a:custGeom>
          <a:noFill/>
          <a:ln w="31750" cap="rnd">
            <a:solidFill>
              <a:schemeClr val="tx2"/>
            </a:solidFill>
            <a:prstDash val="solid"/>
            <a:round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73" name="Graphique 67">
            <a:extLst>
              <a:ext uri="{FF2B5EF4-FFF2-40B4-BE49-F238E27FC236}">
                <a16:creationId xmlns:a16="http://schemas.microsoft.com/office/drawing/2014/main" id="{232C2EC4-B8DF-FC85-BCEE-6A33E62C8DD2}"/>
              </a:ext>
            </a:extLst>
          </p:cNvPr>
          <p:cNvSpPr/>
          <p:nvPr/>
        </p:nvSpPr>
        <p:spPr>
          <a:xfrm rot="5400000" flipH="1" flipV="1">
            <a:off x="736115" y="5172147"/>
            <a:ext cx="71260" cy="142520"/>
          </a:xfrm>
          <a:custGeom>
            <a:avLst/>
            <a:gdLst>
              <a:gd name="connsiteX0" fmla="*/ 0 w 2396680"/>
              <a:gd name="connsiteY0" fmla="*/ 0 h 4793360"/>
              <a:gd name="connsiteX1" fmla="*/ 2396681 w 2396680"/>
              <a:gd name="connsiteY1" fmla="*/ 2396681 h 4793360"/>
              <a:gd name="connsiteX2" fmla="*/ 0 w 2396680"/>
              <a:gd name="connsiteY2" fmla="*/ 4793361 h 4793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96680" h="4793360">
                <a:moveTo>
                  <a:pt x="0" y="0"/>
                </a:moveTo>
                <a:lnTo>
                  <a:pt x="2396681" y="2396681"/>
                </a:lnTo>
                <a:lnTo>
                  <a:pt x="0" y="4793361"/>
                </a:lnTo>
              </a:path>
            </a:pathLst>
          </a:custGeom>
          <a:noFill/>
          <a:ln w="31750" cap="rnd">
            <a:solidFill>
              <a:schemeClr val="tx2"/>
            </a:solidFill>
            <a:prstDash val="solid"/>
            <a:round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74" name="Graphique 67">
            <a:extLst>
              <a:ext uri="{FF2B5EF4-FFF2-40B4-BE49-F238E27FC236}">
                <a16:creationId xmlns:a16="http://schemas.microsoft.com/office/drawing/2014/main" id="{948EAF33-E88E-8A03-01B4-ED6CA08947CD}"/>
              </a:ext>
            </a:extLst>
          </p:cNvPr>
          <p:cNvSpPr/>
          <p:nvPr/>
        </p:nvSpPr>
        <p:spPr>
          <a:xfrm flipH="1">
            <a:off x="6049402" y="6283440"/>
            <a:ext cx="71260" cy="142520"/>
          </a:xfrm>
          <a:custGeom>
            <a:avLst/>
            <a:gdLst>
              <a:gd name="connsiteX0" fmla="*/ 0 w 2396680"/>
              <a:gd name="connsiteY0" fmla="*/ 0 h 4793360"/>
              <a:gd name="connsiteX1" fmla="*/ 2396681 w 2396680"/>
              <a:gd name="connsiteY1" fmla="*/ 2396681 h 4793360"/>
              <a:gd name="connsiteX2" fmla="*/ 0 w 2396680"/>
              <a:gd name="connsiteY2" fmla="*/ 4793361 h 4793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96680" h="4793360">
                <a:moveTo>
                  <a:pt x="0" y="0"/>
                </a:moveTo>
                <a:lnTo>
                  <a:pt x="2396681" y="2396681"/>
                </a:lnTo>
                <a:lnTo>
                  <a:pt x="0" y="4793361"/>
                </a:lnTo>
              </a:path>
            </a:pathLst>
          </a:custGeom>
          <a:noFill/>
          <a:ln w="31750" cap="rnd">
            <a:solidFill>
              <a:schemeClr val="tx2"/>
            </a:solidFill>
            <a:prstDash val="solid"/>
            <a:round/>
          </a:ln>
        </p:spPr>
        <p:txBody>
          <a:bodyPr rtlCol="0" anchor="ctr"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45239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3.95833E-6 -4.07407E-6 L 0.11067 0.14491 " pathEditMode="relative" rAng="0" ptsTypes="AA">
                                      <p:cBhvr>
                                        <p:cTn id="9" dur="20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534" y="7245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2.96296E-6 L 0 -0.1419 " pathEditMode="relative" rAng="0" ptsTypes="AA">
                                      <p:cBhvr>
                                        <p:cTn id="14" dur="2000" spd="-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0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4.16667E-7 -1.85185E-6 L 0.07096 -1.85185E-6 " pathEditMode="relative" rAng="0" ptsTypes="AA">
                                      <p:cBhvr>
                                        <p:cTn id="19" dur="20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42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0 2.59259E-6 L 0.07096 2.59259E-6 " pathEditMode="relative" rAng="0" ptsTypes="AA">
                                      <p:cBhvr>
                                        <p:cTn id="24" dur="20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42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2.08333E-7 0 L 0.07096 0 " pathEditMode="relative" rAng="0" ptsTypes="AA">
                                      <p:cBhvr>
                                        <p:cTn id="29" dur="2000" spd="-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42" y="0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0 -2.59259E-6 L 0 -0.05532 " pathEditMode="relative" rAng="0" ptsTypes="AA">
                                      <p:cBhvr>
                                        <p:cTn id="34" dur="20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78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" presetClass="emph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39" dur="750" fill="hold"/>
                                        <p:tgtEl>
                                          <p:spTgt spid="63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6" presetClass="emp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41" dur="1000" fill="hold"/>
                                        <p:tgtEl>
                                          <p:spTgt spid="63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6" presetClass="emph" presetSubtype="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animScale>
                                      <p:cBhvr>
                                        <p:cTn id="46" dur="750" fill="hold"/>
                                        <p:tgtEl>
                                          <p:spTgt spid="64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6" presetClass="emph" presetSubtype="0" decel="10000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animScale>
                                      <p:cBhvr>
                                        <p:cTn id="48" dur="1000" fill="hold"/>
                                        <p:tgtEl>
                                          <p:spTgt spid="64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6" presetClass="emph" presetSubtype="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animScale>
                                      <p:cBhvr>
                                        <p:cTn id="53" dur="750" fill="hold"/>
                                        <p:tgtEl>
                                          <p:spTgt spid="65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54" presetID="6" presetClass="emph" presetSubtype="0" decel="10000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animScale>
                                      <p:cBhvr>
                                        <p:cTn id="55" dur="1000" fill="hold"/>
                                        <p:tgtEl>
                                          <p:spTgt spid="65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42" presetClass="path" presetSubtype="0" decel="100000" fill="hold" grpId="1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3.54167E-6 -1.85185E-6 L -0.01537 0.00023 " pathEditMode="relative" rAng="0" ptsTypes="AA">
                                      <p:cBhvr>
                                        <p:cTn id="60" dur="2000" spd="-100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68" y="0"/>
                                    </p:animMotion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42" presetClass="path" presetSubtype="0" decel="100000" fill="hold" grpId="1" nodeType="withEffect">
                                  <p:stCondLst>
                                    <p:cond delay="1600"/>
                                  </p:stCondLst>
                                  <p:childTnLst>
                                    <p:animMotion origin="layout" path="M 3.54167E-6 -1.85185E-6 L -0.01537 0.00023 " pathEditMode="relative" rAng="0" ptsTypes="AA">
                                      <p:cBhvr>
                                        <p:cTn id="65" dur="20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68" y="0"/>
                                    </p:animMotion>
                                  </p:childTnLst>
                                </p:cTn>
                              </p:par>
                              <p:par>
                                <p:cTn id="66" presetID="22" presetClass="entr" presetSubtype="1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8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22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42" presetClass="path" presetSubtype="0" decel="100000" fill="hold" grpId="1" nodeType="withEffect">
                                  <p:stCondLst>
                                    <p:cond delay="2200"/>
                                  </p:stCondLst>
                                  <p:childTnLst>
                                    <p:animMotion origin="layout" path="M 3.54167E-6 -1.85185E-6 L -0.01537 0.00023 " pathEditMode="relative" rAng="0" ptsTypes="AA">
                                      <p:cBhvr>
                                        <p:cTn id="73" dur="20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68" y="0"/>
                                    </p:animMotion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24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42" presetClass="path" presetSubtype="0" decel="100000" fill="hold" grpId="1" nodeType="withEffect">
                                  <p:stCondLst>
                                    <p:cond delay="2400"/>
                                  </p:stCondLst>
                                  <p:childTnLst>
                                    <p:animMotion origin="layout" path="M 1.875E-6 -4.07407E-6 L 1.875E-6 -0.02824 " pathEditMode="relative" rAng="0" ptsTypes="AA">
                                      <p:cBhvr>
                                        <p:cTn id="78" dur="20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412"/>
                                    </p:animMotion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8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42" presetClass="path" presetSubtype="0" decel="100000" fill="hold" grpId="1" nodeType="withEffect">
                                  <p:stCondLst>
                                    <p:cond delay="2800"/>
                                  </p:stCondLst>
                                  <p:childTnLst>
                                    <p:animMotion origin="layout" path="M 1.45833E-6 -3.7037E-7 L 0.01549 -3.7037E-7 " pathEditMode="relative" rAng="0" ptsTypes="AA">
                                      <p:cBhvr>
                                        <p:cTn id="83" dur="20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68" y="0"/>
                                    </p:animMotion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42" presetClass="path" presetSubtype="0" decel="100000" fill="hold" grpId="1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-1.25E-6 -3.33333E-6 L -1.25E-6 0.02709 " pathEditMode="relative" rAng="0" ptsTypes="AA">
                                      <p:cBhvr>
                                        <p:cTn id="88" dur="20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4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6" grpId="0" animBg="1"/>
      <p:bldP spid="22" grpId="0" animBg="1"/>
      <p:bldP spid="22" grpId="1" animBg="1"/>
      <p:bldP spid="9" grpId="0"/>
      <p:bldP spid="9" grpId="1"/>
      <p:bldP spid="21" grpId="0"/>
      <p:bldP spid="21" grpId="1"/>
      <p:bldP spid="31" grpId="0" animBg="1"/>
      <p:bldP spid="31" grpId="1" animBg="1"/>
      <p:bldP spid="69" grpId="0" animBg="1"/>
      <p:bldP spid="69" grpId="1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4C7D6">
            <a:alpha val="5000"/>
          </a:srgb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67C6D60-7D90-8FC2-8065-51D71319C8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tangle 78">
            <a:extLst>
              <a:ext uri="{FF2B5EF4-FFF2-40B4-BE49-F238E27FC236}">
                <a16:creationId xmlns:a16="http://schemas.microsoft.com/office/drawing/2014/main" id="{71C4E87A-08AE-3842-2769-2EA54C401FE9}"/>
              </a:ext>
            </a:extLst>
          </p:cNvPr>
          <p:cNvSpPr/>
          <p:nvPr/>
        </p:nvSpPr>
        <p:spPr>
          <a:xfrm>
            <a:off x="0" y="4470400"/>
            <a:ext cx="12192000" cy="2387600"/>
          </a:xfrm>
          <a:prstGeom prst="rect">
            <a:avLst/>
          </a:prstGeom>
          <a:solidFill>
            <a:srgbClr val="9097B3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5F35A8D4-A8AA-BFC1-A7EC-E43A3EB38E66}"/>
              </a:ext>
            </a:extLst>
          </p:cNvPr>
          <p:cNvGrpSpPr/>
          <p:nvPr/>
        </p:nvGrpSpPr>
        <p:grpSpPr>
          <a:xfrm>
            <a:off x="572667" y="487521"/>
            <a:ext cx="364153" cy="284070"/>
            <a:chOff x="1148496" y="1062130"/>
            <a:chExt cx="364153" cy="284070"/>
          </a:xfrm>
        </p:grpSpPr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557AB847-74FD-3DE2-E5BE-BEBDC450C77A}"/>
                </a:ext>
              </a:extLst>
            </p:cNvPr>
            <p:cNvSpPr/>
            <p:nvPr/>
          </p:nvSpPr>
          <p:spPr>
            <a:xfrm>
              <a:off x="1148496" y="1062130"/>
              <a:ext cx="284156" cy="284070"/>
            </a:xfrm>
            <a:custGeom>
              <a:avLst/>
              <a:gdLst>
                <a:gd name="connsiteX0" fmla="*/ 1927193 w 3012185"/>
                <a:gd name="connsiteY0" fmla="*/ 3011281 h 3011281"/>
                <a:gd name="connsiteX1" fmla="*/ 1159955 w 3012185"/>
                <a:gd name="connsiteY1" fmla="*/ 2694003 h 3011281"/>
                <a:gd name="connsiteX2" fmla="*/ 317754 w 3012185"/>
                <a:gd name="connsiteY2" fmla="*/ 1851803 h 3011281"/>
                <a:gd name="connsiteX3" fmla="*/ 0 w 3012185"/>
                <a:gd name="connsiteY3" fmla="*/ 1084564 h 3011281"/>
                <a:gd name="connsiteX4" fmla="*/ 317754 w 3012185"/>
                <a:gd name="connsiteY4" fmla="*/ 317325 h 3011281"/>
                <a:gd name="connsiteX5" fmla="*/ 1852232 w 3012185"/>
                <a:gd name="connsiteY5" fmla="*/ 317325 h 3011281"/>
                <a:gd name="connsiteX6" fmla="*/ 2694432 w 3012185"/>
                <a:gd name="connsiteY6" fmla="*/ 1159526 h 3011281"/>
                <a:gd name="connsiteX7" fmla="*/ 3012186 w 3012185"/>
                <a:gd name="connsiteY7" fmla="*/ 1926765 h 3011281"/>
                <a:gd name="connsiteX8" fmla="*/ 2694432 w 3012185"/>
                <a:gd name="connsiteY8" fmla="*/ 2694003 h 3011281"/>
                <a:gd name="connsiteX9" fmla="*/ 1927193 w 3012185"/>
                <a:gd name="connsiteY9" fmla="*/ 3011281 h 3011281"/>
                <a:gd name="connsiteX10" fmla="*/ 1084993 w 3012185"/>
                <a:gd name="connsiteY10" fmla="*/ 480012 h 3011281"/>
                <a:gd name="connsiteX11" fmla="*/ 657320 w 3012185"/>
                <a:gd name="connsiteY11" fmla="*/ 656892 h 3011281"/>
                <a:gd name="connsiteX12" fmla="*/ 480155 w 3012185"/>
                <a:gd name="connsiteY12" fmla="*/ 1084564 h 3011281"/>
                <a:gd name="connsiteX13" fmla="*/ 657320 w 3012185"/>
                <a:gd name="connsiteY13" fmla="*/ 1512237 h 3011281"/>
                <a:gd name="connsiteX14" fmla="*/ 1499521 w 3012185"/>
                <a:gd name="connsiteY14" fmla="*/ 2354437 h 3011281"/>
                <a:gd name="connsiteX15" fmla="*/ 2354961 w 3012185"/>
                <a:gd name="connsiteY15" fmla="*/ 2354437 h 3011281"/>
                <a:gd name="connsiteX16" fmla="*/ 2532126 w 3012185"/>
                <a:gd name="connsiteY16" fmla="*/ 1926765 h 3011281"/>
                <a:gd name="connsiteX17" fmla="*/ 2354961 w 3012185"/>
                <a:gd name="connsiteY17" fmla="*/ 1499092 h 3011281"/>
                <a:gd name="connsiteX18" fmla="*/ 1512761 w 3012185"/>
                <a:gd name="connsiteY18" fmla="*/ 656892 h 3011281"/>
                <a:gd name="connsiteX19" fmla="*/ 1084993 w 3012185"/>
                <a:gd name="connsiteY19" fmla="*/ 480012 h 301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12185" h="3011281">
                  <a:moveTo>
                    <a:pt x="1927193" y="3011281"/>
                  </a:moveTo>
                  <a:cubicBezTo>
                    <a:pt x="1649349" y="3011281"/>
                    <a:pt x="1371505" y="2905554"/>
                    <a:pt x="1159955" y="2694003"/>
                  </a:cubicBezTo>
                  <a:lnTo>
                    <a:pt x="317754" y="1851803"/>
                  </a:lnTo>
                  <a:cubicBezTo>
                    <a:pt x="112871" y="1646825"/>
                    <a:pt x="0" y="1374410"/>
                    <a:pt x="0" y="1084564"/>
                  </a:cubicBezTo>
                  <a:cubicBezTo>
                    <a:pt x="0" y="794718"/>
                    <a:pt x="112871" y="522303"/>
                    <a:pt x="317754" y="317325"/>
                  </a:cubicBezTo>
                  <a:cubicBezTo>
                    <a:pt x="740855" y="-105775"/>
                    <a:pt x="1429131" y="-105775"/>
                    <a:pt x="1852232" y="317325"/>
                  </a:cubicBezTo>
                  <a:lnTo>
                    <a:pt x="2694432" y="1159526"/>
                  </a:lnTo>
                  <a:cubicBezTo>
                    <a:pt x="2899410" y="1364504"/>
                    <a:pt x="3012186" y="1636919"/>
                    <a:pt x="3012186" y="1926765"/>
                  </a:cubicBezTo>
                  <a:cubicBezTo>
                    <a:pt x="3012186" y="2216611"/>
                    <a:pt x="2899315" y="2489025"/>
                    <a:pt x="2694432" y="2694003"/>
                  </a:cubicBezTo>
                  <a:cubicBezTo>
                    <a:pt x="2489549" y="2898982"/>
                    <a:pt x="2205038" y="3011281"/>
                    <a:pt x="1927193" y="3011281"/>
                  </a:cubicBezTo>
                  <a:close/>
                  <a:moveTo>
                    <a:pt x="1084993" y="480012"/>
                  </a:moveTo>
                  <a:cubicBezTo>
                    <a:pt x="930116" y="480012"/>
                    <a:pt x="775240" y="538972"/>
                    <a:pt x="657320" y="656892"/>
                  </a:cubicBezTo>
                  <a:cubicBezTo>
                    <a:pt x="543116" y="771096"/>
                    <a:pt x="480155" y="923020"/>
                    <a:pt x="480155" y="1084564"/>
                  </a:cubicBezTo>
                  <a:cubicBezTo>
                    <a:pt x="480155" y="1246108"/>
                    <a:pt x="543020" y="1398032"/>
                    <a:pt x="657320" y="1512237"/>
                  </a:cubicBezTo>
                  <a:lnTo>
                    <a:pt x="1499521" y="2354437"/>
                  </a:lnTo>
                  <a:cubicBezTo>
                    <a:pt x="1735360" y="2590276"/>
                    <a:pt x="2119122" y="2590276"/>
                    <a:pt x="2354961" y="2354437"/>
                  </a:cubicBezTo>
                  <a:cubicBezTo>
                    <a:pt x="2469166" y="2240233"/>
                    <a:pt x="2532126" y="2088309"/>
                    <a:pt x="2532126" y="1926765"/>
                  </a:cubicBezTo>
                  <a:cubicBezTo>
                    <a:pt x="2532126" y="1765221"/>
                    <a:pt x="2469261" y="1613297"/>
                    <a:pt x="2354961" y="1499092"/>
                  </a:cubicBezTo>
                  <a:lnTo>
                    <a:pt x="1512761" y="656892"/>
                  </a:lnTo>
                  <a:cubicBezTo>
                    <a:pt x="1394841" y="538972"/>
                    <a:pt x="1239964" y="480012"/>
                    <a:pt x="1084993" y="480012"/>
                  </a:cubicBezTo>
                  <a:close/>
                </a:path>
              </a:pathLst>
            </a:custGeom>
            <a:solidFill>
              <a:srgbClr val="9097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E2CB7A45-0EF3-214F-9B58-6511F34FCB81}"/>
                </a:ext>
              </a:extLst>
            </p:cNvPr>
            <p:cNvSpPr/>
            <p:nvPr/>
          </p:nvSpPr>
          <p:spPr>
            <a:xfrm>
              <a:off x="1228502" y="1062130"/>
              <a:ext cx="284147" cy="284070"/>
            </a:xfrm>
            <a:custGeom>
              <a:avLst/>
              <a:gdLst>
                <a:gd name="connsiteX0" fmla="*/ 1084993 w 3012090"/>
                <a:gd name="connsiteY0" fmla="*/ 3011281 h 3011281"/>
                <a:gd name="connsiteX1" fmla="*/ 317754 w 3012090"/>
                <a:gd name="connsiteY1" fmla="*/ 2694003 h 3011281"/>
                <a:gd name="connsiteX2" fmla="*/ 0 w 3012090"/>
                <a:gd name="connsiteY2" fmla="*/ 1926765 h 3011281"/>
                <a:gd name="connsiteX3" fmla="*/ 317754 w 3012090"/>
                <a:gd name="connsiteY3" fmla="*/ 1159526 h 3011281"/>
                <a:gd name="connsiteX4" fmla="*/ 1159955 w 3012090"/>
                <a:gd name="connsiteY4" fmla="*/ 317325 h 3011281"/>
                <a:gd name="connsiteX5" fmla="*/ 2694337 w 3012090"/>
                <a:gd name="connsiteY5" fmla="*/ 317325 h 3011281"/>
                <a:gd name="connsiteX6" fmla="*/ 3012091 w 3012090"/>
                <a:gd name="connsiteY6" fmla="*/ 1084564 h 3011281"/>
                <a:gd name="connsiteX7" fmla="*/ 2694337 w 3012090"/>
                <a:gd name="connsiteY7" fmla="*/ 1851803 h 3011281"/>
                <a:gd name="connsiteX8" fmla="*/ 1852136 w 3012090"/>
                <a:gd name="connsiteY8" fmla="*/ 2694003 h 3011281"/>
                <a:gd name="connsiteX9" fmla="*/ 1084898 w 3012090"/>
                <a:gd name="connsiteY9" fmla="*/ 3011281 h 3011281"/>
                <a:gd name="connsiteX10" fmla="*/ 1927098 w 3012090"/>
                <a:gd name="connsiteY10" fmla="*/ 480012 h 3011281"/>
                <a:gd name="connsiteX11" fmla="*/ 1499426 w 3012090"/>
                <a:gd name="connsiteY11" fmla="*/ 656892 h 3011281"/>
                <a:gd name="connsiteX12" fmla="*/ 657225 w 3012090"/>
                <a:gd name="connsiteY12" fmla="*/ 1499092 h 3011281"/>
                <a:gd name="connsiteX13" fmla="*/ 480060 w 3012090"/>
                <a:gd name="connsiteY13" fmla="*/ 1926765 h 3011281"/>
                <a:gd name="connsiteX14" fmla="*/ 657225 w 3012090"/>
                <a:gd name="connsiteY14" fmla="*/ 2354437 h 3011281"/>
                <a:gd name="connsiteX15" fmla="*/ 1512570 w 3012090"/>
                <a:gd name="connsiteY15" fmla="*/ 2354437 h 3011281"/>
                <a:gd name="connsiteX16" fmla="*/ 2354771 w 3012090"/>
                <a:gd name="connsiteY16" fmla="*/ 1512237 h 3011281"/>
                <a:gd name="connsiteX17" fmla="*/ 2531935 w 3012090"/>
                <a:gd name="connsiteY17" fmla="*/ 1084564 h 3011281"/>
                <a:gd name="connsiteX18" fmla="*/ 2354771 w 3012090"/>
                <a:gd name="connsiteY18" fmla="*/ 656892 h 3011281"/>
                <a:gd name="connsiteX19" fmla="*/ 1927098 w 3012090"/>
                <a:gd name="connsiteY19" fmla="*/ 480012 h 301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12090" h="3011281">
                  <a:moveTo>
                    <a:pt x="1084993" y="3011281"/>
                  </a:moveTo>
                  <a:cubicBezTo>
                    <a:pt x="807149" y="3011281"/>
                    <a:pt x="529304" y="2905554"/>
                    <a:pt x="317754" y="2694003"/>
                  </a:cubicBezTo>
                  <a:cubicBezTo>
                    <a:pt x="106204" y="2482453"/>
                    <a:pt x="0" y="2216611"/>
                    <a:pt x="0" y="1926765"/>
                  </a:cubicBezTo>
                  <a:cubicBezTo>
                    <a:pt x="0" y="1636919"/>
                    <a:pt x="112871" y="1364504"/>
                    <a:pt x="317754" y="1159526"/>
                  </a:cubicBezTo>
                  <a:lnTo>
                    <a:pt x="1159955" y="317325"/>
                  </a:lnTo>
                  <a:cubicBezTo>
                    <a:pt x="1582960" y="-105775"/>
                    <a:pt x="2271332" y="-105775"/>
                    <a:pt x="2694337" y="317325"/>
                  </a:cubicBezTo>
                  <a:cubicBezTo>
                    <a:pt x="2899315" y="522303"/>
                    <a:pt x="3012091" y="794718"/>
                    <a:pt x="3012091" y="1084564"/>
                  </a:cubicBezTo>
                  <a:cubicBezTo>
                    <a:pt x="3012091" y="1374410"/>
                    <a:pt x="2899220" y="1646825"/>
                    <a:pt x="2694337" y="1851803"/>
                  </a:cubicBezTo>
                  <a:lnTo>
                    <a:pt x="1852136" y="2694003"/>
                  </a:lnTo>
                  <a:cubicBezTo>
                    <a:pt x="1640586" y="2905554"/>
                    <a:pt x="1362742" y="3011281"/>
                    <a:pt x="1084898" y="3011281"/>
                  </a:cubicBezTo>
                  <a:close/>
                  <a:moveTo>
                    <a:pt x="1927098" y="480012"/>
                  </a:moveTo>
                  <a:cubicBezTo>
                    <a:pt x="1772222" y="480012"/>
                    <a:pt x="1617345" y="538972"/>
                    <a:pt x="1499426" y="656892"/>
                  </a:cubicBezTo>
                  <a:lnTo>
                    <a:pt x="657225" y="1499092"/>
                  </a:lnTo>
                  <a:cubicBezTo>
                    <a:pt x="543020" y="1613297"/>
                    <a:pt x="480060" y="1765221"/>
                    <a:pt x="480060" y="1926765"/>
                  </a:cubicBezTo>
                  <a:cubicBezTo>
                    <a:pt x="480060" y="2088309"/>
                    <a:pt x="542925" y="2240233"/>
                    <a:pt x="657225" y="2354437"/>
                  </a:cubicBezTo>
                  <a:cubicBezTo>
                    <a:pt x="893064" y="2590276"/>
                    <a:pt x="1276731" y="2590276"/>
                    <a:pt x="1512570" y="2354437"/>
                  </a:cubicBezTo>
                  <a:lnTo>
                    <a:pt x="2354771" y="1512237"/>
                  </a:lnTo>
                  <a:cubicBezTo>
                    <a:pt x="2468975" y="1398032"/>
                    <a:pt x="2531935" y="1246108"/>
                    <a:pt x="2531935" y="1084564"/>
                  </a:cubicBezTo>
                  <a:cubicBezTo>
                    <a:pt x="2531935" y="923020"/>
                    <a:pt x="2469071" y="771096"/>
                    <a:pt x="2354771" y="656892"/>
                  </a:cubicBezTo>
                  <a:cubicBezTo>
                    <a:pt x="2236851" y="538972"/>
                    <a:pt x="2081975" y="480012"/>
                    <a:pt x="1927098" y="480012"/>
                  </a:cubicBezTo>
                  <a:close/>
                </a:path>
              </a:pathLst>
            </a:custGeom>
            <a:solidFill>
              <a:srgbClr val="4E966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075B4147-E9F5-2F66-4761-DAB038655CFC}"/>
              </a:ext>
            </a:extLst>
          </p:cNvPr>
          <p:cNvGrpSpPr/>
          <p:nvPr/>
        </p:nvGrpSpPr>
        <p:grpSpPr>
          <a:xfrm>
            <a:off x="1253744" y="449942"/>
            <a:ext cx="10444847" cy="359228"/>
            <a:chOff x="1253744" y="406400"/>
            <a:chExt cx="10444847" cy="359228"/>
          </a:xfrm>
        </p:grpSpPr>
        <p:sp>
          <p:nvSpPr>
            <p:cNvPr id="14" name="Rectangle : coins arrondis 13">
              <a:extLst>
                <a:ext uri="{FF2B5EF4-FFF2-40B4-BE49-F238E27FC236}">
                  <a16:creationId xmlns:a16="http://schemas.microsoft.com/office/drawing/2014/main" id="{DCFBDCFA-9590-9AE9-481A-74A87F9EA8EE}"/>
                </a:ext>
              </a:extLst>
            </p:cNvPr>
            <p:cNvSpPr/>
            <p:nvPr/>
          </p:nvSpPr>
          <p:spPr>
            <a:xfrm>
              <a:off x="1253744" y="406400"/>
              <a:ext cx="1474942" cy="359228"/>
            </a:xfrm>
            <a:prstGeom prst="roundRect">
              <a:avLst>
                <a:gd name="adj" fmla="val 50000"/>
              </a:avLst>
            </a:prstGeom>
            <a:solidFill>
              <a:srgbClr val="4E966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chemeClr val="bg1"/>
                  </a:solidFill>
                  <a:latin typeface="Montserrat Alternates SemiBold" panose="00000700000000000000" pitchFamily="2" charset="0"/>
                </a:rPr>
                <a:t>Enjeu</a:t>
              </a:r>
            </a:p>
          </p:txBody>
        </p:sp>
        <p:sp>
          <p:nvSpPr>
            <p:cNvPr id="15" name="Rectangle : coins arrondis 14">
              <a:extLst>
                <a:ext uri="{FF2B5EF4-FFF2-40B4-BE49-F238E27FC236}">
                  <a16:creationId xmlns:a16="http://schemas.microsoft.com/office/drawing/2014/main" id="{C00DEBDE-ED65-5805-F4B2-FB2DD46FA86C}"/>
                </a:ext>
              </a:extLst>
            </p:cNvPr>
            <p:cNvSpPr/>
            <p:nvPr/>
          </p:nvSpPr>
          <p:spPr>
            <a:xfrm>
              <a:off x="3047725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rgbClr val="C4C7D6"/>
                  </a:solidFill>
                </a:rPr>
                <a:t>Mission</a:t>
              </a:r>
            </a:p>
          </p:txBody>
        </p:sp>
        <p:sp>
          <p:nvSpPr>
            <p:cNvPr id="16" name="Rectangle : coins arrondis 15">
              <a:extLst>
                <a:ext uri="{FF2B5EF4-FFF2-40B4-BE49-F238E27FC236}">
                  <a16:creationId xmlns:a16="http://schemas.microsoft.com/office/drawing/2014/main" id="{5EA4871A-6DB8-BBC0-3B8E-D6293A676D9C}"/>
                </a:ext>
              </a:extLst>
            </p:cNvPr>
            <p:cNvSpPr/>
            <p:nvPr/>
          </p:nvSpPr>
          <p:spPr>
            <a:xfrm>
              <a:off x="6635687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rgbClr val="C4C7D6"/>
                  </a:solidFill>
                </a:rPr>
                <a:t>Fonctionnement</a:t>
              </a:r>
            </a:p>
          </p:txBody>
        </p:sp>
        <p:sp>
          <p:nvSpPr>
            <p:cNvPr id="17" name="Rectangle : coins arrondis 16">
              <a:extLst>
                <a:ext uri="{FF2B5EF4-FFF2-40B4-BE49-F238E27FC236}">
                  <a16:creationId xmlns:a16="http://schemas.microsoft.com/office/drawing/2014/main" id="{7B0AB43B-D6FA-0A07-E715-6B5A831D2E63}"/>
                </a:ext>
              </a:extLst>
            </p:cNvPr>
            <p:cNvSpPr/>
            <p:nvPr/>
          </p:nvSpPr>
          <p:spPr>
            <a:xfrm>
              <a:off x="8429668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rgbClr val="C4C7D6"/>
                  </a:solidFill>
                </a:rPr>
                <a:t>Offre</a:t>
              </a:r>
            </a:p>
          </p:txBody>
        </p:sp>
        <p:sp>
          <p:nvSpPr>
            <p:cNvPr id="18" name="Rectangle : coins arrondis 17">
              <a:extLst>
                <a:ext uri="{FF2B5EF4-FFF2-40B4-BE49-F238E27FC236}">
                  <a16:creationId xmlns:a16="http://schemas.microsoft.com/office/drawing/2014/main" id="{82B574BA-1BFF-5C4B-5948-DBEFBD495B51}"/>
                </a:ext>
              </a:extLst>
            </p:cNvPr>
            <p:cNvSpPr/>
            <p:nvPr/>
          </p:nvSpPr>
          <p:spPr>
            <a:xfrm>
              <a:off x="4841706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rgbClr val="C4C7D6"/>
                  </a:solidFill>
                </a:rPr>
                <a:t>Solution</a:t>
              </a:r>
            </a:p>
          </p:txBody>
        </p:sp>
        <p:sp>
          <p:nvSpPr>
            <p:cNvPr id="19" name="Rectangle : coins arrondis 18">
              <a:extLst>
                <a:ext uri="{FF2B5EF4-FFF2-40B4-BE49-F238E27FC236}">
                  <a16:creationId xmlns:a16="http://schemas.microsoft.com/office/drawing/2014/main" id="{B6BCE860-D7AD-20EC-AA1C-95BF8887353F}"/>
                </a:ext>
              </a:extLst>
            </p:cNvPr>
            <p:cNvSpPr/>
            <p:nvPr/>
          </p:nvSpPr>
          <p:spPr>
            <a:xfrm>
              <a:off x="10223649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rgbClr val="C4C7D6"/>
                  </a:solidFill>
                </a:rPr>
                <a:t>Fondateur</a:t>
              </a:r>
            </a:p>
          </p:txBody>
        </p:sp>
      </p:grpSp>
      <p:sp>
        <p:nvSpPr>
          <p:cNvPr id="6" name="ZoneTexte 5">
            <a:extLst>
              <a:ext uri="{FF2B5EF4-FFF2-40B4-BE49-F238E27FC236}">
                <a16:creationId xmlns:a16="http://schemas.microsoft.com/office/drawing/2014/main" id="{FFE31180-9459-305E-6840-A3D228FEA456}"/>
              </a:ext>
            </a:extLst>
          </p:cNvPr>
          <p:cNvSpPr txBox="1"/>
          <p:nvPr/>
        </p:nvSpPr>
        <p:spPr>
          <a:xfrm>
            <a:off x="3792484" y="1232343"/>
            <a:ext cx="4607030" cy="43088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/>
            <a:r>
              <a:rPr lang="fr-FR" sz="2800" b="1">
                <a:solidFill>
                  <a:srgbClr val="4E9664"/>
                </a:solidFill>
                <a:latin typeface="+mj-lt"/>
              </a:rPr>
              <a:t>FAIRE BOUGER LES LIGNES</a:t>
            </a:r>
            <a:endParaRPr lang="fr-FR" sz="1200">
              <a:solidFill>
                <a:srgbClr val="4E9664"/>
              </a:solidFill>
              <a:latin typeface="Montserrat Alternates SemiBold" panose="00000700000000000000" pitchFamily="2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BD1146B7-3CEC-F018-0A82-74C46A7CF4A7}"/>
              </a:ext>
            </a:extLst>
          </p:cNvPr>
          <p:cNvSpPr txBox="1"/>
          <p:nvPr/>
        </p:nvSpPr>
        <p:spPr>
          <a:xfrm>
            <a:off x="3959037" y="1617662"/>
            <a:ext cx="4273926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tabLst>
                <a:tab pos="4749800" algn="l"/>
              </a:tabLst>
            </a:pPr>
            <a:r>
              <a:rPr kumimoji="0" lang="fr-FR" sz="2400" b="0" i="0" u="none" strike="noStrike" kern="1200" cap="none" spc="0" normalizeH="0" baseline="0" noProof="0">
                <a:ln>
                  <a:noFill/>
                </a:ln>
                <a:solidFill>
                  <a:srgbClr val="555D7D"/>
                </a:solidFill>
                <a:effectLst/>
                <a:uLnTx/>
                <a:uFillTx/>
                <a:latin typeface="Montserrat Alternates SemiBold" panose="00000700000000000000" pitchFamily="2" charset="0"/>
              </a:rPr>
              <a:t>une question de bon sens</a:t>
            </a:r>
            <a:endParaRPr lang="fr-FR" sz="1200">
              <a:solidFill>
                <a:srgbClr val="555D7D"/>
              </a:solidFill>
              <a:latin typeface="Montserrat Alternates SemiBold" panose="00000700000000000000" pitchFamily="2" charset="0"/>
            </a:endParaRPr>
          </a:p>
        </p:txBody>
      </p:sp>
      <p:sp>
        <p:nvSpPr>
          <p:cNvPr id="54" name="Graphique 52">
            <a:extLst>
              <a:ext uri="{FF2B5EF4-FFF2-40B4-BE49-F238E27FC236}">
                <a16:creationId xmlns:a16="http://schemas.microsoft.com/office/drawing/2014/main" id="{FBC2874B-68E8-C477-66C1-A4F0CED2366A}"/>
              </a:ext>
            </a:extLst>
          </p:cNvPr>
          <p:cNvSpPr/>
          <p:nvPr/>
        </p:nvSpPr>
        <p:spPr>
          <a:xfrm>
            <a:off x="5945275" y="4241800"/>
            <a:ext cx="302546" cy="470032"/>
          </a:xfrm>
          <a:custGeom>
            <a:avLst/>
            <a:gdLst>
              <a:gd name="connsiteX0" fmla="*/ 4125339 w 4414516"/>
              <a:gd name="connsiteY0" fmla="*/ 2731049 h 6858362"/>
              <a:gd name="connsiteX1" fmla="*/ 1685516 w 4414516"/>
              <a:gd name="connsiteY1" fmla="*/ 291152 h 6858362"/>
              <a:gd name="connsiteX2" fmla="*/ 0 w 4414516"/>
              <a:gd name="connsiteY2" fmla="*/ 989322 h 6858362"/>
              <a:gd name="connsiteX3" fmla="*/ 0 w 4414516"/>
              <a:gd name="connsiteY3" fmla="*/ 5869041 h 6858362"/>
              <a:gd name="connsiteX4" fmla="*/ 1685516 w 4414516"/>
              <a:gd name="connsiteY4" fmla="*/ 6567211 h 6858362"/>
              <a:gd name="connsiteX5" fmla="*/ 4125339 w 4414516"/>
              <a:gd name="connsiteY5" fmla="*/ 4127387 h 6858362"/>
              <a:gd name="connsiteX6" fmla="*/ 4125339 w 4414516"/>
              <a:gd name="connsiteY6" fmla="*/ 2731049 h 6858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14516" h="6858362">
                <a:moveTo>
                  <a:pt x="4125339" y="2731049"/>
                </a:moveTo>
                <a:lnTo>
                  <a:pt x="1685516" y="291152"/>
                </a:lnTo>
                <a:cubicBezTo>
                  <a:pt x="1063539" y="-330825"/>
                  <a:pt x="0" y="109712"/>
                  <a:pt x="0" y="989322"/>
                </a:cubicBezTo>
                <a:lnTo>
                  <a:pt x="0" y="5869041"/>
                </a:lnTo>
                <a:cubicBezTo>
                  <a:pt x="0" y="6748651"/>
                  <a:pt x="1063539" y="7189188"/>
                  <a:pt x="1685516" y="6567211"/>
                </a:cubicBezTo>
                <a:lnTo>
                  <a:pt x="4125339" y="4127387"/>
                </a:lnTo>
                <a:cubicBezTo>
                  <a:pt x="4510910" y="3741817"/>
                  <a:pt x="4510910" y="3116619"/>
                  <a:pt x="4125339" y="2731049"/>
                </a:cubicBezTo>
                <a:close/>
              </a:path>
            </a:pathLst>
          </a:custGeom>
          <a:solidFill>
            <a:srgbClr val="4E9664"/>
          </a:solidFill>
          <a:ln w="7314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grpSp>
        <p:nvGrpSpPr>
          <p:cNvPr id="78" name="Groupe 77">
            <a:extLst>
              <a:ext uri="{FF2B5EF4-FFF2-40B4-BE49-F238E27FC236}">
                <a16:creationId xmlns:a16="http://schemas.microsoft.com/office/drawing/2014/main" id="{C4DAAEEB-0B43-7287-BCB9-27E1FD6A4152}"/>
              </a:ext>
            </a:extLst>
          </p:cNvPr>
          <p:cNvGrpSpPr/>
          <p:nvPr/>
        </p:nvGrpSpPr>
        <p:grpSpPr>
          <a:xfrm>
            <a:off x="6587299" y="2734263"/>
            <a:ext cx="4827954" cy="3434307"/>
            <a:chOff x="6587299" y="2734263"/>
            <a:chExt cx="4827954" cy="3434307"/>
          </a:xfrm>
        </p:grpSpPr>
        <p:sp>
          <p:nvSpPr>
            <p:cNvPr id="51" name="Rectangle : coins arrondis 50">
              <a:extLst>
                <a:ext uri="{FF2B5EF4-FFF2-40B4-BE49-F238E27FC236}">
                  <a16:creationId xmlns:a16="http://schemas.microsoft.com/office/drawing/2014/main" id="{7F98EBC8-C663-A1A1-138E-F6ACF02E1256}"/>
                </a:ext>
              </a:extLst>
            </p:cNvPr>
            <p:cNvSpPr/>
            <p:nvPr/>
          </p:nvSpPr>
          <p:spPr>
            <a:xfrm>
              <a:off x="6587299" y="2734263"/>
              <a:ext cx="4827954" cy="3434307"/>
            </a:xfrm>
            <a:prstGeom prst="roundRect">
              <a:avLst>
                <a:gd name="adj" fmla="val 5045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tIns="432000" rIns="288000" bIns="288000" rtlCol="0" anchor="t" anchorCtr="0"/>
            <a:lstStyle/>
            <a:p>
              <a:r>
                <a:rPr lang="fr-FR" sz="1600">
                  <a:solidFill>
                    <a:srgbClr val="555D7D"/>
                  </a:solidFill>
                </a:rPr>
                <a:t>Cette gabegie reste </a:t>
              </a:r>
              <a:br>
                <a:rPr lang="fr-FR" sz="1600">
                  <a:solidFill>
                    <a:srgbClr val="9097B3"/>
                  </a:solidFill>
                </a:rPr>
              </a:br>
              <a:r>
                <a:rPr lang="fr-FR">
                  <a:solidFill>
                    <a:srgbClr val="444A64"/>
                  </a:solidFill>
                  <a:latin typeface="Montserrat Alternates SemiBold" panose="00000700000000000000" pitchFamily="2" charset="0"/>
                </a:rPr>
                <a:t>un angle mort dans le secteur </a:t>
              </a:r>
              <a:br>
                <a:rPr lang="fr-FR">
                  <a:solidFill>
                    <a:srgbClr val="444A64"/>
                  </a:solidFill>
                  <a:latin typeface="Montserrat Alternates SemiBold" panose="00000700000000000000" pitchFamily="2" charset="0"/>
                </a:rPr>
              </a:br>
              <a:r>
                <a:rPr lang="fr-FR">
                  <a:solidFill>
                    <a:srgbClr val="444A64"/>
                  </a:solidFill>
                  <a:latin typeface="Montserrat Alternates SemiBold" panose="00000700000000000000" pitchFamily="2" charset="0"/>
                </a:rPr>
                <a:t>de la prévention santé </a:t>
              </a:r>
            </a:p>
          </p:txBody>
        </p:sp>
        <p:sp>
          <p:nvSpPr>
            <p:cNvPr id="55" name="Rectangle : avec coins arrondis en haut 54">
              <a:extLst>
                <a:ext uri="{FF2B5EF4-FFF2-40B4-BE49-F238E27FC236}">
                  <a16:creationId xmlns:a16="http://schemas.microsoft.com/office/drawing/2014/main" id="{CC5563B3-28C9-F88E-4CF5-085708BB5AEA}"/>
                </a:ext>
              </a:extLst>
            </p:cNvPr>
            <p:cNvSpPr/>
            <p:nvPr/>
          </p:nvSpPr>
          <p:spPr>
            <a:xfrm>
              <a:off x="6587299" y="4470400"/>
              <a:ext cx="4827954" cy="1698170"/>
            </a:xfrm>
            <a:prstGeom prst="round2SameRect">
              <a:avLst>
                <a:gd name="adj1" fmla="val 0"/>
                <a:gd name="adj2" fmla="val 4807"/>
              </a:avLst>
            </a:prstGeom>
            <a:solidFill>
              <a:srgbClr val="555D7D"/>
            </a:soli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tIns="0" rIns="0" bIns="0" rtlCol="0" anchor="ctr" anchorCtr="0"/>
            <a:lstStyle/>
            <a:p>
              <a:pPr marL="812800"/>
              <a:r>
                <a:rPr lang="fr-FR" sz="1600"/>
                <a:t>Face à une planète qui brûle, </a:t>
              </a:r>
              <a:br>
                <a:rPr lang="fr-FR" sz="1600"/>
              </a:br>
              <a:r>
                <a:rPr lang="fr-FR" sz="1600"/>
                <a:t>des médicaments qui manquent </a:t>
              </a:r>
              <a:br>
                <a:rPr lang="fr-FR" sz="1600"/>
              </a:br>
              <a:r>
                <a:rPr lang="fr-FR" sz="1600"/>
                <a:t>et une sécurité sociale au bord </a:t>
              </a:r>
              <a:br>
                <a:rPr lang="fr-FR" sz="1600"/>
              </a:br>
              <a:r>
                <a:rPr lang="fr-FR" sz="1600"/>
                <a:t>du gouffre, </a:t>
              </a:r>
              <a:r>
                <a:rPr lang="fr-FR" sz="1600" b="1"/>
                <a:t>nous ne pouvons </a:t>
              </a:r>
              <a:br>
                <a:rPr lang="fr-FR" sz="1600" b="1"/>
              </a:br>
              <a:r>
                <a:rPr lang="fr-FR" sz="1600" b="1"/>
                <a:t>plus rester les bras croisés</a:t>
              </a:r>
            </a:p>
          </p:txBody>
        </p:sp>
        <p:grpSp>
          <p:nvGrpSpPr>
            <p:cNvPr id="73" name="Groupe 72">
              <a:extLst>
                <a:ext uri="{FF2B5EF4-FFF2-40B4-BE49-F238E27FC236}">
                  <a16:creationId xmlns:a16="http://schemas.microsoft.com/office/drawing/2014/main" id="{6302249E-16EF-ACA1-E5BB-EEA20CC6365D}"/>
                </a:ext>
              </a:extLst>
            </p:cNvPr>
            <p:cNvGrpSpPr/>
            <p:nvPr/>
          </p:nvGrpSpPr>
          <p:grpSpPr>
            <a:xfrm>
              <a:off x="6850088" y="5123359"/>
              <a:ext cx="381000" cy="315382"/>
              <a:chOff x="3848100" y="1566862"/>
              <a:chExt cx="4495800" cy="3721511"/>
            </a:xfrm>
          </p:grpSpPr>
          <p:grpSp>
            <p:nvGrpSpPr>
              <p:cNvPr id="61" name="Graphique 58">
                <a:extLst>
                  <a:ext uri="{FF2B5EF4-FFF2-40B4-BE49-F238E27FC236}">
                    <a16:creationId xmlns:a16="http://schemas.microsoft.com/office/drawing/2014/main" id="{1D1D6867-5664-0113-FF7A-543CB429B06C}"/>
                  </a:ext>
                </a:extLst>
              </p:cNvPr>
              <p:cNvGrpSpPr/>
              <p:nvPr/>
            </p:nvGrpSpPr>
            <p:grpSpPr>
              <a:xfrm>
                <a:off x="3848100" y="1566862"/>
                <a:ext cx="4495800" cy="3000931"/>
                <a:chOff x="3848100" y="1566862"/>
                <a:chExt cx="4495800" cy="3000931"/>
              </a:xfrm>
            </p:grpSpPr>
            <p:sp>
              <p:nvSpPr>
                <p:cNvPr id="62" name="Forme libre : forme 61">
                  <a:extLst>
                    <a:ext uri="{FF2B5EF4-FFF2-40B4-BE49-F238E27FC236}">
                      <a16:creationId xmlns:a16="http://schemas.microsoft.com/office/drawing/2014/main" id="{5AA735BC-A210-D02A-EE5D-9F9B84330690}"/>
                    </a:ext>
                  </a:extLst>
                </p:cNvPr>
                <p:cNvSpPr/>
                <p:nvPr/>
              </p:nvSpPr>
              <p:spPr>
                <a:xfrm flipH="1">
                  <a:off x="5556480" y="2563184"/>
                  <a:ext cx="539484" cy="1001349"/>
                </a:xfrm>
                <a:custGeom>
                  <a:avLst/>
                  <a:gdLst>
                    <a:gd name="connsiteX0" fmla="*/ 0 w 9525"/>
                    <a:gd name="connsiteY0" fmla="*/ 0 h 489299"/>
                    <a:gd name="connsiteX1" fmla="*/ 0 w 9525"/>
                    <a:gd name="connsiteY1" fmla="*/ 489299 h 4892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489299">
                      <a:moveTo>
                        <a:pt x="0" y="0"/>
                      </a:moveTo>
                      <a:lnTo>
                        <a:pt x="0" y="489299"/>
                      </a:lnTo>
                    </a:path>
                  </a:pathLst>
                </a:custGeom>
                <a:ln w="2540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grpSp>
              <p:nvGrpSpPr>
                <p:cNvPr id="63" name="Graphique 58">
                  <a:extLst>
                    <a:ext uri="{FF2B5EF4-FFF2-40B4-BE49-F238E27FC236}">
                      <a16:creationId xmlns:a16="http://schemas.microsoft.com/office/drawing/2014/main" id="{47284943-EDBA-547B-31BB-F1897AB57FF1}"/>
                    </a:ext>
                  </a:extLst>
                </p:cNvPr>
                <p:cNvGrpSpPr/>
                <p:nvPr/>
              </p:nvGrpSpPr>
              <p:grpSpPr>
                <a:xfrm>
                  <a:off x="3848100" y="1566862"/>
                  <a:ext cx="4495800" cy="1801368"/>
                  <a:chOff x="3848100" y="1566862"/>
                  <a:chExt cx="4495800" cy="1801368"/>
                </a:xfrm>
              </p:grpSpPr>
              <p:grpSp>
                <p:nvGrpSpPr>
                  <p:cNvPr id="64" name="Graphique 58">
                    <a:extLst>
                      <a:ext uri="{FF2B5EF4-FFF2-40B4-BE49-F238E27FC236}">
                        <a16:creationId xmlns:a16="http://schemas.microsoft.com/office/drawing/2014/main" id="{799B56F4-2015-6F92-179A-232643CBDC94}"/>
                      </a:ext>
                    </a:extLst>
                  </p:cNvPr>
                  <p:cNvGrpSpPr/>
                  <p:nvPr/>
                </p:nvGrpSpPr>
                <p:grpSpPr>
                  <a:xfrm>
                    <a:off x="7411307" y="1566862"/>
                    <a:ext cx="932592" cy="1801368"/>
                    <a:chOff x="7411307" y="1566862"/>
                    <a:chExt cx="932592" cy="1801368"/>
                  </a:xfrm>
                </p:grpSpPr>
                <p:sp>
                  <p:nvSpPr>
                    <p:cNvPr id="65" name="Forme libre : forme 64">
                      <a:extLst>
                        <a:ext uri="{FF2B5EF4-FFF2-40B4-BE49-F238E27FC236}">
                          <a16:creationId xmlns:a16="http://schemas.microsoft.com/office/drawing/2014/main" id="{B5ADD31E-86B8-5602-6627-A08A3B5ACDE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047958" y="2384011"/>
                      <a:ext cx="120395" cy="60293"/>
                    </a:xfrm>
                    <a:custGeom>
                      <a:avLst/>
                      <a:gdLst>
                        <a:gd name="connsiteX0" fmla="*/ 120396 w 120395"/>
                        <a:gd name="connsiteY0" fmla="*/ 0 h 60293"/>
                        <a:gd name="connsiteX1" fmla="*/ 0 w 120395"/>
                        <a:gd name="connsiteY1" fmla="*/ 60293 h 6029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20395" h="60293">
                          <a:moveTo>
                            <a:pt x="120396" y="0"/>
                          </a:moveTo>
                          <a:lnTo>
                            <a:pt x="0" y="60293"/>
                          </a:lnTo>
                        </a:path>
                      </a:pathLst>
                    </a:custGeom>
                    <a:ln w="25400" cap="rnd">
                      <a:solidFill>
                        <a:schemeClr val="bg1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fr-FR"/>
                    </a:p>
                  </p:txBody>
                </p:sp>
                <p:sp>
                  <p:nvSpPr>
                    <p:cNvPr id="66" name="Forme libre : forme 65">
                      <a:extLst>
                        <a:ext uri="{FF2B5EF4-FFF2-40B4-BE49-F238E27FC236}">
                          <a16:creationId xmlns:a16="http://schemas.microsoft.com/office/drawing/2014/main" id="{1AA77D92-220E-2006-AFDD-198DC9BF36A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411307" y="1566862"/>
                      <a:ext cx="42767" cy="128301"/>
                    </a:xfrm>
                    <a:custGeom>
                      <a:avLst/>
                      <a:gdLst>
                        <a:gd name="connsiteX0" fmla="*/ 42767 w 42767"/>
                        <a:gd name="connsiteY0" fmla="*/ 0 h 128301"/>
                        <a:gd name="connsiteX1" fmla="*/ 0 w 42767"/>
                        <a:gd name="connsiteY1" fmla="*/ 128302 h 128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42767" h="128301">
                          <a:moveTo>
                            <a:pt x="42767" y="0"/>
                          </a:moveTo>
                          <a:lnTo>
                            <a:pt x="0" y="128302"/>
                          </a:lnTo>
                        </a:path>
                      </a:pathLst>
                    </a:custGeom>
                    <a:ln w="25400" cap="rnd">
                      <a:solidFill>
                        <a:schemeClr val="bg1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fr-FR"/>
                    </a:p>
                  </p:txBody>
                </p:sp>
                <p:sp>
                  <p:nvSpPr>
                    <p:cNvPr id="67" name="Forme libre : forme 66">
                      <a:extLst>
                        <a:ext uri="{FF2B5EF4-FFF2-40B4-BE49-F238E27FC236}">
                          <a16:creationId xmlns:a16="http://schemas.microsoft.com/office/drawing/2014/main" id="{7E2270BC-1CE6-E098-5653-F7FF6AD259C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216455" y="3325177"/>
                      <a:ext cx="127444" cy="43053"/>
                    </a:xfrm>
                    <a:custGeom>
                      <a:avLst/>
                      <a:gdLst>
                        <a:gd name="connsiteX0" fmla="*/ 127445 w 127444"/>
                        <a:gd name="connsiteY0" fmla="*/ 43053 h 43053"/>
                        <a:gd name="connsiteX1" fmla="*/ 0 w 127444"/>
                        <a:gd name="connsiteY1" fmla="*/ 0 h 4305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27444" h="43053">
                          <a:moveTo>
                            <a:pt x="127445" y="43053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25400" cap="rnd">
                      <a:solidFill>
                        <a:schemeClr val="bg1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fr-FR"/>
                    </a:p>
                  </p:txBody>
                </p:sp>
              </p:grpSp>
              <p:grpSp>
                <p:nvGrpSpPr>
                  <p:cNvPr id="68" name="Graphique 58">
                    <a:extLst>
                      <a:ext uri="{FF2B5EF4-FFF2-40B4-BE49-F238E27FC236}">
                        <a16:creationId xmlns:a16="http://schemas.microsoft.com/office/drawing/2014/main" id="{922B2A55-E450-9555-3E42-683847B81E99}"/>
                      </a:ext>
                    </a:extLst>
                  </p:cNvPr>
                  <p:cNvGrpSpPr/>
                  <p:nvPr/>
                </p:nvGrpSpPr>
                <p:grpSpPr>
                  <a:xfrm>
                    <a:off x="3848100" y="1566862"/>
                    <a:ext cx="932592" cy="1801368"/>
                    <a:chOff x="3848100" y="1566862"/>
                    <a:chExt cx="932592" cy="1801368"/>
                  </a:xfrm>
                </p:grpSpPr>
                <p:sp>
                  <p:nvSpPr>
                    <p:cNvPr id="69" name="Forme libre : forme 68">
                      <a:extLst>
                        <a:ext uri="{FF2B5EF4-FFF2-40B4-BE49-F238E27FC236}">
                          <a16:creationId xmlns:a16="http://schemas.microsoft.com/office/drawing/2014/main" id="{C77CCF7B-768A-03E9-8E1B-34544F6FBDF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023645" y="2384011"/>
                      <a:ext cx="120396" cy="60293"/>
                    </a:xfrm>
                    <a:custGeom>
                      <a:avLst/>
                      <a:gdLst>
                        <a:gd name="connsiteX0" fmla="*/ 0 w 120396"/>
                        <a:gd name="connsiteY0" fmla="*/ 0 h 60293"/>
                        <a:gd name="connsiteX1" fmla="*/ 120396 w 120396"/>
                        <a:gd name="connsiteY1" fmla="*/ 60293 h 6029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20396" h="60293">
                          <a:moveTo>
                            <a:pt x="0" y="0"/>
                          </a:moveTo>
                          <a:lnTo>
                            <a:pt x="120396" y="60293"/>
                          </a:lnTo>
                        </a:path>
                      </a:pathLst>
                    </a:custGeom>
                    <a:ln w="25400" cap="rnd">
                      <a:solidFill>
                        <a:schemeClr val="bg1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fr-FR"/>
                    </a:p>
                  </p:txBody>
                </p:sp>
                <p:sp>
                  <p:nvSpPr>
                    <p:cNvPr id="70" name="Forme libre : forme 69">
                      <a:extLst>
                        <a:ext uri="{FF2B5EF4-FFF2-40B4-BE49-F238E27FC236}">
                          <a16:creationId xmlns:a16="http://schemas.microsoft.com/office/drawing/2014/main" id="{BAC5C218-BEED-030B-0D1F-226193180AA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37925" y="1566862"/>
                      <a:ext cx="42767" cy="128301"/>
                    </a:xfrm>
                    <a:custGeom>
                      <a:avLst/>
                      <a:gdLst>
                        <a:gd name="connsiteX0" fmla="*/ 0 w 42767"/>
                        <a:gd name="connsiteY0" fmla="*/ 0 h 128301"/>
                        <a:gd name="connsiteX1" fmla="*/ 42767 w 42767"/>
                        <a:gd name="connsiteY1" fmla="*/ 128302 h 128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42767" h="128301">
                          <a:moveTo>
                            <a:pt x="0" y="0"/>
                          </a:moveTo>
                          <a:lnTo>
                            <a:pt x="42767" y="128302"/>
                          </a:lnTo>
                        </a:path>
                      </a:pathLst>
                    </a:custGeom>
                    <a:ln w="25400" cap="rnd">
                      <a:solidFill>
                        <a:schemeClr val="bg1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fr-FR"/>
                    </a:p>
                  </p:txBody>
                </p:sp>
                <p:sp>
                  <p:nvSpPr>
                    <p:cNvPr id="71" name="Forme libre : forme 70">
                      <a:extLst>
                        <a:ext uri="{FF2B5EF4-FFF2-40B4-BE49-F238E27FC236}">
                          <a16:creationId xmlns:a16="http://schemas.microsoft.com/office/drawing/2014/main" id="{0E9418AC-66FE-33E7-1BB3-83076BC2F73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48100" y="3325177"/>
                      <a:ext cx="127444" cy="43053"/>
                    </a:xfrm>
                    <a:custGeom>
                      <a:avLst/>
                      <a:gdLst>
                        <a:gd name="connsiteX0" fmla="*/ 0 w 127444"/>
                        <a:gd name="connsiteY0" fmla="*/ 43053 h 43053"/>
                        <a:gd name="connsiteX1" fmla="*/ 127445 w 127444"/>
                        <a:gd name="connsiteY1" fmla="*/ 0 h 4305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27444" h="43053">
                          <a:moveTo>
                            <a:pt x="0" y="43053"/>
                          </a:moveTo>
                          <a:lnTo>
                            <a:pt x="127445" y="0"/>
                          </a:lnTo>
                        </a:path>
                      </a:pathLst>
                    </a:custGeom>
                    <a:ln w="25400" cap="rnd">
                      <a:solidFill>
                        <a:schemeClr val="bg1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fr-FR"/>
                    </a:p>
                  </p:txBody>
                </p:sp>
              </p:grpSp>
            </p:grpSp>
            <p:sp>
              <p:nvSpPr>
                <p:cNvPr id="74" name="Forme libre : forme 73">
                  <a:extLst>
                    <a:ext uri="{FF2B5EF4-FFF2-40B4-BE49-F238E27FC236}">
                      <a16:creationId xmlns:a16="http://schemas.microsoft.com/office/drawing/2014/main" id="{F3A5D54E-E61E-BCBF-8AC9-0BA0B0DCD05E}"/>
                    </a:ext>
                  </a:extLst>
                </p:cNvPr>
                <p:cNvSpPr/>
                <p:nvPr/>
              </p:nvSpPr>
              <p:spPr>
                <a:xfrm>
                  <a:off x="6096000" y="4142993"/>
                  <a:ext cx="9523" cy="424800"/>
                </a:xfrm>
                <a:custGeom>
                  <a:avLst/>
                  <a:gdLst>
                    <a:gd name="connsiteX0" fmla="*/ 0 w 9525"/>
                    <a:gd name="connsiteY0" fmla="*/ 0 h 489299"/>
                    <a:gd name="connsiteX1" fmla="*/ 0 w 9525"/>
                    <a:gd name="connsiteY1" fmla="*/ 489299 h 4892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489299">
                      <a:moveTo>
                        <a:pt x="0" y="0"/>
                      </a:moveTo>
                      <a:lnTo>
                        <a:pt x="0" y="489299"/>
                      </a:lnTo>
                    </a:path>
                  </a:pathLst>
                </a:custGeom>
                <a:ln w="2540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</p:grpSp>
          <p:sp>
            <p:nvSpPr>
              <p:cNvPr id="72" name="Forme libre : forme 71">
                <a:extLst>
                  <a:ext uri="{FF2B5EF4-FFF2-40B4-BE49-F238E27FC236}">
                    <a16:creationId xmlns:a16="http://schemas.microsoft.com/office/drawing/2014/main" id="{DD95FA9E-F570-C02F-CF6F-E2B345FEE307}"/>
                  </a:ext>
                </a:extLst>
              </p:cNvPr>
              <p:cNvSpPr/>
              <p:nvPr/>
            </p:nvSpPr>
            <p:spPr>
              <a:xfrm>
                <a:off x="3996438" y="1598889"/>
                <a:ext cx="4199061" cy="3689484"/>
              </a:xfrm>
              <a:custGeom>
                <a:avLst/>
                <a:gdLst>
                  <a:gd name="connsiteX0" fmla="*/ 3636230 w 4199061"/>
                  <a:gd name="connsiteY0" fmla="*/ 2066806 h 3689484"/>
                  <a:gd name="connsiteX1" fmla="*/ 2554857 w 4199061"/>
                  <a:gd name="connsiteY1" fmla="*/ 258961 h 3689484"/>
                  <a:gd name="connsiteX2" fmla="*/ 1644267 w 4199061"/>
                  <a:gd name="connsiteY2" fmla="*/ 258961 h 3689484"/>
                  <a:gd name="connsiteX3" fmla="*/ 76928 w 4199061"/>
                  <a:gd name="connsiteY3" fmla="*/ 2879193 h 3689484"/>
                  <a:gd name="connsiteX4" fmla="*/ 532223 w 4199061"/>
                  <a:gd name="connsiteY4" fmla="*/ 3689485 h 3689484"/>
                  <a:gd name="connsiteX5" fmla="*/ 3666806 w 4199061"/>
                  <a:gd name="connsiteY5" fmla="*/ 3689485 h 3689484"/>
                  <a:gd name="connsiteX6" fmla="*/ 4125244 w 4199061"/>
                  <a:gd name="connsiteY6" fmla="*/ 2884432 h 3689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99061" h="3689484">
                    <a:moveTo>
                      <a:pt x="3636230" y="2066806"/>
                    </a:moveTo>
                    <a:lnTo>
                      <a:pt x="2554857" y="258961"/>
                    </a:lnTo>
                    <a:cubicBezTo>
                      <a:pt x="2348355" y="-86320"/>
                      <a:pt x="1850769" y="-86320"/>
                      <a:pt x="1644267" y="258961"/>
                    </a:cubicBezTo>
                    <a:lnTo>
                      <a:pt x="76928" y="2879193"/>
                    </a:lnTo>
                    <a:cubicBezTo>
                      <a:pt x="-136241" y="3235523"/>
                      <a:pt x="118838" y="3689485"/>
                      <a:pt x="532223" y="3689485"/>
                    </a:cubicBezTo>
                    <a:lnTo>
                      <a:pt x="3666806" y="3689485"/>
                    </a:lnTo>
                    <a:cubicBezTo>
                      <a:pt x="4078190" y="3689485"/>
                      <a:pt x="4332794" y="3240000"/>
                      <a:pt x="4125244" y="2884432"/>
                    </a:cubicBezTo>
                  </a:path>
                </a:pathLst>
              </a:custGeom>
              <a:noFill/>
              <a:ln w="254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  <p:cxnSp>
          <p:nvCxnSpPr>
            <p:cNvPr id="76" name="Connecteur droit 75">
              <a:extLst>
                <a:ext uri="{FF2B5EF4-FFF2-40B4-BE49-F238E27FC236}">
                  <a16:creationId xmlns:a16="http://schemas.microsoft.com/office/drawing/2014/main" id="{9D824D44-959D-A610-4A2A-49FF5484EA22}"/>
                </a:ext>
              </a:extLst>
            </p:cNvPr>
            <p:cNvCxnSpPr>
              <a:cxnSpLocks/>
            </p:cNvCxnSpPr>
            <p:nvPr/>
          </p:nvCxnSpPr>
          <p:spPr>
            <a:xfrm>
              <a:off x="7482840" y="4470400"/>
              <a:ext cx="0" cy="1684594"/>
            </a:xfrm>
            <a:prstGeom prst="line">
              <a:avLst/>
            </a:prstGeom>
            <a:ln w="25400">
              <a:solidFill>
                <a:srgbClr val="444A6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Groupe 46">
            <a:extLst>
              <a:ext uri="{FF2B5EF4-FFF2-40B4-BE49-F238E27FC236}">
                <a16:creationId xmlns:a16="http://schemas.microsoft.com/office/drawing/2014/main" id="{86741611-6B25-346A-9F90-B9DE0F6C874B}"/>
              </a:ext>
            </a:extLst>
          </p:cNvPr>
          <p:cNvGrpSpPr/>
          <p:nvPr/>
        </p:nvGrpSpPr>
        <p:grpSpPr>
          <a:xfrm>
            <a:off x="808435" y="2734263"/>
            <a:ext cx="4827954" cy="3434307"/>
            <a:chOff x="808435" y="2734263"/>
            <a:chExt cx="4827954" cy="3434307"/>
          </a:xfrm>
        </p:grpSpPr>
        <p:sp>
          <p:nvSpPr>
            <p:cNvPr id="8" name="Rectangle : coins arrondis 7">
              <a:extLst>
                <a:ext uri="{FF2B5EF4-FFF2-40B4-BE49-F238E27FC236}">
                  <a16:creationId xmlns:a16="http://schemas.microsoft.com/office/drawing/2014/main" id="{E6DAB9DA-BF6B-1664-96AB-CC81A8210544}"/>
                </a:ext>
              </a:extLst>
            </p:cNvPr>
            <p:cNvSpPr/>
            <p:nvPr/>
          </p:nvSpPr>
          <p:spPr>
            <a:xfrm>
              <a:off x="808435" y="2734263"/>
              <a:ext cx="4827954" cy="3434307"/>
            </a:xfrm>
            <a:prstGeom prst="roundRect">
              <a:avLst>
                <a:gd name="adj" fmla="val 5045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tIns="144000" rIns="288000" bIns="288000" rtlCol="0" anchor="t" anchorCtr="0"/>
            <a:lstStyle/>
            <a:p>
              <a:r>
                <a:rPr lang="fr-FR">
                  <a:solidFill>
                    <a:srgbClr val="4E9664"/>
                  </a:solidFill>
                  <a:latin typeface="Montserrat Alternates SemiBold" panose="00000700000000000000" pitchFamily="2" charset="0"/>
                </a:rPr>
                <a:t>Des efforts ont été lancés </a:t>
              </a:r>
              <a:br>
                <a:rPr lang="fr-FR" sz="1600">
                  <a:solidFill>
                    <a:srgbClr val="9097B3"/>
                  </a:solidFill>
                </a:rPr>
              </a:br>
              <a:r>
                <a:rPr lang="fr-FR" sz="1600">
                  <a:solidFill>
                    <a:srgbClr val="444A64"/>
                  </a:solidFill>
                </a:rPr>
                <a:t>pour éveiller les consciences face </a:t>
              </a:r>
              <a:br>
                <a:rPr lang="fr-FR" sz="1600">
                  <a:solidFill>
                    <a:srgbClr val="444A64"/>
                  </a:solidFill>
                </a:rPr>
              </a:br>
              <a:r>
                <a:rPr lang="fr-FR" sz="1600">
                  <a:solidFill>
                    <a:srgbClr val="444A64"/>
                  </a:solidFill>
                </a:rPr>
                <a:t>au gaspillage médicamenteux : </a:t>
              </a:r>
            </a:p>
          </p:txBody>
        </p:sp>
        <p:sp>
          <p:nvSpPr>
            <p:cNvPr id="45" name="Rectangle : coins arrondis 44">
              <a:extLst>
                <a:ext uri="{FF2B5EF4-FFF2-40B4-BE49-F238E27FC236}">
                  <a16:creationId xmlns:a16="http://schemas.microsoft.com/office/drawing/2014/main" id="{40B52D0D-53FB-9E39-1033-558865D12DED}"/>
                </a:ext>
              </a:extLst>
            </p:cNvPr>
            <p:cNvSpPr/>
            <p:nvPr/>
          </p:nvSpPr>
          <p:spPr>
            <a:xfrm>
              <a:off x="1968079" y="5192935"/>
              <a:ext cx="1286398" cy="318801"/>
            </a:xfrm>
            <a:prstGeom prst="roundRect">
              <a:avLst/>
            </a:prstGeom>
            <a:solidFill>
              <a:srgbClr val="9097B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36000" rIns="36000" bIns="36000" rtlCol="0" anchor="ctr">
              <a:spAutoFit/>
            </a:bodyPr>
            <a:lstStyle/>
            <a:p>
              <a:endParaRPr lang="fr-FR" sz="1400"/>
            </a:p>
          </p:txBody>
        </p:sp>
        <p:sp>
          <p:nvSpPr>
            <p:cNvPr id="46" name="Rectangle : coins arrondis 45">
              <a:extLst>
                <a:ext uri="{FF2B5EF4-FFF2-40B4-BE49-F238E27FC236}">
                  <a16:creationId xmlns:a16="http://schemas.microsoft.com/office/drawing/2014/main" id="{05764D94-4EC7-AB2E-D252-41EA7396C79F}"/>
                </a:ext>
              </a:extLst>
            </p:cNvPr>
            <p:cNvSpPr/>
            <p:nvPr/>
          </p:nvSpPr>
          <p:spPr>
            <a:xfrm>
              <a:off x="1968079" y="5438741"/>
              <a:ext cx="1286398" cy="318801"/>
            </a:xfrm>
            <a:prstGeom prst="roundRect">
              <a:avLst/>
            </a:prstGeom>
            <a:solidFill>
              <a:srgbClr val="9097B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36000" rIns="36000" bIns="36000" rtlCol="0" anchor="ctr">
              <a:spAutoFit/>
            </a:bodyPr>
            <a:lstStyle/>
            <a:p>
              <a:endParaRPr lang="fr-FR" sz="1400"/>
            </a:p>
          </p:txBody>
        </p:sp>
        <p:sp>
          <p:nvSpPr>
            <p:cNvPr id="10" name="Rectangle : coins arrondis 9">
              <a:extLst>
                <a:ext uri="{FF2B5EF4-FFF2-40B4-BE49-F238E27FC236}">
                  <a16:creationId xmlns:a16="http://schemas.microsoft.com/office/drawing/2014/main" id="{3D2E933C-A105-56E2-2F05-0814C248AB7B}"/>
                </a:ext>
              </a:extLst>
            </p:cNvPr>
            <p:cNvSpPr/>
            <p:nvPr/>
          </p:nvSpPr>
          <p:spPr>
            <a:xfrm>
              <a:off x="1114576" y="3819152"/>
              <a:ext cx="2227638" cy="318801"/>
            </a:xfrm>
            <a:prstGeom prst="roundRect">
              <a:avLst/>
            </a:prstGeom>
            <a:solidFill>
              <a:srgbClr val="4E966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72000" tIns="36000" rIns="36000" bIns="36000" rtlCol="0" anchor="ctr">
              <a:spAutoFit/>
            </a:bodyPr>
            <a:lstStyle/>
            <a:p>
              <a:r>
                <a:rPr lang="fr-FR" sz="1400"/>
                <a:t>Contrats responsables </a:t>
              </a:r>
            </a:p>
          </p:txBody>
        </p:sp>
        <p:sp>
          <p:nvSpPr>
            <p:cNvPr id="21" name="Rectangle : coins arrondis 20">
              <a:extLst>
                <a:ext uri="{FF2B5EF4-FFF2-40B4-BE49-F238E27FC236}">
                  <a16:creationId xmlns:a16="http://schemas.microsoft.com/office/drawing/2014/main" id="{C2EF50B8-6708-FDA8-1605-444B69C68A1D}"/>
                </a:ext>
              </a:extLst>
            </p:cNvPr>
            <p:cNvSpPr/>
            <p:nvPr/>
          </p:nvSpPr>
          <p:spPr>
            <a:xfrm>
              <a:off x="3503673" y="3819152"/>
              <a:ext cx="1960062" cy="318801"/>
            </a:xfrm>
            <a:prstGeom prst="roundRect">
              <a:avLst/>
            </a:prstGeom>
            <a:solidFill>
              <a:srgbClr val="4E966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72000" tIns="36000" rIns="36000" bIns="36000" rtlCol="0" anchor="ctr">
              <a:spAutoFit/>
            </a:bodyPr>
            <a:lstStyle/>
            <a:p>
              <a:r>
                <a:rPr lang="fr-FR" sz="1400"/>
                <a:t>Déremboursements</a:t>
              </a:r>
            </a:p>
          </p:txBody>
        </p:sp>
        <p:sp>
          <p:nvSpPr>
            <p:cNvPr id="26" name="Rectangle : coins arrondis 25">
              <a:extLst>
                <a:ext uri="{FF2B5EF4-FFF2-40B4-BE49-F238E27FC236}">
                  <a16:creationId xmlns:a16="http://schemas.microsoft.com/office/drawing/2014/main" id="{A903C0F3-354F-2C83-791D-4B9440E1E309}"/>
                </a:ext>
              </a:extLst>
            </p:cNvPr>
            <p:cNvSpPr/>
            <p:nvPr/>
          </p:nvSpPr>
          <p:spPr>
            <a:xfrm>
              <a:off x="2478608" y="4352828"/>
              <a:ext cx="1854859" cy="318801"/>
            </a:xfrm>
            <a:prstGeom prst="roundRect">
              <a:avLst/>
            </a:prstGeom>
            <a:solidFill>
              <a:srgbClr val="4E966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72000" tIns="36000" rIns="36000" bIns="36000" rtlCol="0" anchor="ctr">
              <a:spAutoFit/>
            </a:bodyPr>
            <a:lstStyle/>
            <a:p>
              <a:r>
                <a:rPr lang="fr-FR" sz="1400"/>
                <a:t>Responsabilisation</a:t>
              </a:r>
            </a:p>
          </p:txBody>
        </p:sp>
        <p:sp>
          <p:nvSpPr>
            <p:cNvPr id="29" name="Rectangle : coins arrondis 28">
              <a:extLst>
                <a:ext uri="{FF2B5EF4-FFF2-40B4-BE49-F238E27FC236}">
                  <a16:creationId xmlns:a16="http://schemas.microsoft.com/office/drawing/2014/main" id="{7DF45F8E-24B8-9773-C048-D8DA56DBC806}"/>
                </a:ext>
              </a:extLst>
            </p:cNvPr>
            <p:cNvSpPr/>
            <p:nvPr/>
          </p:nvSpPr>
          <p:spPr>
            <a:xfrm>
              <a:off x="2292545" y="5192935"/>
              <a:ext cx="1286398" cy="318801"/>
            </a:xfrm>
            <a:prstGeom prst="roundRect">
              <a:avLst/>
            </a:prstGeom>
            <a:solidFill>
              <a:srgbClr val="4E966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36000" rIns="36000" bIns="36000" rtlCol="0" anchor="ctr">
              <a:spAutoFit/>
            </a:bodyPr>
            <a:lstStyle/>
            <a:p>
              <a:r>
                <a:rPr lang="fr-FR" sz="1400"/>
                <a:t>Campagnes</a:t>
              </a:r>
            </a:p>
          </p:txBody>
        </p:sp>
        <p:pic>
          <p:nvPicPr>
            <p:cNvPr id="35" name="Image 34" descr="Une image contenant texte, affiche, graphisme, Graphique&#10;&#10;Le contenu généré par l’IA peut être incorrect.">
              <a:extLst>
                <a:ext uri="{FF2B5EF4-FFF2-40B4-BE49-F238E27FC236}">
                  <a16:creationId xmlns:a16="http://schemas.microsoft.com/office/drawing/2014/main" id="{5DB2EEF0-3194-D1AE-27B9-5730484BD7B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114575" y="4225760"/>
              <a:ext cx="1177969" cy="1666078"/>
            </a:xfrm>
            <a:prstGeom prst="roundRect">
              <a:avLst>
                <a:gd name="adj" fmla="val 8704"/>
              </a:avLst>
            </a:prstGeom>
            <a:ln w="25400">
              <a:noFill/>
            </a:ln>
            <a:effectLst>
              <a:outerShdw blurRad="50800" dist="38100" dir="2700000" algn="tl" rotWithShape="0">
                <a:prstClr val="black">
                  <a:alpha val="10000"/>
                </a:prstClr>
              </a:outerShdw>
            </a:effectLst>
          </p:spPr>
        </p:pic>
        <p:sp>
          <p:nvSpPr>
            <p:cNvPr id="41" name="Rectangle : coins arrondis 40">
              <a:extLst>
                <a:ext uri="{FF2B5EF4-FFF2-40B4-BE49-F238E27FC236}">
                  <a16:creationId xmlns:a16="http://schemas.microsoft.com/office/drawing/2014/main" id="{52E5DBD3-9CDF-813F-60F9-1EB45A51BBDF}"/>
                </a:ext>
              </a:extLst>
            </p:cNvPr>
            <p:cNvSpPr/>
            <p:nvPr/>
          </p:nvSpPr>
          <p:spPr>
            <a:xfrm>
              <a:off x="2292545" y="5438742"/>
              <a:ext cx="1739945" cy="318801"/>
            </a:xfrm>
            <a:prstGeom prst="roundRect">
              <a:avLst/>
            </a:prstGeom>
            <a:solidFill>
              <a:srgbClr val="4E966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72000" tIns="36000" rIns="36000" bIns="36000" rtlCol="0" anchor="ctr">
              <a:spAutoFit/>
            </a:bodyPr>
            <a:lstStyle/>
            <a:p>
              <a:r>
                <a:rPr lang="fr-FR" sz="1400"/>
                <a:t>de sensibilisation </a:t>
              </a:r>
            </a:p>
          </p:txBody>
        </p:sp>
        <p:sp>
          <p:nvSpPr>
            <p:cNvPr id="44" name="Rectangle : coins arrondis 43">
              <a:extLst>
                <a:ext uri="{FF2B5EF4-FFF2-40B4-BE49-F238E27FC236}">
                  <a16:creationId xmlns:a16="http://schemas.microsoft.com/office/drawing/2014/main" id="{529189AA-89CC-0746-ACF3-72F802345A3E}"/>
                </a:ext>
              </a:extLst>
            </p:cNvPr>
            <p:cNvSpPr/>
            <p:nvPr/>
          </p:nvSpPr>
          <p:spPr>
            <a:xfrm>
              <a:off x="2478608" y="4608467"/>
              <a:ext cx="2605845" cy="318801"/>
            </a:xfrm>
            <a:prstGeom prst="roundRect">
              <a:avLst/>
            </a:prstGeom>
            <a:solidFill>
              <a:srgbClr val="4E966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72000" tIns="36000" rIns="36000" bIns="36000" rtlCol="0" anchor="ctr">
              <a:spAutoFit/>
            </a:bodyPr>
            <a:lstStyle/>
            <a:p>
              <a:r>
                <a:rPr lang="fr-FR" sz="1400"/>
                <a:t>sur le retour en pharmacie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26533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11111E-6 L 0.07096 -1.11111E-6 " pathEditMode="relative" rAng="0" ptsTypes="AA">
                                      <p:cBhvr>
                                        <p:cTn id="9" dur="20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42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4.44444E-6 L -0.075 -4.44444E-6 " pathEditMode="relative" rAng="0" ptsTypes="AA">
                                      <p:cBhvr>
                                        <p:cTn id="14" dur="20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50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4.07407E-6 L 0 0.08518 " pathEditMode="relative" rAng="0" ptsTypes="AA">
                                      <p:cBhvr>
                                        <p:cTn id="19" dur="2000" spd="-100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259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mp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24" dur="750" fill="hold"/>
                                        <p:tgtEl>
                                          <p:spTgt spid="47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6" presetClass="emp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26" dur="1000" fill="hold"/>
                                        <p:tgtEl>
                                          <p:spTgt spid="47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42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0 3.33333E-6 L -0.075 3.33333E-6 " pathEditMode="relative" rAng="0" ptsTypes="AA">
                                      <p:cBhvr>
                                        <p:cTn id="31" dur="2000" spd="-100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50" y="0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6" presetClass="emph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Scale>
                                      <p:cBhvr>
                                        <p:cTn id="36" dur="750" fill="hold"/>
                                        <p:tgtEl>
                                          <p:spTgt spid="78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6" presetClass="emp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Scale>
                                      <p:cBhvr>
                                        <p:cTn id="38" dur="1000" fill="hold"/>
                                        <p:tgtEl>
                                          <p:spTgt spid="78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" grpId="0" animBg="1"/>
      <p:bldP spid="79" grpId="1" animBg="1"/>
      <p:bldP spid="6" grpId="0"/>
      <p:bldP spid="6" grpId="1"/>
      <p:bldP spid="7" grpId="0"/>
      <p:bldP spid="7" grpId="1"/>
      <p:bldP spid="54" grpId="0" animBg="1"/>
      <p:bldP spid="54" grpId="1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097B3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!!_txt01_!!">
            <a:extLst>
              <a:ext uri="{FF2B5EF4-FFF2-40B4-BE49-F238E27FC236}">
                <a16:creationId xmlns:a16="http://schemas.microsoft.com/office/drawing/2014/main" id="{6EFE2739-3F83-3262-C1D6-339B13AEE998}"/>
              </a:ext>
            </a:extLst>
          </p:cNvPr>
          <p:cNvSpPr txBox="1"/>
          <p:nvPr/>
        </p:nvSpPr>
        <p:spPr>
          <a:xfrm>
            <a:off x="1232620" y="-66157"/>
            <a:ext cx="371674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3600">
                <a:solidFill>
                  <a:srgbClr val="444A64"/>
                </a:solidFill>
                <a:latin typeface="Montserrat Alternates SemiBold" panose="00000700000000000000" pitchFamily="2" charset="0"/>
              </a:rPr>
              <a:t>est </a:t>
            </a:r>
            <a:r>
              <a:rPr lang="fr-FR" sz="3600">
                <a:latin typeface="Montserrat Alternates SemiBold" panose="00000700000000000000" pitchFamily="2" charset="0"/>
              </a:rPr>
              <a:t>LA</a:t>
            </a:r>
            <a:r>
              <a:rPr lang="fr-FR" sz="3600">
                <a:solidFill>
                  <a:srgbClr val="444A64"/>
                </a:solidFill>
                <a:latin typeface="Montserrat Alternates SemiBold" panose="00000700000000000000" pitchFamily="2" charset="0"/>
              </a:rPr>
              <a:t> solution </a:t>
            </a:r>
          </a:p>
        </p:txBody>
      </p:sp>
      <p:sp>
        <p:nvSpPr>
          <p:cNvPr id="27" name="!!_txt02_!!">
            <a:extLst>
              <a:ext uri="{FF2B5EF4-FFF2-40B4-BE49-F238E27FC236}">
                <a16:creationId xmlns:a16="http://schemas.microsoft.com/office/drawing/2014/main" id="{16ABB86E-BF5F-496C-C393-CB9D5ABEFC92}"/>
              </a:ext>
            </a:extLst>
          </p:cNvPr>
          <p:cNvSpPr txBox="1"/>
          <p:nvPr/>
        </p:nvSpPr>
        <p:spPr>
          <a:xfrm>
            <a:off x="1232620" y="809170"/>
            <a:ext cx="3716749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700">
                <a:latin typeface="Montserrat Alternates SemiBold" panose="00000700000000000000" pitchFamily="2" charset="0"/>
              </a:rPr>
              <a:t>innovante &amp; unique </a:t>
            </a:r>
          </a:p>
        </p:txBody>
      </p:sp>
      <p:sp>
        <p:nvSpPr>
          <p:cNvPr id="29" name="!!_txt03_!!">
            <a:extLst>
              <a:ext uri="{FF2B5EF4-FFF2-40B4-BE49-F238E27FC236}">
                <a16:creationId xmlns:a16="http://schemas.microsoft.com/office/drawing/2014/main" id="{66CDDC64-6AA1-9B80-C206-AC76A982A8F6}"/>
              </a:ext>
            </a:extLst>
          </p:cNvPr>
          <p:cNvSpPr txBox="1"/>
          <p:nvPr/>
        </p:nvSpPr>
        <p:spPr>
          <a:xfrm>
            <a:off x="1232620" y="1665579"/>
            <a:ext cx="3716749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360">
                <a:solidFill>
                  <a:schemeClr val="tx2"/>
                </a:solidFill>
                <a:latin typeface="Montserrat Alternates SemiBold" panose="00000700000000000000" pitchFamily="2" charset="0"/>
              </a:rPr>
              <a:t>contre le gaspillage des médicaments </a:t>
            </a:r>
          </a:p>
        </p:txBody>
      </p:sp>
      <p:grpSp>
        <p:nvGrpSpPr>
          <p:cNvPr id="89" name="Groupe 88">
            <a:extLst>
              <a:ext uri="{FF2B5EF4-FFF2-40B4-BE49-F238E27FC236}">
                <a16:creationId xmlns:a16="http://schemas.microsoft.com/office/drawing/2014/main" id="{74CFDA46-6833-0616-7EF8-AAB61C5CAEAD}"/>
              </a:ext>
            </a:extLst>
          </p:cNvPr>
          <p:cNvGrpSpPr/>
          <p:nvPr/>
        </p:nvGrpSpPr>
        <p:grpSpPr>
          <a:xfrm>
            <a:off x="1378584" y="5085453"/>
            <a:ext cx="643256" cy="666432"/>
            <a:chOff x="2786373" y="0"/>
            <a:chExt cx="6616744" cy="6855144"/>
          </a:xfrm>
          <a:solidFill>
            <a:srgbClr val="4E9664"/>
          </a:solidFill>
        </p:grpSpPr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EF423C8F-0110-9C13-FEA4-1D2F0A809F6C}"/>
                </a:ext>
              </a:extLst>
            </p:cNvPr>
            <p:cNvSpPr/>
            <p:nvPr/>
          </p:nvSpPr>
          <p:spPr>
            <a:xfrm>
              <a:off x="3286603" y="5151901"/>
              <a:ext cx="476064" cy="465809"/>
            </a:xfrm>
            <a:custGeom>
              <a:avLst/>
              <a:gdLst>
                <a:gd name="connsiteX0" fmla="*/ 197746 w 476064"/>
                <a:gd name="connsiteY0" fmla="*/ 340169 h 465809"/>
                <a:gd name="connsiteX1" fmla="*/ 152384 w 476064"/>
                <a:gd name="connsiteY1" fmla="*/ 293672 h 465809"/>
                <a:gd name="connsiteX2" fmla="*/ 129583 w 476064"/>
                <a:gd name="connsiteY2" fmla="*/ 211902 h 465809"/>
                <a:gd name="connsiteX3" fmla="*/ 152563 w 476064"/>
                <a:gd name="connsiteY3" fmla="*/ 208619 h 465809"/>
                <a:gd name="connsiteX4" fmla="*/ 178467 w 476064"/>
                <a:gd name="connsiteY4" fmla="*/ 231121 h 465809"/>
                <a:gd name="connsiteX5" fmla="*/ 254567 w 476064"/>
                <a:gd name="connsiteY5" fmla="*/ 332290 h 465809"/>
                <a:gd name="connsiteX6" fmla="*/ 334249 w 476064"/>
                <a:gd name="connsiteY6" fmla="*/ 272364 h 465809"/>
                <a:gd name="connsiteX7" fmla="*/ 263640 w 476064"/>
                <a:gd name="connsiteY7" fmla="*/ 178477 h 465809"/>
                <a:gd name="connsiteX8" fmla="*/ 251464 w 476064"/>
                <a:gd name="connsiteY8" fmla="*/ 151797 h 465809"/>
                <a:gd name="connsiteX9" fmla="*/ 260954 w 476064"/>
                <a:gd name="connsiteY9" fmla="*/ 133891 h 465809"/>
                <a:gd name="connsiteX10" fmla="*/ 289305 w 476064"/>
                <a:gd name="connsiteY10" fmla="*/ 134428 h 465809"/>
                <a:gd name="connsiteX11" fmla="*/ 327564 w 476064"/>
                <a:gd name="connsiteY11" fmla="*/ 171971 h 465809"/>
                <a:gd name="connsiteX12" fmla="*/ 375254 w 476064"/>
                <a:gd name="connsiteY12" fmla="*/ 271588 h 465809"/>
                <a:gd name="connsiteX13" fmla="*/ 476065 w 476064"/>
                <a:gd name="connsiteY13" fmla="*/ 241626 h 465809"/>
                <a:gd name="connsiteX14" fmla="*/ 449206 w 476064"/>
                <a:gd name="connsiteY14" fmla="*/ 174001 h 465809"/>
                <a:gd name="connsiteX15" fmla="*/ 406888 w 476064"/>
                <a:gd name="connsiteY15" fmla="*/ 105839 h 465809"/>
                <a:gd name="connsiteX16" fmla="*/ 325833 w 476064"/>
                <a:gd name="connsiteY16" fmla="*/ 26634 h 465809"/>
                <a:gd name="connsiteX17" fmla="*/ 248778 w 476064"/>
                <a:gd name="connsiteY17" fmla="*/ 14 h 465809"/>
                <a:gd name="connsiteX18" fmla="*/ 185808 w 476064"/>
                <a:gd name="connsiteY18" fmla="*/ 19770 h 465809"/>
                <a:gd name="connsiteX19" fmla="*/ 156920 w 476064"/>
                <a:gd name="connsiteY19" fmla="*/ 56179 h 465809"/>
                <a:gd name="connsiteX20" fmla="*/ 151429 w 476064"/>
                <a:gd name="connsiteY20" fmla="*/ 103690 h 465809"/>
                <a:gd name="connsiteX21" fmla="*/ 93592 w 476064"/>
                <a:gd name="connsiteY21" fmla="*/ 88768 h 465809"/>
                <a:gd name="connsiteX22" fmla="*/ 40292 w 476064"/>
                <a:gd name="connsiteY22" fmla="*/ 108465 h 465809"/>
                <a:gd name="connsiteX23" fmla="*/ 2809 w 476064"/>
                <a:gd name="connsiteY23" fmla="*/ 166779 h 465809"/>
                <a:gd name="connsiteX24" fmla="*/ 10449 w 476064"/>
                <a:gd name="connsiteY24" fmla="*/ 250340 h 465809"/>
                <a:gd name="connsiteX25" fmla="*/ 66912 w 476064"/>
                <a:gd name="connsiteY25" fmla="*/ 351628 h 465809"/>
                <a:gd name="connsiteX26" fmla="*/ 129942 w 476064"/>
                <a:gd name="connsiteY26" fmla="*/ 419671 h 465809"/>
                <a:gd name="connsiteX27" fmla="*/ 197268 w 476064"/>
                <a:gd name="connsiteY27" fmla="*/ 465809 h 465809"/>
                <a:gd name="connsiteX28" fmla="*/ 251822 w 476064"/>
                <a:gd name="connsiteY28" fmla="*/ 375324 h 465809"/>
                <a:gd name="connsiteX29" fmla="*/ 197865 w 476064"/>
                <a:gd name="connsiteY29" fmla="*/ 340288 h 465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76064" h="465809">
                  <a:moveTo>
                    <a:pt x="197746" y="340169"/>
                  </a:moveTo>
                  <a:cubicBezTo>
                    <a:pt x="179661" y="325306"/>
                    <a:pt x="164500" y="309848"/>
                    <a:pt x="152384" y="293672"/>
                  </a:cubicBezTo>
                  <a:cubicBezTo>
                    <a:pt x="120690" y="251534"/>
                    <a:pt x="113110" y="224257"/>
                    <a:pt x="129583" y="211902"/>
                  </a:cubicBezTo>
                  <a:cubicBezTo>
                    <a:pt x="136626" y="206650"/>
                    <a:pt x="144266" y="205515"/>
                    <a:pt x="152563" y="208619"/>
                  </a:cubicBezTo>
                  <a:cubicBezTo>
                    <a:pt x="160859" y="211723"/>
                    <a:pt x="169454" y="219184"/>
                    <a:pt x="178467" y="231121"/>
                  </a:cubicBezTo>
                  <a:lnTo>
                    <a:pt x="254567" y="332290"/>
                  </a:lnTo>
                  <a:lnTo>
                    <a:pt x="334249" y="272364"/>
                  </a:lnTo>
                  <a:lnTo>
                    <a:pt x="263640" y="178477"/>
                  </a:lnTo>
                  <a:cubicBezTo>
                    <a:pt x="255582" y="167793"/>
                    <a:pt x="251523" y="158900"/>
                    <a:pt x="251464" y="151797"/>
                  </a:cubicBezTo>
                  <a:cubicBezTo>
                    <a:pt x="251344" y="144695"/>
                    <a:pt x="254567" y="138726"/>
                    <a:pt x="260954" y="133891"/>
                  </a:cubicBezTo>
                  <a:cubicBezTo>
                    <a:pt x="268594" y="128161"/>
                    <a:pt x="278024" y="128340"/>
                    <a:pt x="289305" y="134428"/>
                  </a:cubicBezTo>
                  <a:cubicBezTo>
                    <a:pt x="300586" y="140517"/>
                    <a:pt x="313359" y="153051"/>
                    <a:pt x="327564" y="171971"/>
                  </a:cubicBezTo>
                  <a:cubicBezTo>
                    <a:pt x="349350" y="200979"/>
                    <a:pt x="365286" y="234165"/>
                    <a:pt x="375254" y="271588"/>
                  </a:cubicBezTo>
                  <a:lnTo>
                    <a:pt x="476065" y="241626"/>
                  </a:lnTo>
                  <a:cubicBezTo>
                    <a:pt x="470096" y="220318"/>
                    <a:pt x="461143" y="197756"/>
                    <a:pt x="449206" y="174001"/>
                  </a:cubicBezTo>
                  <a:cubicBezTo>
                    <a:pt x="437268" y="150246"/>
                    <a:pt x="423182" y="127505"/>
                    <a:pt x="406888" y="105839"/>
                  </a:cubicBezTo>
                  <a:cubicBezTo>
                    <a:pt x="380268" y="70444"/>
                    <a:pt x="353230" y="44063"/>
                    <a:pt x="325833" y="26634"/>
                  </a:cubicBezTo>
                  <a:cubicBezTo>
                    <a:pt x="298437" y="9266"/>
                    <a:pt x="272712" y="372"/>
                    <a:pt x="248778" y="14"/>
                  </a:cubicBezTo>
                  <a:cubicBezTo>
                    <a:pt x="224843" y="-344"/>
                    <a:pt x="203834" y="6222"/>
                    <a:pt x="185808" y="19770"/>
                  </a:cubicBezTo>
                  <a:cubicBezTo>
                    <a:pt x="172677" y="29619"/>
                    <a:pt x="163068" y="41795"/>
                    <a:pt x="156920" y="56179"/>
                  </a:cubicBezTo>
                  <a:cubicBezTo>
                    <a:pt x="150772" y="70564"/>
                    <a:pt x="148982" y="86440"/>
                    <a:pt x="151429" y="103690"/>
                  </a:cubicBezTo>
                  <a:cubicBezTo>
                    <a:pt x="132210" y="92767"/>
                    <a:pt x="112931" y="87813"/>
                    <a:pt x="93592" y="88768"/>
                  </a:cubicBezTo>
                  <a:cubicBezTo>
                    <a:pt x="74254" y="89723"/>
                    <a:pt x="56467" y="96289"/>
                    <a:pt x="40292" y="108465"/>
                  </a:cubicBezTo>
                  <a:cubicBezTo>
                    <a:pt x="20775" y="123148"/>
                    <a:pt x="8240" y="142605"/>
                    <a:pt x="2809" y="166779"/>
                  </a:cubicBezTo>
                  <a:cubicBezTo>
                    <a:pt x="-2682" y="190952"/>
                    <a:pt x="-116" y="218825"/>
                    <a:pt x="10449" y="250340"/>
                  </a:cubicBezTo>
                  <a:cubicBezTo>
                    <a:pt x="21013" y="281855"/>
                    <a:pt x="39815" y="315578"/>
                    <a:pt x="66912" y="351628"/>
                  </a:cubicBezTo>
                  <a:cubicBezTo>
                    <a:pt x="85714" y="376637"/>
                    <a:pt x="106723" y="399318"/>
                    <a:pt x="129942" y="419671"/>
                  </a:cubicBezTo>
                  <a:cubicBezTo>
                    <a:pt x="153100" y="439965"/>
                    <a:pt x="175542" y="455364"/>
                    <a:pt x="197268" y="465809"/>
                  </a:cubicBezTo>
                  <a:lnTo>
                    <a:pt x="251822" y="375324"/>
                  </a:lnTo>
                  <a:cubicBezTo>
                    <a:pt x="233916" y="366789"/>
                    <a:pt x="215950" y="355090"/>
                    <a:pt x="197865" y="340288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F7F2F850-9F5E-10EC-116D-904C3E2E1D1D}"/>
                </a:ext>
              </a:extLst>
            </p:cNvPr>
            <p:cNvSpPr/>
            <p:nvPr/>
          </p:nvSpPr>
          <p:spPr>
            <a:xfrm>
              <a:off x="3505239" y="5462644"/>
              <a:ext cx="420492" cy="466630"/>
            </a:xfrm>
            <a:custGeom>
              <a:avLst/>
              <a:gdLst>
                <a:gd name="connsiteX0" fmla="*/ 420373 w 420492"/>
                <a:gd name="connsiteY0" fmla="*/ 243402 h 466630"/>
                <a:gd name="connsiteX1" fmla="*/ 380622 w 420492"/>
                <a:gd name="connsiteY1" fmla="*/ 152261 h 466630"/>
                <a:gd name="connsiteX2" fmla="*/ 337767 w 420492"/>
                <a:gd name="connsiteY2" fmla="*/ 121224 h 466630"/>
                <a:gd name="connsiteX3" fmla="*/ 288525 w 420492"/>
                <a:gd name="connsiteY3" fmla="*/ 109943 h 466630"/>
                <a:gd name="connsiteX4" fmla="*/ 310729 w 420492"/>
                <a:gd name="connsiteY4" fmla="*/ 88396 h 466630"/>
                <a:gd name="connsiteX5" fmla="*/ 224959 w 420492"/>
                <a:gd name="connsiteY5" fmla="*/ 0 h 466630"/>
                <a:gd name="connsiteX6" fmla="*/ 0 w 420492"/>
                <a:gd name="connsiteY6" fmla="*/ 218215 h 466630"/>
                <a:gd name="connsiteX7" fmla="*/ 90187 w 420492"/>
                <a:gd name="connsiteY7" fmla="*/ 311147 h 466630"/>
                <a:gd name="connsiteX8" fmla="*/ 195892 w 420492"/>
                <a:gd name="connsiteY8" fmla="*/ 208605 h 466630"/>
                <a:gd name="connsiteX9" fmla="*/ 239582 w 420492"/>
                <a:gd name="connsiteY9" fmla="*/ 184969 h 466630"/>
                <a:gd name="connsiteX10" fmla="*/ 275036 w 420492"/>
                <a:gd name="connsiteY10" fmla="*/ 199712 h 466630"/>
                <a:gd name="connsiteX11" fmla="*/ 263099 w 420492"/>
                <a:gd name="connsiteY11" fmla="*/ 264770 h 466630"/>
                <a:gd name="connsiteX12" fmla="*/ 150828 w 420492"/>
                <a:gd name="connsiteY12" fmla="*/ 373699 h 466630"/>
                <a:gd name="connsiteX13" fmla="*/ 241015 w 420492"/>
                <a:gd name="connsiteY13" fmla="*/ 466631 h 466630"/>
                <a:gd name="connsiteX14" fmla="*/ 369341 w 420492"/>
                <a:gd name="connsiteY14" fmla="*/ 342184 h 466630"/>
                <a:gd name="connsiteX15" fmla="*/ 420493 w 420492"/>
                <a:gd name="connsiteY15" fmla="*/ 243462 h 466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20492" h="466630">
                  <a:moveTo>
                    <a:pt x="420373" y="243402"/>
                  </a:moveTo>
                  <a:cubicBezTo>
                    <a:pt x="420731" y="210336"/>
                    <a:pt x="407481" y="179896"/>
                    <a:pt x="380622" y="152261"/>
                  </a:cubicBezTo>
                  <a:cubicBezTo>
                    <a:pt x="367610" y="138831"/>
                    <a:pt x="353285" y="128506"/>
                    <a:pt x="337767" y="121224"/>
                  </a:cubicBezTo>
                  <a:cubicBezTo>
                    <a:pt x="322189" y="113942"/>
                    <a:pt x="305775" y="110182"/>
                    <a:pt x="288525" y="109943"/>
                  </a:cubicBezTo>
                  <a:lnTo>
                    <a:pt x="310729" y="88396"/>
                  </a:lnTo>
                  <a:lnTo>
                    <a:pt x="224959" y="0"/>
                  </a:lnTo>
                  <a:lnTo>
                    <a:pt x="0" y="218215"/>
                  </a:lnTo>
                  <a:lnTo>
                    <a:pt x="90187" y="311147"/>
                  </a:lnTo>
                  <a:lnTo>
                    <a:pt x="195892" y="208605"/>
                  </a:lnTo>
                  <a:cubicBezTo>
                    <a:pt x="211530" y="193445"/>
                    <a:pt x="226093" y="185566"/>
                    <a:pt x="239582" y="184969"/>
                  </a:cubicBezTo>
                  <a:cubicBezTo>
                    <a:pt x="253072" y="184372"/>
                    <a:pt x="264890" y="189267"/>
                    <a:pt x="275036" y="199712"/>
                  </a:cubicBezTo>
                  <a:cubicBezTo>
                    <a:pt x="292823" y="218095"/>
                    <a:pt x="288884" y="239762"/>
                    <a:pt x="263099" y="264770"/>
                  </a:cubicBezTo>
                  <a:lnTo>
                    <a:pt x="150828" y="373699"/>
                  </a:lnTo>
                  <a:lnTo>
                    <a:pt x="241015" y="466631"/>
                  </a:lnTo>
                  <a:lnTo>
                    <a:pt x="369341" y="342184"/>
                  </a:lnTo>
                  <a:cubicBezTo>
                    <a:pt x="403064" y="309476"/>
                    <a:pt x="420135" y="276588"/>
                    <a:pt x="420493" y="243462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CAD1B36C-CCAA-649D-21B8-1531C119B3F5}"/>
                </a:ext>
              </a:extLst>
            </p:cNvPr>
            <p:cNvSpPr/>
            <p:nvPr/>
          </p:nvSpPr>
          <p:spPr>
            <a:xfrm>
              <a:off x="3850714" y="5687365"/>
              <a:ext cx="303140" cy="424850"/>
            </a:xfrm>
            <a:custGeom>
              <a:avLst/>
              <a:gdLst>
                <a:gd name="connsiteX0" fmla="*/ 126229 w 303140"/>
                <a:gd name="connsiteY0" fmla="*/ 305178 h 424850"/>
                <a:gd name="connsiteX1" fmla="*/ 134943 w 303140"/>
                <a:gd name="connsiteY1" fmla="*/ 283273 h 424850"/>
                <a:gd name="connsiteX2" fmla="*/ 185856 w 303140"/>
                <a:gd name="connsiteY2" fmla="*/ 222751 h 424850"/>
                <a:gd name="connsiteX3" fmla="*/ 234978 w 303140"/>
                <a:gd name="connsiteY3" fmla="*/ 264054 h 424850"/>
                <a:gd name="connsiteX4" fmla="*/ 295859 w 303140"/>
                <a:gd name="connsiteY4" fmla="*/ 191714 h 424850"/>
                <a:gd name="connsiteX5" fmla="*/ 246736 w 303140"/>
                <a:gd name="connsiteY5" fmla="*/ 150411 h 424850"/>
                <a:gd name="connsiteX6" fmla="*/ 303140 w 303140"/>
                <a:gd name="connsiteY6" fmla="*/ 83323 h 424850"/>
                <a:gd name="connsiteX7" fmla="*/ 204060 w 303140"/>
                <a:gd name="connsiteY7" fmla="*/ 0 h 424850"/>
                <a:gd name="connsiteX8" fmla="*/ 35147 w 303140"/>
                <a:gd name="connsiteY8" fmla="*/ 200846 h 424850"/>
                <a:gd name="connsiteX9" fmla="*/ 947 w 303140"/>
                <a:gd name="connsiteY9" fmla="*/ 296703 h 424850"/>
                <a:gd name="connsiteX10" fmla="*/ 58067 w 303140"/>
                <a:gd name="connsiteY10" fmla="*/ 386292 h 424850"/>
                <a:gd name="connsiteX11" fmla="*/ 129691 w 303140"/>
                <a:gd name="connsiteY11" fmla="*/ 424850 h 424850"/>
                <a:gd name="connsiteX12" fmla="*/ 163891 w 303140"/>
                <a:gd name="connsiteY12" fmla="*/ 336096 h 424850"/>
                <a:gd name="connsiteX13" fmla="*/ 136018 w 303140"/>
                <a:gd name="connsiteY13" fmla="*/ 323860 h 424850"/>
                <a:gd name="connsiteX14" fmla="*/ 126289 w 303140"/>
                <a:gd name="connsiteY14" fmla="*/ 305178 h 424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03140" h="424850">
                  <a:moveTo>
                    <a:pt x="126229" y="305178"/>
                  </a:moveTo>
                  <a:cubicBezTo>
                    <a:pt x="125871" y="297896"/>
                    <a:pt x="128736" y="290614"/>
                    <a:pt x="134943" y="283273"/>
                  </a:cubicBezTo>
                  <a:lnTo>
                    <a:pt x="185856" y="222751"/>
                  </a:lnTo>
                  <a:lnTo>
                    <a:pt x="234978" y="264054"/>
                  </a:lnTo>
                  <a:lnTo>
                    <a:pt x="295859" y="191714"/>
                  </a:lnTo>
                  <a:lnTo>
                    <a:pt x="246736" y="150411"/>
                  </a:lnTo>
                  <a:lnTo>
                    <a:pt x="303140" y="83323"/>
                  </a:lnTo>
                  <a:lnTo>
                    <a:pt x="204060" y="0"/>
                  </a:lnTo>
                  <a:lnTo>
                    <a:pt x="35147" y="200846"/>
                  </a:lnTo>
                  <a:cubicBezTo>
                    <a:pt x="7870" y="233315"/>
                    <a:pt x="-3530" y="265248"/>
                    <a:pt x="947" y="296703"/>
                  </a:cubicBezTo>
                  <a:cubicBezTo>
                    <a:pt x="5423" y="328157"/>
                    <a:pt x="24463" y="358060"/>
                    <a:pt x="58067" y="386292"/>
                  </a:cubicBezTo>
                  <a:cubicBezTo>
                    <a:pt x="83792" y="407899"/>
                    <a:pt x="107666" y="420791"/>
                    <a:pt x="129691" y="424850"/>
                  </a:cubicBezTo>
                  <a:lnTo>
                    <a:pt x="163891" y="336096"/>
                  </a:lnTo>
                  <a:cubicBezTo>
                    <a:pt x="153745" y="335081"/>
                    <a:pt x="144493" y="331022"/>
                    <a:pt x="136018" y="323860"/>
                  </a:cubicBezTo>
                  <a:cubicBezTo>
                    <a:pt x="129870" y="318667"/>
                    <a:pt x="126647" y="312460"/>
                    <a:pt x="126289" y="305178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2C158839-B5DE-0675-0A57-E9235436A3C7}"/>
                </a:ext>
              </a:extLst>
            </p:cNvPr>
            <p:cNvSpPr/>
            <p:nvPr/>
          </p:nvSpPr>
          <p:spPr>
            <a:xfrm>
              <a:off x="4015202" y="5897044"/>
              <a:ext cx="368266" cy="330305"/>
            </a:xfrm>
            <a:custGeom>
              <a:avLst/>
              <a:gdLst>
                <a:gd name="connsiteX0" fmla="*/ 301716 w 368266"/>
                <a:gd name="connsiteY0" fmla="*/ 219110 h 330305"/>
                <a:gd name="connsiteX1" fmla="*/ 368267 w 368266"/>
                <a:gd name="connsiteY1" fmla="*/ 125820 h 330305"/>
                <a:gd name="connsiteX2" fmla="*/ 262741 w 368266"/>
                <a:gd name="connsiteY2" fmla="*/ 99080 h 330305"/>
                <a:gd name="connsiteX3" fmla="*/ 282378 w 368266"/>
                <a:gd name="connsiteY3" fmla="*/ 71564 h 330305"/>
                <a:gd name="connsiteX4" fmla="*/ 182104 w 368266"/>
                <a:gd name="connsiteY4" fmla="*/ 0 h 330305"/>
                <a:gd name="connsiteX5" fmla="*/ 0 w 368266"/>
                <a:gd name="connsiteY5" fmla="*/ 255101 h 330305"/>
                <a:gd name="connsiteX6" fmla="*/ 105407 w 368266"/>
                <a:gd name="connsiteY6" fmla="*/ 330306 h 330305"/>
                <a:gd name="connsiteX7" fmla="*/ 186282 w 368266"/>
                <a:gd name="connsiteY7" fmla="*/ 216961 h 330305"/>
                <a:gd name="connsiteX8" fmla="*/ 279692 w 368266"/>
                <a:gd name="connsiteY8" fmla="*/ 200547 h 330305"/>
                <a:gd name="connsiteX9" fmla="*/ 301657 w 368266"/>
                <a:gd name="connsiteY9" fmla="*/ 219050 h 33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8266" h="330305">
                  <a:moveTo>
                    <a:pt x="301716" y="219110"/>
                  </a:moveTo>
                  <a:lnTo>
                    <a:pt x="368267" y="125820"/>
                  </a:lnTo>
                  <a:cubicBezTo>
                    <a:pt x="331918" y="99856"/>
                    <a:pt x="296702" y="90962"/>
                    <a:pt x="262741" y="99080"/>
                  </a:cubicBezTo>
                  <a:lnTo>
                    <a:pt x="282378" y="71564"/>
                  </a:lnTo>
                  <a:lnTo>
                    <a:pt x="182104" y="0"/>
                  </a:lnTo>
                  <a:lnTo>
                    <a:pt x="0" y="255101"/>
                  </a:lnTo>
                  <a:lnTo>
                    <a:pt x="105407" y="330306"/>
                  </a:lnTo>
                  <a:lnTo>
                    <a:pt x="186282" y="216961"/>
                  </a:lnTo>
                  <a:cubicBezTo>
                    <a:pt x="212485" y="180254"/>
                    <a:pt x="243581" y="174822"/>
                    <a:pt x="279692" y="200547"/>
                  </a:cubicBezTo>
                  <a:cubicBezTo>
                    <a:pt x="286854" y="205621"/>
                    <a:pt x="294196" y="211828"/>
                    <a:pt x="301657" y="219050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A6B19A0B-3FC1-49F2-09E9-CCDB0EFB7FA5}"/>
                </a:ext>
              </a:extLst>
            </p:cNvPr>
            <p:cNvSpPr/>
            <p:nvPr/>
          </p:nvSpPr>
          <p:spPr>
            <a:xfrm>
              <a:off x="4288546" y="6092062"/>
              <a:ext cx="349296" cy="345574"/>
            </a:xfrm>
            <a:custGeom>
              <a:avLst/>
              <a:gdLst>
                <a:gd name="connsiteX0" fmla="*/ 188571 w 349296"/>
                <a:gd name="connsiteY0" fmla="*/ 246603 h 345574"/>
                <a:gd name="connsiteX1" fmla="*/ 155922 w 349296"/>
                <a:gd name="connsiteY1" fmla="*/ 233770 h 345574"/>
                <a:gd name="connsiteX2" fmla="*/ 119454 w 349296"/>
                <a:gd name="connsiteY2" fmla="*/ 181067 h 345574"/>
                <a:gd name="connsiteX3" fmla="*/ 325791 w 349296"/>
                <a:gd name="connsiteY3" fmla="*/ 252095 h 345574"/>
                <a:gd name="connsiteX4" fmla="*/ 349188 w 349296"/>
                <a:gd name="connsiteY4" fmla="*/ 165430 h 345574"/>
                <a:gd name="connsiteX5" fmla="*/ 322985 w 349296"/>
                <a:gd name="connsiteY5" fmla="*/ 86882 h 345574"/>
                <a:gd name="connsiteX6" fmla="*/ 258225 w 349296"/>
                <a:gd name="connsiteY6" fmla="*/ 28210 h 345574"/>
                <a:gd name="connsiteX7" fmla="*/ 168218 w 349296"/>
                <a:gd name="connsiteY7" fmla="*/ 276 h 345574"/>
                <a:gd name="connsiteX8" fmla="*/ 83642 w 349296"/>
                <a:gd name="connsiteY8" fmla="*/ 18063 h 345574"/>
                <a:gd name="connsiteX9" fmla="*/ 21448 w 349296"/>
                <a:gd name="connsiteY9" fmla="*/ 79123 h 345574"/>
                <a:gd name="connsiteX10" fmla="*/ 140 w 349296"/>
                <a:gd name="connsiteY10" fmla="*/ 163341 h 345574"/>
                <a:gd name="connsiteX11" fmla="*/ 28790 w 349296"/>
                <a:gd name="connsiteY11" fmla="*/ 246902 h 345574"/>
                <a:gd name="connsiteX12" fmla="*/ 104771 w 349296"/>
                <a:gd name="connsiteY12" fmla="*/ 314706 h 345574"/>
                <a:gd name="connsiteX13" fmla="*/ 248616 w 349296"/>
                <a:gd name="connsiteY13" fmla="*/ 339237 h 345574"/>
                <a:gd name="connsiteX14" fmla="*/ 223965 w 349296"/>
                <a:gd name="connsiteY14" fmla="*/ 246424 h 345574"/>
                <a:gd name="connsiteX15" fmla="*/ 188511 w 349296"/>
                <a:gd name="connsiteY15" fmla="*/ 246544 h 345574"/>
                <a:gd name="connsiteX16" fmla="*/ 176634 w 349296"/>
                <a:gd name="connsiteY16" fmla="*/ 98342 h 345574"/>
                <a:gd name="connsiteX17" fmla="*/ 214773 w 349296"/>
                <a:gd name="connsiteY17" fmla="*/ 105027 h 345574"/>
                <a:gd name="connsiteX18" fmla="*/ 235903 w 349296"/>
                <a:gd name="connsiteY18" fmla="*/ 127409 h 345574"/>
                <a:gd name="connsiteX19" fmla="*/ 239185 w 349296"/>
                <a:gd name="connsiteY19" fmla="*/ 156716 h 345574"/>
                <a:gd name="connsiteX20" fmla="*/ 142553 w 349296"/>
                <a:gd name="connsiteY20" fmla="*/ 123649 h 345574"/>
                <a:gd name="connsiteX21" fmla="*/ 176634 w 349296"/>
                <a:gd name="connsiteY21" fmla="*/ 98282 h 345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49296" h="345574">
                  <a:moveTo>
                    <a:pt x="188571" y="246603"/>
                  </a:moveTo>
                  <a:cubicBezTo>
                    <a:pt x="178723" y="244932"/>
                    <a:pt x="167860" y="240635"/>
                    <a:pt x="155922" y="233770"/>
                  </a:cubicBezTo>
                  <a:cubicBezTo>
                    <a:pt x="130734" y="219327"/>
                    <a:pt x="118618" y="201719"/>
                    <a:pt x="119454" y="181067"/>
                  </a:cubicBezTo>
                  <a:lnTo>
                    <a:pt x="325791" y="252095"/>
                  </a:lnTo>
                  <a:cubicBezTo>
                    <a:pt x="342563" y="222968"/>
                    <a:pt x="350322" y="194079"/>
                    <a:pt x="349188" y="165430"/>
                  </a:cubicBezTo>
                  <a:cubicBezTo>
                    <a:pt x="348054" y="136780"/>
                    <a:pt x="339280" y="110637"/>
                    <a:pt x="322985" y="86882"/>
                  </a:cubicBezTo>
                  <a:cubicBezTo>
                    <a:pt x="306631" y="63186"/>
                    <a:pt x="285084" y="43609"/>
                    <a:pt x="258225" y="28210"/>
                  </a:cubicBezTo>
                  <a:cubicBezTo>
                    <a:pt x="228740" y="11259"/>
                    <a:pt x="198718" y="1948"/>
                    <a:pt x="168218" y="276"/>
                  </a:cubicBezTo>
                  <a:cubicBezTo>
                    <a:pt x="137658" y="-1395"/>
                    <a:pt x="109486" y="4514"/>
                    <a:pt x="83642" y="18063"/>
                  </a:cubicBezTo>
                  <a:cubicBezTo>
                    <a:pt x="57797" y="31612"/>
                    <a:pt x="37026" y="51965"/>
                    <a:pt x="21448" y="79123"/>
                  </a:cubicBezTo>
                  <a:cubicBezTo>
                    <a:pt x="6049" y="105922"/>
                    <a:pt x="-1113" y="134034"/>
                    <a:pt x="140" y="163341"/>
                  </a:cubicBezTo>
                  <a:cubicBezTo>
                    <a:pt x="1334" y="192706"/>
                    <a:pt x="10884" y="220520"/>
                    <a:pt x="28790" y="246902"/>
                  </a:cubicBezTo>
                  <a:cubicBezTo>
                    <a:pt x="46696" y="273283"/>
                    <a:pt x="72003" y="295905"/>
                    <a:pt x="104771" y="314706"/>
                  </a:cubicBezTo>
                  <a:cubicBezTo>
                    <a:pt x="156758" y="344609"/>
                    <a:pt x="204686" y="352786"/>
                    <a:pt x="248616" y="339237"/>
                  </a:cubicBezTo>
                  <a:lnTo>
                    <a:pt x="223965" y="246424"/>
                  </a:lnTo>
                  <a:cubicBezTo>
                    <a:pt x="210178" y="248215"/>
                    <a:pt x="198360" y="248215"/>
                    <a:pt x="188511" y="246544"/>
                  </a:cubicBezTo>
                  <a:close/>
                  <a:moveTo>
                    <a:pt x="176634" y="98342"/>
                  </a:moveTo>
                  <a:cubicBezTo>
                    <a:pt x="189108" y="95417"/>
                    <a:pt x="201821" y="97626"/>
                    <a:pt x="214773" y="105027"/>
                  </a:cubicBezTo>
                  <a:cubicBezTo>
                    <a:pt x="224681" y="110756"/>
                    <a:pt x="231724" y="118217"/>
                    <a:pt x="235903" y="127409"/>
                  </a:cubicBezTo>
                  <a:cubicBezTo>
                    <a:pt x="240081" y="136660"/>
                    <a:pt x="241155" y="146389"/>
                    <a:pt x="239185" y="156716"/>
                  </a:cubicBezTo>
                  <a:lnTo>
                    <a:pt x="142553" y="123649"/>
                  </a:lnTo>
                  <a:cubicBezTo>
                    <a:pt x="152759" y="109682"/>
                    <a:pt x="164099" y="101266"/>
                    <a:pt x="176634" y="98282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F53DA1B0-0AD1-02A1-6AE2-CA82FCFE8F17}"/>
                </a:ext>
              </a:extLst>
            </p:cNvPr>
            <p:cNvSpPr/>
            <p:nvPr/>
          </p:nvSpPr>
          <p:spPr>
            <a:xfrm>
              <a:off x="4555725" y="6224664"/>
              <a:ext cx="451639" cy="441502"/>
            </a:xfrm>
            <a:custGeom>
              <a:avLst/>
              <a:gdLst>
                <a:gd name="connsiteX0" fmla="*/ 450993 w 451639"/>
                <a:gd name="connsiteY0" fmla="*/ 198040 h 441502"/>
                <a:gd name="connsiteX1" fmla="*/ 422582 w 451639"/>
                <a:gd name="connsiteY1" fmla="*/ 124089 h 441502"/>
                <a:gd name="connsiteX2" fmla="*/ 360388 w 451639"/>
                <a:gd name="connsiteY2" fmla="*/ 76280 h 441502"/>
                <a:gd name="connsiteX3" fmla="*/ 268948 w 451639"/>
                <a:gd name="connsiteY3" fmla="*/ 71803 h 441502"/>
                <a:gd name="connsiteX4" fmla="*/ 278976 w 451639"/>
                <a:gd name="connsiteY4" fmla="*/ 48047 h 441502"/>
                <a:gd name="connsiteX5" fmla="*/ 165511 w 451639"/>
                <a:gd name="connsiteY5" fmla="*/ 0 h 441502"/>
                <a:gd name="connsiteX6" fmla="*/ 0 w 451639"/>
                <a:gd name="connsiteY6" fmla="*/ 391008 h 441502"/>
                <a:gd name="connsiteX7" fmla="*/ 119254 w 451639"/>
                <a:gd name="connsiteY7" fmla="*/ 441502 h 441502"/>
                <a:gd name="connsiteX8" fmla="*/ 170823 w 451639"/>
                <a:gd name="connsiteY8" fmla="*/ 319622 h 441502"/>
                <a:gd name="connsiteX9" fmla="*/ 233673 w 451639"/>
                <a:gd name="connsiteY9" fmla="*/ 375489 h 441502"/>
                <a:gd name="connsiteX10" fmla="*/ 311266 w 451639"/>
                <a:gd name="connsiteY10" fmla="*/ 386889 h 441502"/>
                <a:gd name="connsiteX11" fmla="*/ 384024 w 451639"/>
                <a:gd name="connsiteY11" fmla="*/ 356091 h 441502"/>
                <a:gd name="connsiteX12" fmla="*/ 436131 w 451639"/>
                <a:gd name="connsiteY12" fmla="*/ 285123 h 441502"/>
                <a:gd name="connsiteX13" fmla="*/ 450873 w 451639"/>
                <a:gd name="connsiteY13" fmla="*/ 198040 h 441502"/>
                <a:gd name="connsiteX14" fmla="*/ 315384 w 451639"/>
                <a:gd name="connsiteY14" fmla="*/ 233972 h 441502"/>
                <a:gd name="connsiteX15" fmla="*/ 284526 w 451639"/>
                <a:gd name="connsiteY15" fmla="*/ 270082 h 441502"/>
                <a:gd name="connsiteX16" fmla="*/ 244477 w 451639"/>
                <a:gd name="connsiteY16" fmla="*/ 270559 h 441502"/>
                <a:gd name="connsiteX17" fmla="*/ 216961 w 451639"/>
                <a:gd name="connsiteY17" fmla="*/ 241492 h 441502"/>
                <a:gd name="connsiteX18" fmla="*/ 221438 w 451639"/>
                <a:gd name="connsiteY18" fmla="*/ 194221 h 441502"/>
                <a:gd name="connsiteX19" fmla="*/ 252415 w 451639"/>
                <a:gd name="connsiteY19" fmla="*/ 157871 h 441502"/>
                <a:gd name="connsiteX20" fmla="*/ 292525 w 451639"/>
                <a:gd name="connsiteY20" fmla="*/ 157155 h 441502"/>
                <a:gd name="connsiteX21" fmla="*/ 319921 w 451639"/>
                <a:gd name="connsiteY21" fmla="*/ 186461 h 441502"/>
                <a:gd name="connsiteX22" fmla="*/ 315384 w 451639"/>
                <a:gd name="connsiteY22" fmla="*/ 233972 h 44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51639" h="441502">
                  <a:moveTo>
                    <a:pt x="450993" y="198040"/>
                  </a:moveTo>
                  <a:cubicBezTo>
                    <a:pt x="448187" y="169868"/>
                    <a:pt x="438697" y="145217"/>
                    <a:pt x="422582" y="124089"/>
                  </a:cubicBezTo>
                  <a:cubicBezTo>
                    <a:pt x="406407" y="102960"/>
                    <a:pt x="385695" y="87023"/>
                    <a:pt x="360388" y="76280"/>
                  </a:cubicBezTo>
                  <a:cubicBezTo>
                    <a:pt x="324875" y="61239"/>
                    <a:pt x="294375" y="59746"/>
                    <a:pt x="268948" y="71803"/>
                  </a:cubicBezTo>
                  <a:lnTo>
                    <a:pt x="278976" y="48047"/>
                  </a:lnTo>
                  <a:lnTo>
                    <a:pt x="165511" y="0"/>
                  </a:lnTo>
                  <a:lnTo>
                    <a:pt x="0" y="391008"/>
                  </a:lnTo>
                  <a:lnTo>
                    <a:pt x="119254" y="441502"/>
                  </a:lnTo>
                  <a:lnTo>
                    <a:pt x="170823" y="319622"/>
                  </a:lnTo>
                  <a:cubicBezTo>
                    <a:pt x="180731" y="343318"/>
                    <a:pt x="201681" y="361940"/>
                    <a:pt x="233673" y="375489"/>
                  </a:cubicBezTo>
                  <a:cubicBezTo>
                    <a:pt x="258980" y="386232"/>
                    <a:pt x="284885" y="389993"/>
                    <a:pt x="311266" y="386889"/>
                  </a:cubicBezTo>
                  <a:cubicBezTo>
                    <a:pt x="337707" y="383785"/>
                    <a:pt x="361940" y="373519"/>
                    <a:pt x="384024" y="356091"/>
                  </a:cubicBezTo>
                  <a:cubicBezTo>
                    <a:pt x="406108" y="338662"/>
                    <a:pt x="423477" y="315027"/>
                    <a:pt x="436131" y="285123"/>
                  </a:cubicBezTo>
                  <a:cubicBezTo>
                    <a:pt x="448784" y="255220"/>
                    <a:pt x="453679" y="226213"/>
                    <a:pt x="450873" y="198040"/>
                  </a:cubicBezTo>
                  <a:close/>
                  <a:moveTo>
                    <a:pt x="315384" y="233972"/>
                  </a:moveTo>
                  <a:cubicBezTo>
                    <a:pt x="307804" y="251937"/>
                    <a:pt x="297478" y="263934"/>
                    <a:pt x="284526" y="270082"/>
                  </a:cubicBezTo>
                  <a:cubicBezTo>
                    <a:pt x="271574" y="276230"/>
                    <a:pt x="258205" y="276349"/>
                    <a:pt x="244477" y="270559"/>
                  </a:cubicBezTo>
                  <a:cubicBezTo>
                    <a:pt x="230749" y="264770"/>
                    <a:pt x="221557" y="255041"/>
                    <a:pt x="216961" y="241492"/>
                  </a:cubicBezTo>
                  <a:cubicBezTo>
                    <a:pt x="212306" y="227943"/>
                    <a:pt x="213798" y="212186"/>
                    <a:pt x="221438" y="194221"/>
                  </a:cubicBezTo>
                  <a:cubicBezTo>
                    <a:pt x="229018" y="176255"/>
                    <a:pt x="239344" y="164138"/>
                    <a:pt x="252415" y="157871"/>
                  </a:cubicBezTo>
                  <a:cubicBezTo>
                    <a:pt x="265427" y="151545"/>
                    <a:pt x="278856" y="151306"/>
                    <a:pt x="292525" y="157155"/>
                  </a:cubicBezTo>
                  <a:cubicBezTo>
                    <a:pt x="306252" y="162944"/>
                    <a:pt x="315384" y="172733"/>
                    <a:pt x="319921" y="186461"/>
                  </a:cubicBezTo>
                  <a:cubicBezTo>
                    <a:pt x="324457" y="200189"/>
                    <a:pt x="322965" y="216066"/>
                    <a:pt x="315384" y="233972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EC341AF2-CD65-548B-521C-A1B3DD52B75B}"/>
                </a:ext>
              </a:extLst>
            </p:cNvPr>
            <p:cNvSpPr/>
            <p:nvPr/>
          </p:nvSpPr>
          <p:spPr>
            <a:xfrm>
              <a:off x="4995317" y="6372687"/>
              <a:ext cx="308043" cy="337588"/>
            </a:xfrm>
            <a:custGeom>
              <a:avLst/>
              <a:gdLst>
                <a:gd name="connsiteX0" fmla="*/ 308043 w 308043"/>
                <a:gd name="connsiteY0" fmla="*/ 60045 h 337588"/>
                <a:gd name="connsiteX1" fmla="*/ 199473 w 308043"/>
                <a:gd name="connsiteY1" fmla="*/ 68282 h 337588"/>
                <a:gd name="connsiteX2" fmla="*/ 209321 w 308043"/>
                <a:gd name="connsiteY2" fmla="*/ 35932 h 337588"/>
                <a:gd name="connsiteX3" fmla="*/ 91500 w 308043"/>
                <a:gd name="connsiteY3" fmla="*/ 0 h 337588"/>
                <a:gd name="connsiteX4" fmla="*/ 0 w 308043"/>
                <a:gd name="connsiteY4" fmla="*/ 299807 h 337588"/>
                <a:gd name="connsiteX5" fmla="*/ 123850 w 308043"/>
                <a:gd name="connsiteY5" fmla="*/ 337588 h 337588"/>
                <a:gd name="connsiteX6" fmla="*/ 164496 w 308043"/>
                <a:gd name="connsiteY6" fmla="*/ 204427 h 337588"/>
                <a:gd name="connsiteX7" fmla="*/ 247819 w 308043"/>
                <a:gd name="connsiteY7" fmla="*/ 159185 h 337588"/>
                <a:gd name="connsiteX8" fmla="*/ 274559 w 308043"/>
                <a:gd name="connsiteY8" fmla="*/ 169749 h 337588"/>
                <a:gd name="connsiteX9" fmla="*/ 307983 w 308043"/>
                <a:gd name="connsiteY9" fmla="*/ 60165 h 337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043" h="337588">
                  <a:moveTo>
                    <a:pt x="308043" y="60045"/>
                  </a:moveTo>
                  <a:cubicBezTo>
                    <a:pt x="265307" y="46974"/>
                    <a:pt x="229137" y="49719"/>
                    <a:pt x="199473" y="68282"/>
                  </a:cubicBezTo>
                  <a:lnTo>
                    <a:pt x="209321" y="35932"/>
                  </a:lnTo>
                  <a:lnTo>
                    <a:pt x="91500" y="0"/>
                  </a:lnTo>
                  <a:lnTo>
                    <a:pt x="0" y="299807"/>
                  </a:lnTo>
                  <a:lnTo>
                    <a:pt x="123850" y="337588"/>
                  </a:lnTo>
                  <a:lnTo>
                    <a:pt x="164496" y="204427"/>
                  </a:lnTo>
                  <a:cubicBezTo>
                    <a:pt x="177628" y="161333"/>
                    <a:pt x="205442" y="146232"/>
                    <a:pt x="247819" y="159185"/>
                  </a:cubicBezTo>
                  <a:cubicBezTo>
                    <a:pt x="256235" y="161752"/>
                    <a:pt x="265128" y="165273"/>
                    <a:pt x="274559" y="169749"/>
                  </a:cubicBezTo>
                  <a:lnTo>
                    <a:pt x="307983" y="60165"/>
                  </a:ln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2903C17A-3C51-182B-C30E-494EDC5A4DFA}"/>
                </a:ext>
              </a:extLst>
            </p:cNvPr>
            <p:cNvSpPr/>
            <p:nvPr/>
          </p:nvSpPr>
          <p:spPr>
            <a:xfrm>
              <a:off x="5338939" y="6303086"/>
              <a:ext cx="155937" cy="134202"/>
            </a:xfrm>
            <a:custGeom>
              <a:avLst/>
              <a:gdLst>
                <a:gd name="connsiteX0" fmla="*/ 63024 w 155937"/>
                <a:gd name="connsiteY0" fmla="*/ 131317 h 134202"/>
                <a:gd name="connsiteX1" fmla="*/ 122591 w 155937"/>
                <a:gd name="connsiteY1" fmla="*/ 125289 h 134202"/>
                <a:gd name="connsiteX2" fmla="*/ 154225 w 155937"/>
                <a:gd name="connsiteY2" fmla="*/ 82255 h 134202"/>
                <a:gd name="connsiteX3" fmla="*/ 143780 w 155937"/>
                <a:gd name="connsiteY3" fmla="*/ 32834 h 134202"/>
                <a:gd name="connsiteX4" fmla="*/ 92449 w 155937"/>
                <a:gd name="connsiteY4" fmla="*/ 2872 h 134202"/>
                <a:gd name="connsiteX5" fmla="*/ 33300 w 155937"/>
                <a:gd name="connsiteY5" fmla="*/ 8422 h 134202"/>
                <a:gd name="connsiteX6" fmla="*/ 1785 w 155937"/>
                <a:gd name="connsiteY6" fmla="*/ 49725 h 134202"/>
                <a:gd name="connsiteX7" fmla="*/ 12171 w 155937"/>
                <a:gd name="connsiteY7" fmla="*/ 100579 h 134202"/>
                <a:gd name="connsiteX8" fmla="*/ 63024 w 155937"/>
                <a:gd name="connsiteY8" fmla="*/ 131317 h 134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5937" h="134202">
                  <a:moveTo>
                    <a:pt x="63024" y="131317"/>
                  </a:moveTo>
                  <a:cubicBezTo>
                    <a:pt x="86122" y="136630"/>
                    <a:pt x="105938" y="134600"/>
                    <a:pt x="122591" y="125289"/>
                  </a:cubicBezTo>
                  <a:cubicBezTo>
                    <a:pt x="139244" y="115977"/>
                    <a:pt x="149748" y="101653"/>
                    <a:pt x="154225" y="82255"/>
                  </a:cubicBezTo>
                  <a:cubicBezTo>
                    <a:pt x="158403" y="63991"/>
                    <a:pt x="154941" y="47517"/>
                    <a:pt x="143780" y="32834"/>
                  </a:cubicBezTo>
                  <a:cubicBezTo>
                    <a:pt x="132678" y="18151"/>
                    <a:pt x="115548" y="8124"/>
                    <a:pt x="92449" y="2872"/>
                  </a:cubicBezTo>
                  <a:cubicBezTo>
                    <a:pt x="69709" y="-2321"/>
                    <a:pt x="50012" y="-471"/>
                    <a:pt x="33300" y="8422"/>
                  </a:cubicBezTo>
                  <a:cubicBezTo>
                    <a:pt x="16587" y="17316"/>
                    <a:pt x="6083" y="31103"/>
                    <a:pt x="1785" y="49725"/>
                  </a:cubicBezTo>
                  <a:cubicBezTo>
                    <a:pt x="-2512" y="68348"/>
                    <a:pt x="950" y="85298"/>
                    <a:pt x="12171" y="100579"/>
                  </a:cubicBezTo>
                  <a:cubicBezTo>
                    <a:pt x="23332" y="115858"/>
                    <a:pt x="40283" y="126125"/>
                    <a:pt x="63024" y="131317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7F43F020-7AD8-1F27-183E-5D2B77C77259}"/>
                </a:ext>
              </a:extLst>
            </p:cNvPr>
            <p:cNvSpPr/>
            <p:nvPr/>
          </p:nvSpPr>
          <p:spPr>
            <a:xfrm rot="16974599">
              <a:off x="5204507" y="6546443"/>
              <a:ext cx="313414" cy="129520"/>
            </a:xfrm>
            <a:custGeom>
              <a:avLst/>
              <a:gdLst>
                <a:gd name="connsiteX0" fmla="*/ 0 w 313414"/>
                <a:gd name="connsiteY0" fmla="*/ 0 h 129520"/>
                <a:gd name="connsiteX1" fmla="*/ 313415 w 313414"/>
                <a:gd name="connsiteY1" fmla="*/ 0 h 129520"/>
                <a:gd name="connsiteX2" fmla="*/ 313415 w 313414"/>
                <a:gd name="connsiteY2" fmla="*/ 129520 h 129520"/>
                <a:gd name="connsiteX3" fmla="*/ 0 w 313414"/>
                <a:gd name="connsiteY3" fmla="*/ 129520 h 12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3414" h="129520">
                  <a:moveTo>
                    <a:pt x="0" y="0"/>
                  </a:moveTo>
                  <a:lnTo>
                    <a:pt x="313415" y="0"/>
                  </a:lnTo>
                  <a:lnTo>
                    <a:pt x="313415" y="129520"/>
                  </a:lnTo>
                  <a:lnTo>
                    <a:pt x="0" y="129520"/>
                  </a:ln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240E2BE9-CE26-6557-5A2E-7CC26AFE7203}"/>
                </a:ext>
              </a:extLst>
            </p:cNvPr>
            <p:cNvSpPr/>
            <p:nvPr/>
          </p:nvSpPr>
          <p:spPr>
            <a:xfrm>
              <a:off x="5449354" y="6497700"/>
              <a:ext cx="328276" cy="325001"/>
            </a:xfrm>
            <a:custGeom>
              <a:avLst/>
              <a:gdLst>
                <a:gd name="connsiteX0" fmla="*/ 194519 w 328276"/>
                <a:gd name="connsiteY0" fmla="*/ 90874 h 325001"/>
                <a:gd name="connsiteX1" fmla="*/ 280826 w 328276"/>
                <a:gd name="connsiteY1" fmla="*/ 126626 h 325001"/>
                <a:gd name="connsiteX2" fmla="*/ 328277 w 328276"/>
                <a:gd name="connsiteY2" fmla="*/ 47243 h 325001"/>
                <a:gd name="connsiteX3" fmla="*/ 273484 w 328276"/>
                <a:gd name="connsiteY3" fmla="*/ 19846 h 325001"/>
                <a:gd name="connsiteX4" fmla="*/ 205561 w 328276"/>
                <a:gd name="connsiteY4" fmla="*/ 3313 h 325001"/>
                <a:gd name="connsiteX5" fmla="*/ 117045 w 328276"/>
                <a:gd name="connsiteY5" fmla="*/ 4865 h 325001"/>
                <a:gd name="connsiteX6" fmla="*/ 57359 w 328276"/>
                <a:gd name="connsiteY6" fmla="*/ 34947 h 325001"/>
                <a:gd name="connsiteX7" fmla="*/ 31395 w 328276"/>
                <a:gd name="connsiteY7" fmla="*/ 86158 h 325001"/>
                <a:gd name="connsiteX8" fmla="*/ 43034 w 328276"/>
                <a:gd name="connsiteY8" fmla="*/ 147516 h 325001"/>
                <a:gd name="connsiteX9" fmla="*/ 85829 w 328276"/>
                <a:gd name="connsiteY9" fmla="*/ 181836 h 325001"/>
                <a:gd name="connsiteX10" fmla="*/ 148799 w 328276"/>
                <a:gd name="connsiteY10" fmla="*/ 202906 h 325001"/>
                <a:gd name="connsiteX11" fmla="*/ 183954 w 328276"/>
                <a:gd name="connsiteY11" fmla="*/ 213828 h 325001"/>
                <a:gd name="connsiteX12" fmla="*/ 193504 w 328276"/>
                <a:gd name="connsiteY12" fmla="*/ 225646 h 325001"/>
                <a:gd name="connsiteX13" fmla="*/ 183119 w 328276"/>
                <a:gd name="connsiteY13" fmla="*/ 235435 h 325001"/>
                <a:gd name="connsiteX14" fmla="*/ 151664 w 328276"/>
                <a:gd name="connsiteY14" fmla="*/ 234599 h 325001"/>
                <a:gd name="connsiteX15" fmla="*/ 95499 w 328276"/>
                <a:gd name="connsiteY15" fmla="*/ 218902 h 325001"/>
                <a:gd name="connsiteX16" fmla="*/ 47451 w 328276"/>
                <a:gd name="connsiteY16" fmla="*/ 191028 h 325001"/>
                <a:gd name="connsiteX17" fmla="*/ 0 w 328276"/>
                <a:gd name="connsiteY17" fmla="*/ 270411 h 325001"/>
                <a:gd name="connsiteX18" fmla="*/ 59150 w 328276"/>
                <a:gd name="connsiteY18" fmla="*/ 301628 h 325001"/>
                <a:gd name="connsiteX19" fmla="*/ 136145 w 328276"/>
                <a:gd name="connsiteY19" fmla="*/ 321563 h 325001"/>
                <a:gd name="connsiteX20" fmla="*/ 226093 w 328276"/>
                <a:gd name="connsiteY20" fmla="*/ 320190 h 325001"/>
                <a:gd name="connsiteX21" fmla="*/ 286078 w 328276"/>
                <a:gd name="connsiteY21" fmla="*/ 290108 h 325001"/>
                <a:gd name="connsiteX22" fmla="*/ 311923 w 328276"/>
                <a:gd name="connsiteY22" fmla="*/ 240031 h 325001"/>
                <a:gd name="connsiteX23" fmla="*/ 300284 w 328276"/>
                <a:gd name="connsiteY23" fmla="*/ 178673 h 325001"/>
                <a:gd name="connsiteX24" fmla="*/ 257846 w 328276"/>
                <a:gd name="connsiteY24" fmla="*/ 144114 h 325001"/>
                <a:gd name="connsiteX25" fmla="*/ 195235 w 328276"/>
                <a:gd name="connsiteY25" fmla="*/ 122806 h 325001"/>
                <a:gd name="connsiteX26" fmla="*/ 160378 w 328276"/>
                <a:gd name="connsiteY26" fmla="*/ 111644 h 325001"/>
                <a:gd name="connsiteX27" fmla="*/ 150590 w 328276"/>
                <a:gd name="connsiteY27" fmla="*/ 99529 h 325001"/>
                <a:gd name="connsiteX28" fmla="*/ 194698 w 328276"/>
                <a:gd name="connsiteY28" fmla="*/ 90874 h 325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28276" h="325001">
                  <a:moveTo>
                    <a:pt x="194519" y="90874"/>
                  </a:moveTo>
                  <a:cubicBezTo>
                    <a:pt x="227048" y="95589"/>
                    <a:pt x="255757" y="107526"/>
                    <a:pt x="280826" y="126626"/>
                  </a:cubicBezTo>
                  <a:lnTo>
                    <a:pt x="328277" y="47243"/>
                  </a:lnTo>
                  <a:cubicBezTo>
                    <a:pt x="313594" y="36619"/>
                    <a:pt x="295330" y="27486"/>
                    <a:pt x="273484" y="19846"/>
                  </a:cubicBezTo>
                  <a:cubicBezTo>
                    <a:pt x="251639" y="12207"/>
                    <a:pt x="228958" y="6716"/>
                    <a:pt x="205561" y="3313"/>
                  </a:cubicBezTo>
                  <a:cubicBezTo>
                    <a:pt x="171898" y="-1581"/>
                    <a:pt x="142412" y="-1044"/>
                    <a:pt x="117045" y="4865"/>
                  </a:cubicBezTo>
                  <a:cubicBezTo>
                    <a:pt x="91679" y="10834"/>
                    <a:pt x="71743" y="20861"/>
                    <a:pt x="57359" y="34947"/>
                  </a:cubicBezTo>
                  <a:cubicBezTo>
                    <a:pt x="42915" y="49033"/>
                    <a:pt x="34260" y="66163"/>
                    <a:pt x="31395" y="86158"/>
                  </a:cubicBezTo>
                  <a:cubicBezTo>
                    <a:pt x="27695" y="111466"/>
                    <a:pt x="31574" y="131938"/>
                    <a:pt x="43034" y="147516"/>
                  </a:cubicBezTo>
                  <a:cubicBezTo>
                    <a:pt x="54494" y="163094"/>
                    <a:pt x="68699" y="174495"/>
                    <a:pt x="85829" y="181836"/>
                  </a:cubicBezTo>
                  <a:cubicBezTo>
                    <a:pt x="102900" y="189177"/>
                    <a:pt x="123910" y="196161"/>
                    <a:pt x="148799" y="202906"/>
                  </a:cubicBezTo>
                  <a:cubicBezTo>
                    <a:pt x="165153" y="207203"/>
                    <a:pt x="176911" y="210844"/>
                    <a:pt x="183954" y="213828"/>
                  </a:cubicBezTo>
                  <a:cubicBezTo>
                    <a:pt x="191057" y="216812"/>
                    <a:pt x="194221" y="220752"/>
                    <a:pt x="193504" y="225646"/>
                  </a:cubicBezTo>
                  <a:cubicBezTo>
                    <a:pt x="192788" y="230541"/>
                    <a:pt x="189326" y="233824"/>
                    <a:pt x="183119" y="235435"/>
                  </a:cubicBezTo>
                  <a:cubicBezTo>
                    <a:pt x="176911" y="237046"/>
                    <a:pt x="166407" y="236748"/>
                    <a:pt x="151664" y="234599"/>
                  </a:cubicBezTo>
                  <a:cubicBezTo>
                    <a:pt x="133161" y="231913"/>
                    <a:pt x="114419" y="226661"/>
                    <a:pt x="95499" y="218902"/>
                  </a:cubicBezTo>
                  <a:cubicBezTo>
                    <a:pt x="76578" y="211142"/>
                    <a:pt x="60522" y="201831"/>
                    <a:pt x="47451" y="191028"/>
                  </a:cubicBezTo>
                  <a:lnTo>
                    <a:pt x="0" y="270411"/>
                  </a:lnTo>
                  <a:cubicBezTo>
                    <a:pt x="14564" y="281811"/>
                    <a:pt x="34260" y="292197"/>
                    <a:pt x="59150" y="301628"/>
                  </a:cubicBezTo>
                  <a:cubicBezTo>
                    <a:pt x="84039" y="311058"/>
                    <a:pt x="109704" y="317683"/>
                    <a:pt x="136145" y="321563"/>
                  </a:cubicBezTo>
                  <a:cubicBezTo>
                    <a:pt x="170525" y="326576"/>
                    <a:pt x="200547" y="326099"/>
                    <a:pt x="226093" y="320190"/>
                  </a:cubicBezTo>
                  <a:cubicBezTo>
                    <a:pt x="251639" y="314281"/>
                    <a:pt x="271634" y="304254"/>
                    <a:pt x="286078" y="290108"/>
                  </a:cubicBezTo>
                  <a:cubicBezTo>
                    <a:pt x="300463" y="276022"/>
                    <a:pt x="309117" y="259309"/>
                    <a:pt x="311923" y="240031"/>
                  </a:cubicBezTo>
                  <a:cubicBezTo>
                    <a:pt x="315623" y="214724"/>
                    <a:pt x="311744" y="194251"/>
                    <a:pt x="300284" y="178673"/>
                  </a:cubicBezTo>
                  <a:cubicBezTo>
                    <a:pt x="288824" y="163094"/>
                    <a:pt x="274678" y="151575"/>
                    <a:pt x="257846" y="144114"/>
                  </a:cubicBezTo>
                  <a:cubicBezTo>
                    <a:pt x="240955" y="136654"/>
                    <a:pt x="220125" y="129550"/>
                    <a:pt x="195235" y="122806"/>
                  </a:cubicBezTo>
                  <a:cubicBezTo>
                    <a:pt x="179239" y="118568"/>
                    <a:pt x="167660" y="114808"/>
                    <a:pt x="160378" y="111644"/>
                  </a:cubicBezTo>
                  <a:cubicBezTo>
                    <a:pt x="153096" y="108482"/>
                    <a:pt x="149873" y="104423"/>
                    <a:pt x="150590" y="99529"/>
                  </a:cubicBezTo>
                  <a:cubicBezTo>
                    <a:pt x="152022" y="89680"/>
                    <a:pt x="166705" y="86815"/>
                    <a:pt x="194698" y="90874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C23E8635-3875-D2F9-7DE1-CDB3A9F710EA}"/>
                </a:ext>
              </a:extLst>
            </p:cNvPr>
            <p:cNvSpPr/>
            <p:nvPr/>
          </p:nvSpPr>
          <p:spPr>
            <a:xfrm>
              <a:off x="5801635" y="6529810"/>
              <a:ext cx="350187" cy="325334"/>
            </a:xfrm>
            <a:custGeom>
              <a:avLst/>
              <a:gdLst>
                <a:gd name="connsiteX0" fmla="*/ 270251 w 350187"/>
                <a:gd name="connsiteY0" fmla="*/ 21699 h 325334"/>
                <a:gd name="connsiteX1" fmla="*/ 185556 w 350187"/>
                <a:gd name="connsiteY1" fmla="*/ 152 h 325334"/>
                <a:gd name="connsiteX2" fmla="*/ 92922 w 350187"/>
                <a:gd name="connsiteY2" fmla="*/ 17580 h 325334"/>
                <a:gd name="connsiteX3" fmla="*/ 26490 w 350187"/>
                <a:gd name="connsiteY3" fmla="*/ 72910 h 325334"/>
                <a:gd name="connsiteX4" fmla="*/ 109 w 350187"/>
                <a:gd name="connsiteY4" fmla="*/ 155994 h 325334"/>
                <a:gd name="connsiteX5" fmla="*/ 20701 w 350187"/>
                <a:gd name="connsiteY5" fmla="*/ 240391 h 325334"/>
                <a:gd name="connsiteX6" fmla="*/ 85103 w 350187"/>
                <a:gd name="connsiteY6" fmla="*/ 300794 h 325334"/>
                <a:gd name="connsiteX7" fmla="*/ 184004 w 350187"/>
                <a:gd name="connsiteY7" fmla="*/ 325146 h 325334"/>
                <a:gd name="connsiteX8" fmla="*/ 322596 w 350187"/>
                <a:gd name="connsiteY8" fmla="*/ 279485 h 325334"/>
                <a:gd name="connsiteX9" fmla="*/ 257418 w 350187"/>
                <a:gd name="connsiteY9" fmla="*/ 208996 h 325334"/>
                <a:gd name="connsiteX10" fmla="*/ 226143 w 350187"/>
                <a:gd name="connsiteY10" fmla="*/ 225707 h 325334"/>
                <a:gd name="connsiteX11" fmla="*/ 191345 w 350187"/>
                <a:gd name="connsiteY11" fmla="*/ 229647 h 325334"/>
                <a:gd name="connsiteX12" fmla="*/ 134464 w 350187"/>
                <a:gd name="connsiteY12" fmla="*/ 200162 h 325334"/>
                <a:gd name="connsiteX13" fmla="*/ 350052 w 350187"/>
                <a:gd name="connsiteY13" fmla="*/ 166379 h 325334"/>
                <a:gd name="connsiteX14" fmla="*/ 330176 w 350187"/>
                <a:gd name="connsiteY14" fmla="*/ 78819 h 325334"/>
                <a:gd name="connsiteX15" fmla="*/ 270251 w 350187"/>
                <a:gd name="connsiteY15" fmla="*/ 21699 h 325334"/>
                <a:gd name="connsiteX16" fmla="*/ 128077 w 350187"/>
                <a:gd name="connsiteY16" fmla="*/ 138625 h 325334"/>
                <a:gd name="connsiteX17" fmla="*/ 146341 w 350187"/>
                <a:gd name="connsiteY17" fmla="*/ 100247 h 325334"/>
                <a:gd name="connsiteX18" fmla="*/ 183168 w 350187"/>
                <a:gd name="connsiteY18" fmla="*/ 88309 h 325334"/>
                <a:gd name="connsiteX19" fmla="*/ 212355 w 350187"/>
                <a:gd name="connsiteY19" fmla="*/ 98217 h 325334"/>
                <a:gd name="connsiteX20" fmla="*/ 229007 w 350187"/>
                <a:gd name="connsiteY20" fmla="*/ 122569 h 325334"/>
                <a:gd name="connsiteX21" fmla="*/ 128137 w 350187"/>
                <a:gd name="connsiteY21" fmla="*/ 138565 h 325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50187" h="325334">
                  <a:moveTo>
                    <a:pt x="270251" y="21699"/>
                  </a:moveTo>
                  <a:cubicBezTo>
                    <a:pt x="244705" y="8389"/>
                    <a:pt x="216473" y="1226"/>
                    <a:pt x="185556" y="152"/>
                  </a:cubicBezTo>
                  <a:cubicBezTo>
                    <a:pt x="151594" y="-1042"/>
                    <a:pt x="120676" y="4807"/>
                    <a:pt x="92922" y="17580"/>
                  </a:cubicBezTo>
                  <a:cubicBezTo>
                    <a:pt x="65167" y="30353"/>
                    <a:pt x="43024" y="48796"/>
                    <a:pt x="26490" y="72910"/>
                  </a:cubicBezTo>
                  <a:cubicBezTo>
                    <a:pt x="9957" y="96964"/>
                    <a:pt x="1183" y="124718"/>
                    <a:pt x="109" y="155994"/>
                  </a:cubicBezTo>
                  <a:cubicBezTo>
                    <a:pt x="-965" y="186911"/>
                    <a:pt x="5899" y="215084"/>
                    <a:pt x="20701" y="240391"/>
                  </a:cubicBezTo>
                  <a:cubicBezTo>
                    <a:pt x="35503" y="265758"/>
                    <a:pt x="56931" y="285872"/>
                    <a:pt x="85103" y="300794"/>
                  </a:cubicBezTo>
                  <a:cubicBezTo>
                    <a:pt x="113275" y="315715"/>
                    <a:pt x="146222" y="323833"/>
                    <a:pt x="184004" y="325146"/>
                  </a:cubicBezTo>
                  <a:cubicBezTo>
                    <a:pt x="243929" y="327235"/>
                    <a:pt x="290126" y="312015"/>
                    <a:pt x="322596" y="279485"/>
                  </a:cubicBezTo>
                  <a:lnTo>
                    <a:pt x="257418" y="208996"/>
                  </a:lnTo>
                  <a:cubicBezTo>
                    <a:pt x="246078" y="216993"/>
                    <a:pt x="235632" y="222545"/>
                    <a:pt x="226143" y="225707"/>
                  </a:cubicBezTo>
                  <a:cubicBezTo>
                    <a:pt x="216652" y="228811"/>
                    <a:pt x="205073" y="230124"/>
                    <a:pt x="191345" y="229647"/>
                  </a:cubicBezTo>
                  <a:cubicBezTo>
                    <a:pt x="162337" y="228632"/>
                    <a:pt x="143357" y="218784"/>
                    <a:pt x="134464" y="200162"/>
                  </a:cubicBezTo>
                  <a:lnTo>
                    <a:pt x="350052" y="166379"/>
                  </a:lnTo>
                  <a:cubicBezTo>
                    <a:pt x="351246" y="132776"/>
                    <a:pt x="344561" y="103589"/>
                    <a:pt x="330176" y="78819"/>
                  </a:cubicBezTo>
                  <a:cubicBezTo>
                    <a:pt x="315732" y="54048"/>
                    <a:pt x="295737" y="35009"/>
                    <a:pt x="270251" y="21699"/>
                  </a:cubicBezTo>
                  <a:close/>
                  <a:moveTo>
                    <a:pt x="128077" y="138625"/>
                  </a:moveTo>
                  <a:cubicBezTo>
                    <a:pt x="130584" y="121495"/>
                    <a:pt x="136672" y="108722"/>
                    <a:pt x="146341" y="100247"/>
                  </a:cubicBezTo>
                  <a:cubicBezTo>
                    <a:pt x="156011" y="91771"/>
                    <a:pt x="168246" y="87831"/>
                    <a:pt x="183168" y="88309"/>
                  </a:cubicBezTo>
                  <a:cubicBezTo>
                    <a:pt x="194628" y="88727"/>
                    <a:pt x="204357" y="92010"/>
                    <a:pt x="212355" y="98217"/>
                  </a:cubicBezTo>
                  <a:cubicBezTo>
                    <a:pt x="220353" y="104424"/>
                    <a:pt x="225904" y="112542"/>
                    <a:pt x="229007" y="122569"/>
                  </a:cubicBezTo>
                  <a:lnTo>
                    <a:pt x="128137" y="138565"/>
                  </a:ln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F79B1BCF-5B58-B758-8805-CDA334711535}"/>
                </a:ext>
              </a:extLst>
            </p:cNvPr>
            <p:cNvSpPr/>
            <p:nvPr/>
          </p:nvSpPr>
          <p:spPr>
            <a:xfrm>
              <a:off x="6380107" y="6383251"/>
              <a:ext cx="209560" cy="92216"/>
            </a:xfrm>
            <a:custGeom>
              <a:avLst/>
              <a:gdLst>
                <a:gd name="connsiteX0" fmla="*/ 124387 w 209560"/>
                <a:gd name="connsiteY0" fmla="*/ 92216 h 92216"/>
                <a:gd name="connsiteX1" fmla="*/ 209560 w 209560"/>
                <a:gd name="connsiteY1" fmla="*/ 80399 h 92216"/>
                <a:gd name="connsiteX2" fmla="*/ 122000 w 209560"/>
                <a:gd name="connsiteY2" fmla="*/ 0 h 92216"/>
                <a:gd name="connsiteX3" fmla="*/ 0 w 209560"/>
                <a:gd name="connsiteY3" fmla="*/ 16892 h 92216"/>
                <a:gd name="connsiteX4" fmla="*/ 124387 w 209560"/>
                <a:gd name="connsiteY4" fmla="*/ 92216 h 92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9560" h="92216">
                  <a:moveTo>
                    <a:pt x="124387" y="92216"/>
                  </a:moveTo>
                  <a:lnTo>
                    <a:pt x="209560" y="80399"/>
                  </a:lnTo>
                  <a:lnTo>
                    <a:pt x="122000" y="0"/>
                  </a:lnTo>
                  <a:lnTo>
                    <a:pt x="0" y="16892"/>
                  </a:lnTo>
                  <a:lnTo>
                    <a:pt x="124387" y="92216"/>
                  </a:ln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91E8683B-1650-B339-1665-32E28C94FFD7}"/>
                </a:ext>
              </a:extLst>
            </p:cNvPr>
            <p:cNvSpPr/>
            <p:nvPr/>
          </p:nvSpPr>
          <p:spPr>
            <a:xfrm>
              <a:off x="6358465" y="6483525"/>
              <a:ext cx="380538" cy="346464"/>
            </a:xfrm>
            <a:custGeom>
              <a:avLst/>
              <a:gdLst>
                <a:gd name="connsiteX0" fmla="*/ 209238 w 380538"/>
                <a:gd name="connsiteY0" fmla="*/ 17906 h 346464"/>
                <a:gd name="connsiteX1" fmla="*/ 212163 w 380538"/>
                <a:gd name="connsiteY1" fmla="*/ 38916 h 346464"/>
                <a:gd name="connsiteX2" fmla="*/ 129556 w 380538"/>
                <a:gd name="connsiteY2" fmla="*/ 23158 h 346464"/>
                <a:gd name="connsiteX3" fmla="*/ 57097 w 380538"/>
                <a:gd name="connsiteY3" fmla="*/ 53181 h 346464"/>
                <a:gd name="connsiteX4" fmla="*/ 10422 w 380538"/>
                <a:gd name="connsiteY4" fmla="*/ 116926 h 346464"/>
                <a:gd name="connsiteX5" fmla="*/ 2066 w 380538"/>
                <a:gd name="connsiteY5" fmla="*/ 204546 h 346464"/>
                <a:gd name="connsiteX6" fmla="*/ 33998 w 380538"/>
                <a:gd name="connsiteY6" fmla="*/ 286854 h 346464"/>
                <a:gd name="connsiteX7" fmla="*/ 96311 w 380538"/>
                <a:gd name="connsiteY7" fmla="*/ 335738 h 346464"/>
                <a:gd name="connsiteX8" fmla="*/ 174202 w 380538"/>
                <a:gd name="connsiteY8" fmla="*/ 344870 h 346464"/>
                <a:gd name="connsiteX9" fmla="*/ 255018 w 380538"/>
                <a:gd name="connsiteY9" fmla="*/ 301835 h 346464"/>
                <a:gd name="connsiteX10" fmla="*/ 258539 w 380538"/>
                <a:gd name="connsiteY10" fmla="*/ 327381 h 346464"/>
                <a:gd name="connsiteX11" fmla="*/ 380539 w 380538"/>
                <a:gd name="connsiteY11" fmla="*/ 310431 h 346464"/>
                <a:gd name="connsiteX12" fmla="*/ 337445 w 380538"/>
                <a:gd name="connsiteY12" fmla="*/ 0 h 346464"/>
                <a:gd name="connsiteX13" fmla="*/ 209179 w 380538"/>
                <a:gd name="connsiteY13" fmla="*/ 17787 h 346464"/>
                <a:gd name="connsiteX14" fmla="*/ 225055 w 380538"/>
                <a:gd name="connsiteY14" fmla="*/ 219588 h 346464"/>
                <a:gd name="connsiteX15" fmla="*/ 190974 w 380538"/>
                <a:gd name="connsiteY15" fmla="*/ 240776 h 346464"/>
                <a:gd name="connsiteX16" fmla="*/ 152417 w 380538"/>
                <a:gd name="connsiteY16" fmla="*/ 229615 h 346464"/>
                <a:gd name="connsiteX17" fmla="*/ 131944 w 380538"/>
                <a:gd name="connsiteY17" fmla="*/ 186461 h 346464"/>
                <a:gd name="connsiteX18" fmla="*/ 139882 w 380538"/>
                <a:gd name="connsiteY18" fmla="*/ 139667 h 346464"/>
                <a:gd name="connsiteX19" fmla="*/ 174023 w 380538"/>
                <a:gd name="connsiteY19" fmla="*/ 118717 h 346464"/>
                <a:gd name="connsiteX20" fmla="*/ 212581 w 380538"/>
                <a:gd name="connsiteY20" fmla="*/ 129580 h 346464"/>
                <a:gd name="connsiteX21" fmla="*/ 232994 w 380538"/>
                <a:gd name="connsiteY21" fmla="*/ 172435 h 346464"/>
                <a:gd name="connsiteX22" fmla="*/ 225055 w 380538"/>
                <a:gd name="connsiteY22" fmla="*/ 219528 h 346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80538" h="346464">
                  <a:moveTo>
                    <a:pt x="209238" y="17906"/>
                  </a:moveTo>
                  <a:lnTo>
                    <a:pt x="212163" y="38916"/>
                  </a:lnTo>
                  <a:cubicBezTo>
                    <a:pt x="191511" y="23636"/>
                    <a:pt x="163996" y="18383"/>
                    <a:pt x="129556" y="23158"/>
                  </a:cubicBezTo>
                  <a:cubicBezTo>
                    <a:pt x="102339" y="26919"/>
                    <a:pt x="78166" y="36946"/>
                    <a:pt x="57097" y="53181"/>
                  </a:cubicBezTo>
                  <a:cubicBezTo>
                    <a:pt x="36027" y="69416"/>
                    <a:pt x="20449" y="90664"/>
                    <a:pt x="10422" y="116926"/>
                  </a:cubicBezTo>
                  <a:cubicBezTo>
                    <a:pt x="394" y="143188"/>
                    <a:pt x="-2411" y="172435"/>
                    <a:pt x="2066" y="204546"/>
                  </a:cubicBezTo>
                  <a:cubicBezTo>
                    <a:pt x="6542" y="236718"/>
                    <a:pt x="17166" y="264173"/>
                    <a:pt x="33998" y="286854"/>
                  </a:cubicBezTo>
                  <a:cubicBezTo>
                    <a:pt x="50830" y="309595"/>
                    <a:pt x="71601" y="325889"/>
                    <a:pt x="96311" y="335738"/>
                  </a:cubicBezTo>
                  <a:cubicBezTo>
                    <a:pt x="121021" y="345646"/>
                    <a:pt x="146985" y="348690"/>
                    <a:pt x="174202" y="344870"/>
                  </a:cubicBezTo>
                  <a:cubicBezTo>
                    <a:pt x="212402" y="339558"/>
                    <a:pt x="239320" y="325233"/>
                    <a:pt x="255018" y="301835"/>
                  </a:cubicBezTo>
                  <a:lnTo>
                    <a:pt x="258539" y="327381"/>
                  </a:lnTo>
                  <a:lnTo>
                    <a:pt x="380539" y="310431"/>
                  </a:lnTo>
                  <a:lnTo>
                    <a:pt x="337445" y="0"/>
                  </a:lnTo>
                  <a:lnTo>
                    <a:pt x="209179" y="17787"/>
                  </a:lnTo>
                  <a:close/>
                  <a:moveTo>
                    <a:pt x="225055" y="219588"/>
                  </a:moveTo>
                  <a:cubicBezTo>
                    <a:pt x="217117" y="231703"/>
                    <a:pt x="205717" y="238747"/>
                    <a:pt x="190974" y="240776"/>
                  </a:cubicBezTo>
                  <a:cubicBezTo>
                    <a:pt x="176231" y="242805"/>
                    <a:pt x="163339" y="239104"/>
                    <a:pt x="152417" y="229615"/>
                  </a:cubicBezTo>
                  <a:cubicBezTo>
                    <a:pt x="141434" y="220125"/>
                    <a:pt x="134630" y="205740"/>
                    <a:pt x="131944" y="186461"/>
                  </a:cubicBezTo>
                  <a:cubicBezTo>
                    <a:pt x="129258" y="167182"/>
                    <a:pt x="131944" y="151545"/>
                    <a:pt x="139882" y="139667"/>
                  </a:cubicBezTo>
                  <a:cubicBezTo>
                    <a:pt x="147880" y="127789"/>
                    <a:pt x="159221" y="120806"/>
                    <a:pt x="174023" y="118717"/>
                  </a:cubicBezTo>
                  <a:cubicBezTo>
                    <a:pt x="188765" y="116688"/>
                    <a:pt x="201598" y="120269"/>
                    <a:pt x="212581" y="129580"/>
                  </a:cubicBezTo>
                  <a:cubicBezTo>
                    <a:pt x="223503" y="138891"/>
                    <a:pt x="230308" y="153156"/>
                    <a:pt x="232994" y="172435"/>
                  </a:cubicBezTo>
                  <a:cubicBezTo>
                    <a:pt x="235680" y="191714"/>
                    <a:pt x="232994" y="207411"/>
                    <a:pt x="225055" y="219528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02AAD45A-D04C-3C3A-3521-568636B59969}"/>
                </a:ext>
              </a:extLst>
            </p:cNvPr>
            <p:cNvSpPr/>
            <p:nvPr/>
          </p:nvSpPr>
          <p:spPr>
            <a:xfrm>
              <a:off x="6908752" y="6285828"/>
              <a:ext cx="614354" cy="450590"/>
            </a:xfrm>
            <a:custGeom>
              <a:avLst/>
              <a:gdLst>
                <a:gd name="connsiteX0" fmla="*/ 485432 w 614354"/>
                <a:gd name="connsiteY0" fmla="*/ 11117 h 450590"/>
                <a:gd name="connsiteX1" fmla="*/ 388143 w 614354"/>
                <a:gd name="connsiteY1" fmla="*/ 9207 h 450590"/>
                <a:gd name="connsiteX2" fmla="*/ 336872 w 614354"/>
                <a:gd name="connsiteY2" fmla="*/ 40901 h 450590"/>
                <a:gd name="connsiteX3" fmla="*/ 305775 w 614354"/>
                <a:gd name="connsiteY3" fmla="*/ 89665 h 450590"/>
                <a:gd name="connsiteX4" fmla="*/ 254802 w 614354"/>
                <a:gd name="connsiteY4" fmla="*/ 70028 h 450590"/>
                <a:gd name="connsiteX5" fmla="*/ 197444 w 614354"/>
                <a:gd name="connsiteY5" fmla="*/ 78324 h 450590"/>
                <a:gd name="connsiteX6" fmla="*/ 125820 w 614354"/>
                <a:gd name="connsiteY6" fmla="*/ 141413 h 450590"/>
                <a:gd name="connsiteX7" fmla="*/ 115852 w 614354"/>
                <a:gd name="connsiteY7" fmla="*/ 113957 h 450590"/>
                <a:gd name="connsiteX8" fmla="*/ 0 w 614354"/>
                <a:gd name="connsiteY8" fmla="*/ 155917 h 450590"/>
                <a:gd name="connsiteX9" fmla="*/ 106780 w 614354"/>
                <a:gd name="connsiteY9" fmla="*/ 450590 h 450590"/>
                <a:gd name="connsiteX10" fmla="*/ 228541 w 614354"/>
                <a:gd name="connsiteY10" fmla="*/ 406482 h 450590"/>
                <a:gd name="connsiteX11" fmla="*/ 176434 w 614354"/>
                <a:gd name="connsiteY11" fmla="*/ 262637 h 450590"/>
                <a:gd name="connsiteX12" fmla="*/ 172137 w 614354"/>
                <a:gd name="connsiteY12" fmla="*/ 217872 h 450590"/>
                <a:gd name="connsiteX13" fmla="*/ 195176 w 614354"/>
                <a:gd name="connsiteY13" fmla="*/ 194893 h 450590"/>
                <a:gd name="connsiteX14" fmla="*/ 246387 w 614354"/>
                <a:gd name="connsiteY14" fmla="*/ 233629 h 450590"/>
                <a:gd name="connsiteX15" fmla="*/ 299687 w 614354"/>
                <a:gd name="connsiteY15" fmla="*/ 380697 h 450590"/>
                <a:gd name="connsiteX16" fmla="*/ 421448 w 614354"/>
                <a:gd name="connsiteY16" fmla="*/ 336589 h 450590"/>
                <a:gd name="connsiteX17" fmla="*/ 369341 w 614354"/>
                <a:gd name="connsiteY17" fmla="*/ 192744 h 450590"/>
                <a:gd name="connsiteX18" fmla="*/ 365044 w 614354"/>
                <a:gd name="connsiteY18" fmla="*/ 147979 h 450590"/>
                <a:gd name="connsiteX19" fmla="*/ 388083 w 614354"/>
                <a:gd name="connsiteY19" fmla="*/ 124999 h 450590"/>
                <a:gd name="connsiteX20" fmla="*/ 439294 w 614354"/>
                <a:gd name="connsiteY20" fmla="*/ 163736 h 450590"/>
                <a:gd name="connsiteX21" fmla="*/ 492594 w 614354"/>
                <a:gd name="connsiteY21" fmla="*/ 310804 h 450590"/>
                <a:gd name="connsiteX22" fmla="*/ 614355 w 614354"/>
                <a:gd name="connsiteY22" fmla="*/ 266695 h 450590"/>
                <a:gd name="connsiteX23" fmla="*/ 553475 w 614354"/>
                <a:gd name="connsiteY23" fmla="*/ 98618 h 450590"/>
                <a:gd name="connsiteX24" fmla="*/ 485492 w 614354"/>
                <a:gd name="connsiteY24" fmla="*/ 11117 h 450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14354" h="450590">
                  <a:moveTo>
                    <a:pt x="485432" y="11117"/>
                  </a:moveTo>
                  <a:cubicBezTo>
                    <a:pt x="456126" y="-3029"/>
                    <a:pt x="423716" y="-3685"/>
                    <a:pt x="388143" y="9207"/>
                  </a:cubicBezTo>
                  <a:cubicBezTo>
                    <a:pt x="368028" y="16489"/>
                    <a:pt x="350958" y="27054"/>
                    <a:pt x="336872" y="40901"/>
                  </a:cubicBezTo>
                  <a:cubicBezTo>
                    <a:pt x="322786" y="54748"/>
                    <a:pt x="312400" y="70983"/>
                    <a:pt x="305775" y="89665"/>
                  </a:cubicBezTo>
                  <a:cubicBezTo>
                    <a:pt x="290256" y="78205"/>
                    <a:pt x="273246" y="71699"/>
                    <a:pt x="254802" y="70028"/>
                  </a:cubicBezTo>
                  <a:cubicBezTo>
                    <a:pt x="236300" y="68416"/>
                    <a:pt x="217200" y="71162"/>
                    <a:pt x="197444" y="78324"/>
                  </a:cubicBezTo>
                  <a:cubicBezTo>
                    <a:pt x="163661" y="90560"/>
                    <a:pt x="139846" y="111569"/>
                    <a:pt x="125820" y="141413"/>
                  </a:cubicBezTo>
                  <a:lnTo>
                    <a:pt x="115852" y="113957"/>
                  </a:lnTo>
                  <a:lnTo>
                    <a:pt x="0" y="155917"/>
                  </a:lnTo>
                  <a:lnTo>
                    <a:pt x="106780" y="450590"/>
                  </a:lnTo>
                  <a:lnTo>
                    <a:pt x="228541" y="406482"/>
                  </a:lnTo>
                  <a:lnTo>
                    <a:pt x="176434" y="262637"/>
                  </a:lnTo>
                  <a:cubicBezTo>
                    <a:pt x="169689" y="243955"/>
                    <a:pt x="168197" y="229033"/>
                    <a:pt x="172137" y="217872"/>
                  </a:cubicBezTo>
                  <a:cubicBezTo>
                    <a:pt x="176016" y="206710"/>
                    <a:pt x="183716" y="199070"/>
                    <a:pt x="195176" y="194893"/>
                  </a:cubicBezTo>
                  <a:cubicBezTo>
                    <a:pt x="217080" y="186954"/>
                    <a:pt x="234151" y="199846"/>
                    <a:pt x="246387" y="233629"/>
                  </a:cubicBezTo>
                  <a:lnTo>
                    <a:pt x="299687" y="380697"/>
                  </a:lnTo>
                  <a:lnTo>
                    <a:pt x="421448" y="336589"/>
                  </a:lnTo>
                  <a:lnTo>
                    <a:pt x="369341" y="192744"/>
                  </a:lnTo>
                  <a:cubicBezTo>
                    <a:pt x="362597" y="174062"/>
                    <a:pt x="361104" y="159140"/>
                    <a:pt x="365044" y="147979"/>
                  </a:cubicBezTo>
                  <a:cubicBezTo>
                    <a:pt x="368923" y="136818"/>
                    <a:pt x="376623" y="129177"/>
                    <a:pt x="388083" y="124999"/>
                  </a:cubicBezTo>
                  <a:cubicBezTo>
                    <a:pt x="409988" y="117061"/>
                    <a:pt x="427058" y="129953"/>
                    <a:pt x="439294" y="163736"/>
                  </a:cubicBezTo>
                  <a:lnTo>
                    <a:pt x="492594" y="310804"/>
                  </a:lnTo>
                  <a:lnTo>
                    <a:pt x="614355" y="266695"/>
                  </a:lnTo>
                  <a:lnTo>
                    <a:pt x="553475" y="98618"/>
                  </a:lnTo>
                  <a:cubicBezTo>
                    <a:pt x="537479" y="54450"/>
                    <a:pt x="514798" y="25263"/>
                    <a:pt x="485492" y="11117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3CB50C3E-5760-676E-5C05-33116D5535B8}"/>
                </a:ext>
              </a:extLst>
            </p:cNvPr>
            <p:cNvSpPr/>
            <p:nvPr/>
          </p:nvSpPr>
          <p:spPr>
            <a:xfrm rot="19980002">
              <a:off x="7519731" y="6180399"/>
              <a:ext cx="129520" cy="313414"/>
            </a:xfrm>
            <a:custGeom>
              <a:avLst/>
              <a:gdLst>
                <a:gd name="connsiteX0" fmla="*/ 0 w 129520"/>
                <a:gd name="connsiteY0" fmla="*/ 0 h 313414"/>
                <a:gd name="connsiteX1" fmla="*/ 129520 w 129520"/>
                <a:gd name="connsiteY1" fmla="*/ 0 h 313414"/>
                <a:gd name="connsiteX2" fmla="*/ 129520 w 129520"/>
                <a:gd name="connsiteY2" fmla="*/ 313415 h 313414"/>
                <a:gd name="connsiteX3" fmla="*/ 0 w 129520"/>
                <a:gd name="connsiteY3" fmla="*/ 313415 h 313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520" h="313414">
                  <a:moveTo>
                    <a:pt x="0" y="0"/>
                  </a:moveTo>
                  <a:lnTo>
                    <a:pt x="129520" y="0"/>
                  </a:lnTo>
                  <a:lnTo>
                    <a:pt x="129520" y="313415"/>
                  </a:lnTo>
                  <a:lnTo>
                    <a:pt x="0" y="313415"/>
                  </a:ln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2AE0F7E1-F5F6-BEB8-0457-35938E586553}"/>
                </a:ext>
              </a:extLst>
            </p:cNvPr>
            <p:cNvSpPr/>
            <p:nvPr/>
          </p:nvSpPr>
          <p:spPr>
            <a:xfrm>
              <a:off x="7395410" y="6046035"/>
              <a:ext cx="152668" cy="140092"/>
            </a:xfrm>
            <a:custGeom>
              <a:avLst/>
              <a:gdLst>
                <a:gd name="connsiteX0" fmla="*/ 105255 w 152668"/>
                <a:gd name="connsiteY0" fmla="*/ 1718 h 140092"/>
                <a:gd name="connsiteX1" fmla="*/ 46643 w 152668"/>
                <a:gd name="connsiteY1" fmla="*/ 11625 h 140092"/>
                <a:gd name="connsiteX2" fmla="*/ 4802 w 152668"/>
                <a:gd name="connsiteY2" fmla="*/ 53824 h 140092"/>
                <a:gd name="connsiteX3" fmla="*/ 7130 w 152668"/>
                <a:gd name="connsiteY3" fmla="*/ 105692 h 140092"/>
                <a:gd name="connsiteX4" fmla="*/ 47717 w 152668"/>
                <a:gd name="connsiteY4" fmla="*/ 138042 h 140092"/>
                <a:gd name="connsiteX5" fmla="*/ 106449 w 152668"/>
                <a:gd name="connsiteY5" fmla="*/ 129029 h 140092"/>
                <a:gd name="connsiteX6" fmla="*/ 148289 w 152668"/>
                <a:gd name="connsiteY6" fmla="*/ 86174 h 140092"/>
                <a:gd name="connsiteX7" fmla="*/ 144947 w 152668"/>
                <a:gd name="connsiteY7" fmla="*/ 32874 h 140092"/>
                <a:gd name="connsiteX8" fmla="*/ 105255 w 152668"/>
                <a:gd name="connsiteY8" fmla="*/ 1658 h 140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668" h="140092">
                  <a:moveTo>
                    <a:pt x="105255" y="1718"/>
                  </a:moveTo>
                  <a:cubicBezTo>
                    <a:pt x="87289" y="-2401"/>
                    <a:pt x="67772" y="882"/>
                    <a:pt x="46643" y="11625"/>
                  </a:cubicBezTo>
                  <a:cubicBezTo>
                    <a:pt x="25872" y="22190"/>
                    <a:pt x="11965" y="36276"/>
                    <a:pt x="4802" y="53824"/>
                  </a:cubicBezTo>
                  <a:cubicBezTo>
                    <a:pt x="-2300" y="71372"/>
                    <a:pt x="-1524" y="88681"/>
                    <a:pt x="7130" y="105692"/>
                  </a:cubicBezTo>
                  <a:cubicBezTo>
                    <a:pt x="15785" y="122703"/>
                    <a:pt x="29334" y="133505"/>
                    <a:pt x="47717" y="138042"/>
                  </a:cubicBezTo>
                  <a:cubicBezTo>
                    <a:pt x="66101" y="142578"/>
                    <a:pt x="85678" y="139594"/>
                    <a:pt x="106449" y="129029"/>
                  </a:cubicBezTo>
                  <a:cubicBezTo>
                    <a:pt x="127518" y="118286"/>
                    <a:pt x="141485" y="104021"/>
                    <a:pt x="148289" y="86174"/>
                  </a:cubicBezTo>
                  <a:cubicBezTo>
                    <a:pt x="155093" y="68388"/>
                    <a:pt x="153959" y="50601"/>
                    <a:pt x="144947" y="32874"/>
                  </a:cubicBezTo>
                  <a:cubicBezTo>
                    <a:pt x="136471" y="16221"/>
                    <a:pt x="123221" y="5776"/>
                    <a:pt x="105255" y="1658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CEC78702-15D6-D704-FEBC-EEA1D3E96472}"/>
                </a:ext>
              </a:extLst>
            </p:cNvPr>
            <p:cNvSpPr/>
            <p:nvPr/>
          </p:nvSpPr>
          <p:spPr>
            <a:xfrm>
              <a:off x="7644922" y="6018805"/>
              <a:ext cx="340046" cy="381755"/>
            </a:xfrm>
            <a:custGeom>
              <a:avLst/>
              <a:gdLst>
                <a:gd name="connsiteX0" fmla="*/ 278982 w 340046"/>
                <a:gd name="connsiteY0" fmla="*/ 118836 h 381755"/>
                <a:gd name="connsiteX1" fmla="*/ 224250 w 340046"/>
                <a:gd name="connsiteY1" fmla="*/ 119553 h 381755"/>
                <a:gd name="connsiteX2" fmla="*/ 162533 w 340046"/>
                <a:gd name="connsiteY2" fmla="*/ 143427 h 381755"/>
                <a:gd name="connsiteX3" fmla="*/ 128631 w 340046"/>
                <a:gd name="connsiteY3" fmla="*/ 157215 h 381755"/>
                <a:gd name="connsiteX4" fmla="*/ 113292 w 340046"/>
                <a:gd name="connsiteY4" fmla="*/ 154170 h 381755"/>
                <a:gd name="connsiteX5" fmla="*/ 141583 w 340046"/>
                <a:gd name="connsiteY5" fmla="*/ 119254 h 381755"/>
                <a:gd name="connsiteX6" fmla="*/ 230695 w 340046"/>
                <a:gd name="connsiteY6" fmla="*/ 91321 h 381755"/>
                <a:gd name="connsiteX7" fmla="*/ 216192 w 340046"/>
                <a:gd name="connsiteY7" fmla="*/ 0 h 381755"/>
                <a:gd name="connsiteX8" fmla="*/ 156624 w 340046"/>
                <a:gd name="connsiteY8" fmla="*/ 14146 h 381755"/>
                <a:gd name="connsiteX9" fmla="*/ 93894 w 340046"/>
                <a:gd name="connsiteY9" fmla="*/ 45004 h 381755"/>
                <a:gd name="connsiteX10" fmla="*/ 26985 w 340046"/>
                <a:gd name="connsiteY10" fmla="*/ 103019 h 381755"/>
                <a:gd name="connsiteX11" fmla="*/ 484 w 340046"/>
                <a:gd name="connsiteY11" fmla="*/ 164377 h 381755"/>
                <a:gd name="connsiteX12" fmla="*/ 13436 w 340046"/>
                <a:gd name="connsiteY12" fmla="*/ 220363 h 381755"/>
                <a:gd name="connsiteX13" fmla="*/ 61722 w 340046"/>
                <a:gd name="connsiteY13" fmla="*/ 259935 h 381755"/>
                <a:gd name="connsiteX14" fmla="*/ 116574 w 340046"/>
                <a:gd name="connsiteY14" fmla="*/ 258801 h 381755"/>
                <a:gd name="connsiteX15" fmla="*/ 178350 w 340046"/>
                <a:gd name="connsiteY15" fmla="*/ 234568 h 381755"/>
                <a:gd name="connsiteX16" fmla="*/ 212312 w 340046"/>
                <a:gd name="connsiteY16" fmla="*/ 220363 h 381755"/>
                <a:gd name="connsiteX17" fmla="*/ 227234 w 340046"/>
                <a:gd name="connsiteY17" fmla="*/ 223288 h 381755"/>
                <a:gd name="connsiteX18" fmla="*/ 225503 w 340046"/>
                <a:gd name="connsiteY18" fmla="*/ 237434 h 381755"/>
                <a:gd name="connsiteX19" fmla="*/ 200852 w 340046"/>
                <a:gd name="connsiteY19" fmla="*/ 256951 h 381755"/>
                <a:gd name="connsiteX20" fmla="*/ 147671 w 340046"/>
                <a:gd name="connsiteY20" fmla="*/ 280945 h 381755"/>
                <a:gd name="connsiteX21" fmla="*/ 92939 w 340046"/>
                <a:gd name="connsiteY21" fmla="*/ 290436 h 381755"/>
                <a:gd name="connsiteX22" fmla="*/ 107443 w 340046"/>
                <a:gd name="connsiteY22" fmla="*/ 381756 h 381755"/>
                <a:gd name="connsiteX23" fmla="*/ 172859 w 340046"/>
                <a:gd name="connsiteY23" fmla="*/ 367730 h 381755"/>
                <a:gd name="connsiteX24" fmla="*/ 244722 w 340046"/>
                <a:gd name="connsiteY24" fmla="*/ 333589 h 381755"/>
                <a:gd name="connsiteX25" fmla="*/ 312824 w 340046"/>
                <a:gd name="connsiteY25" fmla="*/ 274857 h 381755"/>
                <a:gd name="connsiteX26" fmla="*/ 339564 w 340046"/>
                <a:gd name="connsiteY26" fmla="*/ 213320 h 381755"/>
                <a:gd name="connsiteX27" fmla="*/ 327269 w 340046"/>
                <a:gd name="connsiteY27" fmla="*/ 158349 h 381755"/>
                <a:gd name="connsiteX28" fmla="*/ 278982 w 340046"/>
                <a:gd name="connsiteY28" fmla="*/ 118777 h 381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0046" h="381755">
                  <a:moveTo>
                    <a:pt x="278982" y="118836"/>
                  </a:moveTo>
                  <a:cubicBezTo>
                    <a:pt x="260240" y="114240"/>
                    <a:pt x="241976" y="114479"/>
                    <a:pt x="224250" y="119553"/>
                  </a:cubicBezTo>
                  <a:cubicBezTo>
                    <a:pt x="206522" y="124626"/>
                    <a:pt x="185930" y="132624"/>
                    <a:pt x="162533" y="143427"/>
                  </a:cubicBezTo>
                  <a:cubicBezTo>
                    <a:pt x="147552" y="150410"/>
                    <a:pt x="136271" y="155006"/>
                    <a:pt x="128631" y="157215"/>
                  </a:cubicBezTo>
                  <a:cubicBezTo>
                    <a:pt x="121051" y="159423"/>
                    <a:pt x="115918" y="158408"/>
                    <a:pt x="113292" y="154170"/>
                  </a:cubicBezTo>
                  <a:cubicBezTo>
                    <a:pt x="108099" y="145695"/>
                    <a:pt x="117530" y="134056"/>
                    <a:pt x="141583" y="119254"/>
                  </a:cubicBezTo>
                  <a:cubicBezTo>
                    <a:pt x="169576" y="102004"/>
                    <a:pt x="199241" y="92693"/>
                    <a:pt x="230695" y="91321"/>
                  </a:cubicBezTo>
                  <a:lnTo>
                    <a:pt x="216192" y="0"/>
                  </a:lnTo>
                  <a:cubicBezTo>
                    <a:pt x="198107" y="1253"/>
                    <a:pt x="178291" y="5969"/>
                    <a:pt x="156624" y="14146"/>
                  </a:cubicBezTo>
                  <a:cubicBezTo>
                    <a:pt x="134958" y="22323"/>
                    <a:pt x="114068" y="32589"/>
                    <a:pt x="93894" y="45004"/>
                  </a:cubicBezTo>
                  <a:cubicBezTo>
                    <a:pt x="64946" y="62850"/>
                    <a:pt x="42623" y="82188"/>
                    <a:pt x="26985" y="103019"/>
                  </a:cubicBezTo>
                  <a:cubicBezTo>
                    <a:pt x="11347" y="123850"/>
                    <a:pt x="2513" y="144322"/>
                    <a:pt x="484" y="164377"/>
                  </a:cubicBezTo>
                  <a:cubicBezTo>
                    <a:pt x="-1545" y="184432"/>
                    <a:pt x="2812" y="203114"/>
                    <a:pt x="13436" y="220363"/>
                  </a:cubicBezTo>
                  <a:cubicBezTo>
                    <a:pt x="26866" y="242149"/>
                    <a:pt x="42921" y="255340"/>
                    <a:pt x="61722" y="259935"/>
                  </a:cubicBezTo>
                  <a:cubicBezTo>
                    <a:pt x="80464" y="264531"/>
                    <a:pt x="98728" y="264173"/>
                    <a:pt x="116574" y="258801"/>
                  </a:cubicBezTo>
                  <a:cubicBezTo>
                    <a:pt x="134361" y="253489"/>
                    <a:pt x="154953" y="245372"/>
                    <a:pt x="178350" y="234568"/>
                  </a:cubicBezTo>
                  <a:cubicBezTo>
                    <a:pt x="193690" y="227406"/>
                    <a:pt x="204970" y="222631"/>
                    <a:pt x="212312" y="220363"/>
                  </a:cubicBezTo>
                  <a:cubicBezTo>
                    <a:pt x="219654" y="218095"/>
                    <a:pt x="224608" y="219050"/>
                    <a:pt x="227234" y="223288"/>
                  </a:cubicBezTo>
                  <a:cubicBezTo>
                    <a:pt x="229860" y="227526"/>
                    <a:pt x="229263" y="232241"/>
                    <a:pt x="225503" y="237434"/>
                  </a:cubicBezTo>
                  <a:cubicBezTo>
                    <a:pt x="221742" y="242686"/>
                    <a:pt x="213565" y="249192"/>
                    <a:pt x="200852" y="256951"/>
                  </a:cubicBezTo>
                  <a:cubicBezTo>
                    <a:pt x="184916" y="266739"/>
                    <a:pt x="167189" y="274738"/>
                    <a:pt x="147671" y="280945"/>
                  </a:cubicBezTo>
                  <a:cubicBezTo>
                    <a:pt x="128154" y="287153"/>
                    <a:pt x="109890" y="290316"/>
                    <a:pt x="92939" y="290436"/>
                  </a:cubicBezTo>
                  <a:lnTo>
                    <a:pt x="107443" y="381756"/>
                  </a:lnTo>
                  <a:cubicBezTo>
                    <a:pt x="125886" y="381159"/>
                    <a:pt x="147731" y="376503"/>
                    <a:pt x="172859" y="367730"/>
                  </a:cubicBezTo>
                  <a:cubicBezTo>
                    <a:pt x="197987" y="359016"/>
                    <a:pt x="221922" y="347615"/>
                    <a:pt x="244722" y="333589"/>
                  </a:cubicBezTo>
                  <a:cubicBezTo>
                    <a:pt x="274326" y="315384"/>
                    <a:pt x="297008" y="295747"/>
                    <a:pt x="312824" y="274857"/>
                  </a:cubicBezTo>
                  <a:cubicBezTo>
                    <a:pt x="328641" y="253907"/>
                    <a:pt x="337535" y="233375"/>
                    <a:pt x="339564" y="213320"/>
                  </a:cubicBezTo>
                  <a:cubicBezTo>
                    <a:pt x="341534" y="193266"/>
                    <a:pt x="337475" y="174941"/>
                    <a:pt x="327269" y="158349"/>
                  </a:cubicBezTo>
                  <a:cubicBezTo>
                    <a:pt x="313839" y="136563"/>
                    <a:pt x="297784" y="123372"/>
                    <a:pt x="278982" y="118777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645F6B2C-7DA6-98D2-967A-CCEC2F8C3FC0}"/>
                </a:ext>
              </a:extLst>
            </p:cNvPr>
            <p:cNvSpPr/>
            <p:nvPr/>
          </p:nvSpPr>
          <p:spPr>
            <a:xfrm>
              <a:off x="7917875" y="5826315"/>
              <a:ext cx="342303" cy="391007"/>
            </a:xfrm>
            <a:custGeom>
              <a:avLst/>
              <a:gdLst>
                <a:gd name="connsiteX0" fmla="*/ 272291 w 342303"/>
                <a:gd name="connsiteY0" fmla="*/ 111853 h 391007"/>
                <a:gd name="connsiteX1" fmla="*/ 217917 w 342303"/>
                <a:gd name="connsiteY1" fmla="*/ 118120 h 391007"/>
                <a:gd name="connsiteX2" fmla="*/ 158946 w 342303"/>
                <a:gd name="connsiteY2" fmla="*/ 148083 h 391007"/>
                <a:gd name="connsiteX3" fmla="*/ 126656 w 342303"/>
                <a:gd name="connsiteY3" fmla="*/ 165272 h 391007"/>
                <a:gd name="connsiteX4" fmla="*/ 111137 w 342303"/>
                <a:gd name="connsiteY4" fmla="*/ 163840 h 391007"/>
                <a:gd name="connsiteX5" fmla="*/ 135728 w 342303"/>
                <a:gd name="connsiteY5" fmla="*/ 126237 h 391007"/>
                <a:gd name="connsiteX6" fmla="*/ 221557 w 342303"/>
                <a:gd name="connsiteY6" fmla="*/ 89411 h 391007"/>
                <a:gd name="connsiteX7" fmla="*/ 197862 w 342303"/>
                <a:gd name="connsiteY7" fmla="*/ 0 h 391007"/>
                <a:gd name="connsiteX8" fmla="*/ 140025 w 342303"/>
                <a:gd name="connsiteY8" fmla="*/ 20114 h 391007"/>
                <a:gd name="connsiteX9" fmla="*/ 80757 w 342303"/>
                <a:gd name="connsiteY9" fmla="*/ 57239 h 391007"/>
                <a:gd name="connsiteX10" fmla="*/ 20115 w 342303"/>
                <a:gd name="connsiteY10" fmla="*/ 121761 h 391007"/>
                <a:gd name="connsiteX11" fmla="*/ 0 w 342303"/>
                <a:gd name="connsiteY11" fmla="*/ 185506 h 391007"/>
                <a:gd name="connsiteX12" fmla="*/ 18563 w 342303"/>
                <a:gd name="connsiteY12" fmla="*/ 239881 h 391007"/>
                <a:gd name="connsiteX13" fmla="*/ 70610 w 342303"/>
                <a:gd name="connsiteY13" fmla="*/ 274380 h 391007"/>
                <a:gd name="connsiteX14" fmla="*/ 125044 w 342303"/>
                <a:gd name="connsiteY14" fmla="*/ 267695 h 391007"/>
                <a:gd name="connsiteX15" fmla="*/ 184074 w 342303"/>
                <a:gd name="connsiteY15" fmla="*/ 237314 h 391007"/>
                <a:gd name="connsiteX16" fmla="*/ 216424 w 342303"/>
                <a:gd name="connsiteY16" fmla="*/ 219766 h 391007"/>
                <a:gd name="connsiteX17" fmla="*/ 231585 w 342303"/>
                <a:gd name="connsiteY17" fmla="*/ 221139 h 391007"/>
                <a:gd name="connsiteX18" fmla="*/ 231346 w 342303"/>
                <a:gd name="connsiteY18" fmla="*/ 235404 h 391007"/>
                <a:gd name="connsiteX19" fmla="*/ 208844 w 342303"/>
                <a:gd name="connsiteY19" fmla="*/ 257369 h 391007"/>
                <a:gd name="connsiteX20" fmla="*/ 158349 w 342303"/>
                <a:gd name="connsiteY20" fmla="*/ 286616 h 391007"/>
                <a:gd name="connsiteX21" fmla="*/ 104870 w 342303"/>
                <a:gd name="connsiteY21" fmla="*/ 301597 h 391007"/>
                <a:gd name="connsiteX22" fmla="*/ 128566 w 342303"/>
                <a:gd name="connsiteY22" fmla="*/ 391008 h 391007"/>
                <a:gd name="connsiteX23" fmla="*/ 192192 w 342303"/>
                <a:gd name="connsiteY23" fmla="*/ 370415 h 391007"/>
                <a:gd name="connsiteX24" fmla="*/ 260175 w 342303"/>
                <a:gd name="connsiteY24" fmla="*/ 329172 h 391007"/>
                <a:gd name="connsiteX25" fmla="*/ 321950 w 342303"/>
                <a:gd name="connsiteY25" fmla="*/ 263815 h 391007"/>
                <a:gd name="connsiteX26" fmla="*/ 342304 w 342303"/>
                <a:gd name="connsiteY26" fmla="*/ 199891 h 391007"/>
                <a:gd name="connsiteX27" fmla="*/ 324457 w 342303"/>
                <a:gd name="connsiteY27" fmla="*/ 146411 h 391007"/>
                <a:gd name="connsiteX28" fmla="*/ 272411 w 342303"/>
                <a:gd name="connsiteY28" fmla="*/ 111913 h 391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2303" h="391007">
                  <a:moveTo>
                    <a:pt x="272291" y="111853"/>
                  </a:moveTo>
                  <a:cubicBezTo>
                    <a:pt x="253132" y="109167"/>
                    <a:pt x="235047" y="111256"/>
                    <a:pt x="217917" y="118120"/>
                  </a:cubicBezTo>
                  <a:cubicBezTo>
                    <a:pt x="200786" y="124984"/>
                    <a:pt x="181150" y="134952"/>
                    <a:pt x="158946" y="148083"/>
                  </a:cubicBezTo>
                  <a:cubicBezTo>
                    <a:pt x="144741" y="156558"/>
                    <a:pt x="133997" y="162288"/>
                    <a:pt x="126656" y="165272"/>
                  </a:cubicBezTo>
                  <a:cubicBezTo>
                    <a:pt x="119314" y="168257"/>
                    <a:pt x="114121" y="167779"/>
                    <a:pt x="111137" y="163840"/>
                  </a:cubicBezTo>
                  <a:cubicBezTo>
                    <a:pt x="105109" y="155961"/>
                    <a:pt x="113286" y="143427"/>
                    <a:pt x="135728" y="126237"/>
                  </a:cubicBezTo>
                  <a:cubicBezTo>
                    <a:pt x="161811" y="106242"/>
                    <a:pt x="190401" y="94007"/>
                    <a:pt x="221557" y="89411"/>
                  </a:cubicBezTo>
                  <a:lnTo>
                    <a:pt x="197862" y="0"/>
                  </a:lnTo>
                  <a:cubicBezTo>
                    <a:pt x="180016" y="3103"/>
                    <a:pt x="160737" y="9788"/>
                    <a:pt x="140025" y="20114"/>
                  </a:cubicBezTo>
                  <a:cubicBezTo>
                    <a:pt x="119314" y="30440"/>
                    <a:pt x="99558" y="42795"/>
                    <a:pt x="80757" y="57239"/>
                  </a:cubicBezTo>
                  <a:cubicBezTo>
                    <a:pt x="53778" y="77891"/>
                    <a:pt x="33544" y="99438"/>
                    <a:pt x="20115" y="121761"/>
                  </a:cubicBezTo>
                  <a:cubicBezTo>
                    <a:pt x="6685" y="144083"/>
                    <a:pt x="-59" y="165332"/>
                    <a:pt x="0" y="185506"/>
                  </a:cubicBezTo>
                  <a:cubicBezTo>
                    <a:pt x="0" y="205680"/>
                    <a:pt x="6208" y="223825"/>
                    <a:pt x="18563" y="239881"/>
                  </a:cubicBezTo>
                  <a:cubicBezTo>
                    <a:pt x="34141" y="260234"/>
                    <a:pt x="51450" y="271694"/>
                    <a:pt x="70610" y="274380"/>
                  </a:cubicBezTo>
                  <a:cubicBezTo>
                    <a:pt x="89710" y="277066"/>
                    <a:pt x="107854" y="274857"/>
                    <a:pt x="125044" y="267695"/>
                  </a:cubicBezTo>
                  <a:cubicBezTo>
                    <a:pt x="142234" y="260592"/>
                    <a:pt x="161871" y="250445"/>
                    <a:pt x="184074" y="237314"/>
                  </a:cubicBezTo>
                  <a:cubicBezTo>
                    <a:pt x="198578" y="228600"/>
                    <a:pt x="209381" y="222750"/>
                    <a:pt x="216424" y="219766"/>
                  </a:cubicBezTo>
                  <a:cubicBezTo>
                    <a:pt x="223527" y="216782"/>
                    <a:pt x="228541" y="217200"/>
                    <a:pt x="231585" y="221139"/>
                  </a:cubicBezTo>
                  <a:cubicBezTo>
                    <a:pt x="234629" y="225078"/>
                    <a:pt x="234510" y="229853"/>
                    <a:pt x="231346" y="235404"/>
                  </a:cubicBezTo>
                  <a:cubicBezTo>
                    <a:pt x="228182" y="241015"/>
                    <a:pt x="220662" y="248296"/>
                    <a:pt x="208844" y="257369"/>
                  </a:cubicBezTo>
                  <a:cubicBezTo>
                    <a:pt x="193982" y="268769"/>
                    <a:pt x="177150" y="278498"/>
                    <a:pt x="158349" y="286616"/>
                  </a:cubicBezTo>
                  <a:cubicBezTo>
                    <a:pt x="139548" y="294733"/>
                    <a:pt x="121761" y="299746"/>
                    <a:pt x="104870" y="301597"/>
                  </a:cubicBezTo>
                  <a:lnTo>
                    <a:pt x="128566" y="391008"/>
                  </a:lnTo>
                  <a:cubicBezTo>
                    <a:pt x="146889" y="388500"/>
                    <a:pt x="168078" y="381696"/>
                    <a:pt x="192192" y="370415"/>
                  </a:cubicBezTo>
                  <a:cubicBezTo>
                    <a:pt x="216305" y="359194"/>
                    <a:pt x="238986" y="345407"/>
                    <a:pt x="260175" y="329172"/>
                  </a:cubicBezTo>
                  <a:cubicBezTo>
                    <a:pt x="287750" y="308043"/>
                    <a:pt x="308342" y="286257"/>
                    <a:pt x="321950" y="263815"/>
                  </a:cubicBezTo>
                  <a:cubicBezTo>
                    <a:pt x="335559" y="241373"/>
                    <a:pt x="342304" y="220065"/>
                    <a:pt x="342304" y="199891"/>
                  </a:cubicBezTo>
                  <a:cubicBezTo>
                    <a:pt x="342304" y="179717"/>
                    <a:pt x="336275" y="161930"/>
                    <a:pt x="324457" y="146411"/>
                  </a:cubicBezTo>
                  <a:cubicBezTo>
                    <a:pt x="308879" y="126118"/>
                    <a:pt x="291570" y="114598"/>
                    <a:pt x="272411" y="111913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8C8EA84B-18B7-AF8B-4CC9-192ED3810275}"/>
                </a:ext>
              </a:extLst>
            </p:cNvPr>
            <p:cNvSpPr/>
            <p:nvPr/>
          </p:nvSpPr>
          <p:spPr>
            <a:xfrm>
              <a:off x="8049485" y="5594269"/>
              <a:ext cx="147905" cy="146652"/>
            </a:xfrm>
            <a:custGeom>
              <a:avLst/>
              <a:gdLst>
                <a:gd name="connsiteX0" fmla="*/ 84038 w 147905"/>
                <a:gd name="connsiteY0" fmla="*/ 44 h 146652"/>
                <a:gd name="connsiteX1" fmla="*/ 30022 w 147905"/>
                <a:gd name="connsiteY1" fmla="*/ 24814 h 146652"/>
                <a:gd name="connsiteX2" fmla="*/ 536 w 147905"/>
                <a:gd name="connsiteY2" fmla="*/ 76443 h 146652"/>
                <a:gd name="connsiteX3" fmla="*/ 16234 w 147905"/>
                <a:gd name="connsiteY3" fmla="*/ 125923 h 146652"/>
                <a:gd name="connsiteX4" fmla="*/ 63864 w 147905"/>
                <a:gd name="connsiteY4" fmla="*/ 146635 h 146652"/>
                <a:gd name="connsiteX5" fmla="*/ 118238 w 147905"/>
                <a:gd name="connsiteY5" fmla="*/ 122700 h 146652"/>
                <a:gd name="connsiteX6" fmla="*/ 147545 w 147905"/>
                <a:gd name="connsiteY6" fmla="*/ 70475 h 146652"/>
                <a:gd name="connsiteX7" fmla="*/ 130474 w 147905"/>
                <a:gd name="connsiteY7" fmla="*/ 19920 h 146652"/>
                <a:gd name="connsiteX8" fmla="*/ 84038 w 147905"/>
                <a:gd name="connsiteY8" fmla="*/ 44 h 146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7905" h="146652">
                  <a:moveTo>
                    <a:pt x="84038" y="44"/>
                  </a:moveTo>
                  <a:cubicBezTo>
                    <a:pt x="65595" y="701"/>
                    <a:pt x="47570" y="8997"/>
                    <a:pt x="30022" y="24814"/>
                  </a:cubicBezTo>
                  <a:cubicBezTo>
                    <a:pt x="12712" y="40392"/>
                    <a:pt x="2924" y="57642"/>
                    <a:pt x="536" y="76443"/>
                  </a:cubicBezTo>
                  <a:cubicBezTo>
                    <a:pt x="-1791" y="95244"/>
                    <a:pt x="3461" y="111778"/>
                    <a:pt x="16234" y="125923"/>
                  </a:cubicBezTo>
                  <a:cubicBezTo>
                    <a:pt x="29007" y="140129"/>
                    <a:pt x="44884" y="147052"/>
                    <a:pt x="63864" y="146635"/>
                  </a:cubicBezTo>
                  <a:cubicBezTo>
                    <a:pt x="82844" y="146277"/>
                    <a:pt x="100929" y="138279"/>
                    <a:pt x="118238" y="122700"/>
                  </a:cubicBezTo>
                  <a:cubicBezTo>
                    <a:pt x="135846" y="106824"/>
                    <a:pt x="145575" y="89455"/>
                    <a:pt x="147545" y="70475"/>
                  </a:cubicBezTo>
                  <a:cubicBezTo>
                    <a:pt x="149455" y="51494"/>
                    <a:pt x="143784" y="34663"/>
                    <a:pt x="130474" y="19920"/>
                  </a:cubicBezTo>
                  <a:cubicBezTo>
                    <a:pt x="117940" y="6013"/>
                    <a:pt x="102481" y="-612"/>
                    <a:pt x="84038" y="44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4ABF850E-EA0A-5EC2-3102-BD06006C04E1}"/>
                </a:ext>
              </a:extLst>
            </p:cNvPr>
            <p:cNvSpPr/>
            <p:nvPr/>
          </p:nvSpPr>
          <p:spPr>
            <a:xfrm rot="19078198">
              <a:off x="8224791" y="5694956"/>
              <a:ext cx="129520" cy="313414"/>
            </a:xfrm>
            <a:custGeom>
              <a:avLst/>
              <a:gdLst>
                <a:gd name="connsiteX0" fmla="*/ 0 w 129520"/>
                <a:gd name="connsiteY0" fmla="*/ 0 h 313414"/>
                <a:gd name="connsiteX1" fmla="*/ 129520 w 129520"/>
                <a:gd name="connsiteY1" fmla="*/ 0 h 313414"/>
                <a:gd name="connsiteX2" fmla="*/ 129520 w 129520"/>
                <a:gd name="connsiteY2" fmla="*/ 313415 h 313414"/>
                <a:gd name="connsiteX3" fmla="*/ 0 w 129520"/>
                <a:gd name="connsiteY3" fmla="*/ 313415 h 313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520" h="313414">
                  <a:moveTo>
                    <a:pt x="0" y="0"/>
                  </a:moveTo>
                  <a:lnTo>
                    <a:pt x="129520" y="0"/>
                  </a:lnTo>
                  <a:lnTo>
                    <a:pt x="129520" y="313415"/>
                  </a:lnTo>
                  <a:lnTo>
                    <a:pt x="0" y="313415"/>
                  </a:ln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866DCDBD-AB64-6E54-290F-D970CF5AD5BF}"/>
                </a:ext>
              </a:extLst>
            </p:cNvPr>
            <p:cNvSpPr/>
            <p:nvPr/>
          </p:nvSpPr>
          <p:spPr>
            <a:xfrm>
              <a:off x="8325286" y="5467894"/>
              <a:ext cx="349597" cy="352409"/>
            </a:xfrm>
            <a:custGeom>
              <a:avLst/>
              <a:gdLst>
                <a:gd name="connsiteX0" fmla="*/ 298503 w 349597"/>
                <a:gd name="connsiteY0" fmla="*/ 42738 h 352409"/>
                <a:gd name="connsiteX1" fmla="*/ 221149 w 349597"/>
                <a:gd name="connsiteY1" fmla="*/ 2688 h 352409"/>
                <a:gd name="connsiteX2" fmla="*/ 134902 w 349597"/>
                <a:gd name="connsiteY2" fmla="*/ 11045 h 352409"/>
                <a:gd name="connsiteX3" fmla="*/ 55698 w 349597"/>
                <a:gd name="connsiteY3" fmla="*/ 66135 h 352409"/>
                <a:gd name="connsiteX4" fmla="*/ 7113 w 349597"/>
                <a:gd name="connsiteY4" fmla="*/ 148861 h 352409"/>
                <a:gd name="connsiteX5" fmla="*/ 5143 w 349597"/>
                <a:gd name="connsiteY5" fmla="*/ 235705 h 352409"/>
                <a:gd name="connsiteX6" fmla="*/ 50744 w 349597"/>
                <a:gd name="connsiteY6" fmla="*/ 310015 h 352409"/>
                <a:gd name="connsiteX7" fmla="*/ 128277 w 349597"/>
                <a:gd name="connsiteY7" fmla="*/ 349826 h 352409"/>
                <a:gd name="connsiteX8" fmla="*/ 214942 w 349597"/>
                <a:gd name="connsiteY8" fmla="*/ 341470 h 352409"/>
                <a:gd name="connsiteX9" fmla="*/ 293967 w 349597"/>
                <a:gd name="connsiteY9" fmla="*/ 286976 h 352409"/>
                <a:gd name="connsiteX10" fmla="*/ 342731 w 349597"/>
                <a:gd name="connsiteY10" fmla="*/ 203653 h 352409"/>
                <a:gd name="connsiteX11" fmla="*/ 344283 w 349597"/>
                <a:gd name="connsiteY11" fmla="*/ 116809 h 352409"/>
                <a:gd name="connsiteX12" fmla="*/ 298503 w 349597"/>
                <a:gd name="connsiteY12" fmla="*/ 42738 h 352409"/>
                <a:gd name="connsiteX13" fmla="*/ 220015 w 349597"/>
                <a:gd name="connsiteY13" fmla="*/ 218456 h 352409"/>
                <a:gd name="connsiteX14" fmla="*/ 183129 w 349597"/>
                <a:gd name="connsiteY14" fmla="*/ 234273 h 352409"/>
                <a:gd name="connsiteX15" fmla="*/ 139975 w 349597"/>
                <a:gd name="connsiteY15" fmla="*/ 213800 h 352409"/>
                <a:gd name="connsiteX16" fmla="*/ 116519 w 349597"/>
                <a:gd name="connsiteY16" fmla="*/ 172497 h 352409"/>
                <a:gd name="connsiteX17" fmla="*/ 129709 w 349597"/>
                <a:gd name="connsiteY17" fmla="*/ 134715 h 352409"/>
                <a:gd name="connsiteX18" fmla="*/ 166417 w 349597"/>
                <a:gd name="connsiteY18" fmla="*/ 118719 h 352409"/>
                <a:gd name="connsiteX19" fmla="*/ 209331 w 349597"/>
                <a:gd name="connsiteY19" fmla="*/ 139013 h 352409"/>
                <a:gd name="connsiteX20" fmla="*/ 233027 w 349597"/>
                <a:gd name="connsiteY20" fmla="*/ 180495 h 352409"/>
                <a:gd name="connsiteX21" fmla="*/ 220075 w 349597"/>
                <a:gd name="connsiteY21" fmla="*/ 218516 h 352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49597" h="352409">
                  <a:moveTo>
                    <a:pt x="298503" y="42738"/>
                  </a:moveTo>
                  <a:cubicBezTo>
                    <a:pt x="275524" y="21430"/>
                    <a:pt x="249739" y="8120"/>
                    <a:pt x="221149" y="2688"/>
                  </a:cubicBezTo>
                  <a:cubicBezTo>
                    <a:pt x="192559" y="-2743"/>
                    <a:pt x="163790" y="62"/>
                    <a:pt x="134902" y="11045"/>
                  </a:cubicBezTo>
                  <a:cubicBezTo>
                    <a:pt x="106014" y="22027"/>
                    <a:pt x="79573" y="40351"/>
                    <a:pt x="55698" y="66135"/>
                  </a:cubicBezTo>
                  <a:cubicBezTo>
                    <a:pt x="32062" y="91622"/>
                    <a:pt x="15887" y="119197"/>
                    <a:pt x="7113" y="148861"/>
                  </a:cubicBezTo>
                  <a:cubicBezTo>
                    <a:pt x="-1661" y="178525"/>
                    <a:pt x="-2318" y="207473"/>
                    <a:pt x="5143" y="235705"/>
                  </a:cubicBezTo>
                  <a:cubicBezTo>
                    <a:pt x="12544" y="263937"/>
                    <a:pt x="27765" y="288707"/>
                    <a:pt x="50744" y="310015"/>
                  </a:cubicBezTo>
                  <a:cubicBezTo>
                    <a:pt x="73723" y="331323"/>
                    <a:pt x="99567" y="344574"/>
                    <a:pt x="128277" y="349826"/>
                  </a:cubicBezTo>
                  <a:cubicBezTo>
                    <a:pt x="156986" y="355079"/>
                    <a:pt x="185875" y="352333"/>
                    <a:pt x="214942" y="341470"/>
                  </a:cubicBezTo>
                  <a:cubicBezTo>
                    <a:pt x="244009" y="330667"/>
                    <a:pt x="270331" y="312462"/>
                    <a:pt x="293967" y="286976"/>
                  </a:cubicBezTo>
                  <a:cubicBezTo>
                    <a:pt x="317842" y="261191"/>
                    <a:pt x="334136" y="233437"/>
                    <a:pt x="342731" y="203653"/>
                  </a:cubicBezTo>
                  <a:cubicBezTo>
                    <a:pt x="351326" y="173870"/>
                    <a:pt x="351863" y="144922"/>
                    <a:pt x="344283" y="116809"/>
                  </a:cubicBezTo>
                  <a:cubicBezTo>
                    <a:pt x="336703" y="88697"/>
                    <a:pt x="321482" y="64046"/>
                    <a:pt x="298503" y="42738"/>
                  </a:cubicBezTo>
                  <a:close/>
                  <a:moveTo>
                    <a:pt x="220015" y="218456"/>
                  </a:moveTo>
                  <a:cubicBezTo>
                    <a:pt x="209868" y="229379"/>
                    <a:pt x="197573" y="234631"/>
                    <a:pt x="183129" y="234273"/>
                  </a:cubicBezTo>
                  <a:cubicBezTo>
                    <a:pt x="168625" y="233855"/>
                    <a:pt x="154300" y="227051"/>
                    <a:pt x="139975" y="213800"/>
                  </a:cubicBezTo>
                  <a:cubicBezTo>
                    <a:pt x="125710" y="200550"/>
                    <a:pt x="117891" y="186822"/>
                    <a:pt x="116519" y="172497"/>
                  </a:cubicBezTo>
                  <a:cubicBezTo>
                    <a:pt x="115146" y="158232"/>
                    <a:pt x="119563" y="145638"/>
                    <a:pt x="129709" y="134715"/>
                  </a:cubicBezTo>
                  <a:cubicBezTo>
                    <a:pt x="139856" y="123793"/>
                    <a:pt x="152092" y="118481"/>
                    <a:pt x="166417" y="118719"/>
                  </a:cubicBezTo>
                  <a:cubicBezTo>
                    <a:pt x="180742" y="119018"/>
                    <a:pt x="195066" y="125762"/>
                    <a:pt x="209331" y="139013"/>
                  </a:cubicBezTo>
                  <a:cubicBezTo>
                    <a:pt x="223597" y="152263"/>
                    <a:pt x="231475" y="166110"/>
                    <a:pt x="233027" y="180495"/>
                  </a:cubicBezTo>
                  <a:cubicBezTo>
                    <a:pt x="234519" y="194879"/>
                    <a:pt x="230222" y="207593"/>
                    <a:pt x="220075" y="218516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1" name="Forme libre : forme 60">
              <a:extLst>
                <a:ext uri="{FF2B5EF4-FFF2-40B4-BE49-F238E27FC236}">
                  <a16:creationId xmlns:a16="http://schemas.microsoft.com/office/drawing/2014/main" id="{631F6337-0621-09CA-AB61-B2033AF033CD}"/>
                </a:ext>
              </a:extLst>
            </p:cNvPr>
            <p:cNvSpPr/>
            <p:nvPr/>
          </p:nvSpPr>
          <p:spPr>
            <a:xfrm>
              <a:off x="8529485" y="5141977"/>
              <a:ext cx="456483" cy="419687"/>
            </a:xfrm>
            <a:custGeom>
              <a:avLst/>
              <a:gdLst>
                <a:gd name="connsiteX0" fmla="*/ 205441 w 456483"/>
                <a:gd name="connsiteY0" fmla="*/ 1284 h 419687"/>
                <a:gd name="connsiteX1" fmla="*/ 122656 w 456483"/>
                <a:gd name="connsiteY1" fmla="*/ 56375 h 419687"/>
                <a:gd name="connsiteX2" fmla="*/ 99617 w 456483"/>
                <a:gd name="connsiteY2" fmla="*/ 104064 h 419687"/>
                <a:gd name="connsiteX3" fmla="*/ 97170 w 456483"/>
                <a:gd name="connsiteY3" fmla="*/ 154559 h 419687"/>
                <a:gd name="connsiteX4" fmla="*/ 72042 w 456483"/>
                <a:gd name="connsiteY4" fmla="*/ 136474 h 419687"/>
                <a:gd name="connsiteX5" fmla="*/ 0 w 456483"/>
                <a:gd name="connsiteY5" fmla="*/ 236449 h 419687"/>
                <a:gd name="connsiteX6" fmla="*/ 254265 w 456483"/>
                <a:gd name="connsiteY6" fmla="*/ 419687 h 419687"/>
                <a:gd name="connsiteX7" fmla="*/ 329948 w 456483"/>
                <a:gd name="connsiteY7" fmla="*/ 314639 h 419687"/>
                <a:gd name="connsiteX8" fmla="*/ 210455 w 456483"/>
                <a:gd name="connsiteY8" fmla="*/ 228571 h 419687"/>
                <a:gd name="connsiteX9" fmla="*/ 179478 w 456483"/>
                <a:gd name="connsiteY9" fmla="*/ 189655 h 419687"/>
                <a:gd name="connsiteX10" fmla="*/ 187774 w 456483"/>
                <a:gd name="connsiteY10" fmla="*/ 152172 h 419687"/>
                <a:gd name="connsiteX11" fmla="*/ 253907 w 456483"/>
                <a:gd name="connsiteY11" fmla="*/ 152530 h 419687"/>
                <a:gd name="connsiteX12" fmla="*/ 380801 w 456483"/>
                <a:gd name="connsiteY12" fmla="*/ 243970 h 419687"/>
                <a:gd name="connsiteX13" fmla="*/ 456483 w 456483"/>
                <a:gd name="connsiteY13" fmla="*/ 138921 h 419687"/>
                <a:gd name="connsiteX14" fmla="*/ 311445 w 456483"/>
                <a:gd name="connsiteY14" fmla="*/ 34410 h 419687"/>
                <a:gd name="connsiteX15" fmla="*/ 205322 w 456483"/>
                <a:gd name="connsiteY15" fmla="*/ 1343 h 419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6483" h="419687">
                  <a:moveTo>
                    <a:pt x="205441" y="1284"/>
                  </a:moveTo>
                  <a:cubicBezTo>
                    <a:pt x="172793" y="6715"/>
                    <a:pt x="145217" y="25099"/>
                    <a:pt x="122656" y="56375"/>
                  </a:cubicBezTo>
                  <a:cubicBezTo>
                    <a:pt x="111733" y="71535"/>
                    <a:pt x="104034" y="87472"/>
                    <a:pt x="99617" y="104064"/>
                  </a:cubicBezTo>
                  <a:cubicBezTo>
                    <a:pt x="95200" y="120657"/>
                    <a:pt x="94365" y="137489"/>
                    <a:pt x="97170" y="154559"/>
                  </a:cubicBezTo>
                  <a:lnTo>
                    <a:pt x="72042" y="136474"/>
                  </a:lnTo>
                  <a:lnTo>
                    <a:pt x="0" y="236449"/>
                  </a:lnTo>
                  <a:lnTo>
                    <a:pt x="254265" y="419687"/>
                  </a:lnTo>
                  <a:lnTo>
                    <a:pt x="329948" y="314639"/>
                  </a:lnTo>
                  <a:lnTo>
                    <a:pt x="210455" y="228571"/>
                  </a:lnTo>
                  <a:cubicBezTo>
                    <a:pt x="192788" y="215857"/>
                    <a:pt x="182462" y="202905"/>
                    <a:pt x="179478" y="189655"/>
                  </a:cubicBezTo>
                  <a:cubicBezTo>
                    <a:pt x="176494" y="176464"/>
                    <a:pt x="179299" y="163990"/>
                    <a:pt x="187774" y="152172"/>
                  </a:cubicBezTo>
                  <a:cubicBezTo>
                    <a:pt x="202755" y="131401"/>
                    <a:pt x="224780" y="131520"/>
                    <a:pt x="253907" y="152530"/>
                  </a:cubicBezTo>
                  <a:lnTo>
                    <a:pt x="380801" y="243970"/>
                  </a:lnTo>
                  <a:lnTo>
                    <a:pt x="456483" y="138921"/>
                  </a:lnTo>
                  <a:lnTo>
                    <a:pt x="311445" y="34410"/>
                  </a:lnTo>
                  <a:cubicBezTo>
                    <a:pt x="273305" y="6954"/>
                    <a:pt x="237971" y="-4088"/>
                    <a:pt x="205322" y="1343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123CBD73-8F3D-06AE-0C55-7D7D95BAAD2A}"/>
                </a:ext>
              </a:extLst>
            </p:cNvPr>
            <p:cNvSpPr/>
            <p:nvPr/>
          </p:nvSpPr>
          <p:spPr>
            <a:xfrm>
              <a:off x="4629117" y="2026997"/>
              <a:ext cx="2931377" cy="2931377"/>
            </a:xfrm>
            <a:custGeom>
              <a:avLst/>
              <a:gdLst>
                <a:gd name="connsiteX0" fmla="*/ 2704844 w 2931377"/>
                <a:gd name="connsiteY0" fmla="*/ 226533 h 2931377"/>
                <a:gd name="connsiteX1" fmla="*/ 1611921 w 2931377"/>
                <a:gd name="connsiteY1" fmla="*/ 226533 h 2931377"/>
                <a:gd name="connsiteX2" fmla="*/ 226533 w 2931377"/>
                <a:gd name="connsiteY2" fmla="*/ 1611921 h 2931377"/>
                <a:gd name="connsiteX3" fmla="*/ 226533 w 2931377"/>
                <a:gd name="connsiteY3" fmla="*/ 2704844 h 2931377"/>
                <a:gd name="connsiteX4" fmla="*/ 1319456 w 2931377"/>
                <a:gd name="connsiteY4" fmla="*/ 2704844 h 2931377"/>
                <a:gd name="connsiteX5" fmla="*/ 1485743 w 2931377"/>
                <a:gd name="connsiteY5" fmla="*/ 2538557 h 2931377"/>
                <a:gd name="connsiteX6" fmla="*/ 2158352 w 2931377"/>
                <a:gd name="connsiteY6" fmla="*/ 2931176 h 2931377"/>
                <a:gd name="connsiteX7" fmla="*/ 2931176 w 2931377"/>
                <a:gd name="connsiteY7" fmla="*/ 2158353 h 2931377"/>
                <a:gd name="connsiteX8" fmla="*/ 2538557 w 2931377"/>
                <a:gd name="connsiteY8" fmla="*/ 1485744 h 2931377"/>
                <a:gd name="connsiteX9" fmla="*/ 2704844 w 2931377"/>
                <a:gd name="connsiteY9" fmla="*/ 1319456 h 2931377"/>
                <a:gd name="connsiteX10" fmla="*/ 2704844 w 2931377"/>
                <a:gd name="connsiteY10" fmla="*/ 226533 h 2931377"/>
                <a:gd name="connsiteX11" fmla="*/ 1385529 w 2931377"/>
                <a:gd name="connsiteY11" fmla="*/ 2158412 h 2931377"/>
                <a:gd name="connsiteX12" fmla="*/ 1414239 w 2931377"/>
                <a:gd name="connsiteY12" fmla="*/ 2367256 h 2931377"/>
                <a:gd name="connsiteX13" fmla="*/ 1198054 w 2931377"/>
                <a:gd name="connsiteY13" fmla="*/ 2583441 h 2931377"/>
                <a:gd name="connsiteX14" fmla="*/ 347996 w 2931377"/>
                <a:gd name="connsiteY14" fmla="*/ 2583441 h 2931377"/>
                <a:gd name="connsiteX15" fmla="*/ 347996 w 2931377"/>
                <a:gd name="connsiteY15" fmla="*/ 1733384 h 2931377"/>
                <a:gd name="connsiteX16" fmla="*/ 974706 w 2931377"/>
                <a:gd name="connsiteY16" fmla="*/ 1106673 h 2931377"/>
                <a:gd name="connsiteX17" fmla="*/ 1550145 w 2931377"/>
                <a:gd name="connsiteY17" fmla="*/ 1682113 h 2931377"/>
                <a:gd name="connsiteX18" fmla="*/ 1385529 w 2931377"/>
                <a:gd name="connsiteY18" fmla="*/ 2158412 h 2931377"/>
                <a:gd name="connsiteX19" fmla="*/ 2072523 w 2931377"/>
                <a:gd name="connsiteY19" fmla="*/ 2753310 h 2931377"/>
                <a:gd name="connsiteX20" fmla="*/ 1557308 w 2931377"/>
                <a:gd name="connsiteY20" fmla="*/ 2158353 h 2931377"/>
                <a:gd name="connsiteX21" fmla="*/ 2072523 w 2931377"/>
                <a:gd name="connsiteY21" fmla="*/ 1563396 h 2931377"/>
                <a:gd name="connsiteX22" fmla="*/ 2072523 w 2931377"/>
                <a:gd name="connsiteY22" fmla="*/ 2753250 h 2931377"/>
                <a:gd name="connsiteX23" fmla="*/ 2759457 w 2931377"/>
                <a:gd name="connsiteY23" fmla="*/ 2158412 h 2931377"/>
                <a:gd name="connsiteX24" fmla="*/ 2244242 w 2931377"/>
                <a:gd name="connsiteY24" fmla="*/ 2753310 h 2931377"/>
                <a:gd name="connsiteX25" fmla="*/ 2244242 w 2931377"/>
                <a:gd name="connsiteY25" fmla="*/ 1563455 h 2931377"/>
                <a:gd name="connsiteX26" fmla="*/ 2759457 w 2931377"/>
                <a:gd name="connsiteY26" fmla="*/ 2158412 h 2931377"/>
                <a:gd name="connsiteX27" fmla="*/ 2367196 w 2931377"/>
                <a:gd name="connsiteY27" fmla="*/ 1414239 h 2931377"/>
                <a:gd name="connsiteX28" fmla="*/ 2158352 w 2931377"/>
                <a:gd name="connsiteY28" fmla="*/ 1385529 h 2931377"/>
                <a:gd name="connsiteX29" fmla="*/ 1670414 w 2931377"/>
                <a:gd name="connsiteY29" fmla="*/ 1559516 h 2931377"/>
                <a:gd name="connsiteX30" fmla="*/ 1096109 w 2931377"/>
                <a:gd name="connsiteY30" fmla="*/ 985211 h 2931377"/>
                <a:gd name="connsiteX31" fmla="*/ 1733324 w 2931377"/>
                <a:gd name="connsiteY31" fmla="*/ 347996 h 2931377"/>
                <a:gd name="connsiteX32" fmla="*/ 2583381 w 2931377"/>
                <a:gd name="connsiteY32" fmla="*/ 347996 h 2931377"/>
                <a:gd name="connsiteX33" fmla="*/ 2583381 w 2931377"/>
                <a:gd name="connsiteY33" fmla="*/ 1198054 h 2931377"/>
                <a:gd name="connsiteX34" fmla="*/ 2367196 w 2931377"/>
                <a:gd name="connsiteY34" fmla="*/ 1414239 h 293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931377" h="2931377">
                  <a:moveTo>
                    <a:pt x="2704844" y="226533"/>
                  </a:moveTo>
                  <a:cubicBezTo>
                    <a:pt x="2402829" y="-75481"/>
                    <a:pt x="1913936" y="-75541"/>
                    <a:pt x="1611921" y="226533"/>
                  </a:cubicBezTo>
                  <a:cubicBezTo>
                    <a:pt x="1547459" y="290995"/>
                    <a:pt x="285026" y="1553428"/>
                    <a:pt x="226533" y="1611921"/>
                  </a:cubicBezTo>
                  <a:cubicBezTo>
                    <a:pt x="-75481" y="1913936"/>
                    <a:pt x="-75541" y="2402829"/>
                    <a:pt x="226533" y="2704844"/>
                  </a:cubicBezTo>
                  <a:cubicBezTo>
                    <a:pt x="528548" y="3006859"/>
                    <a:pt x="1017442" y="3006918"/>
                    <a:pt x="1319456" y="2704844"/>
                  </a:cubicBezTo>
                  <a:lnTo>
                    <a:pt x="1485743" y="2538557"/>
                  </a:lnTo>
                  <a:cubicBezTo>
                    <a:pt x="1618666" y="2772767"/>
                    <a:pt x="1870364" y="2931176"/>
                    <a:pt x="2158352" y="2931176"/>
                  </a:cubicBezTo>
                  <a:cubicBezTo>
                    <a:pt x="2584516" y="2931176"/>
                    <a:pt x="2931176" y="2584456"/>
                    <a:pt x="2931176" y="2158353"/>
                  </a:cubicBezTo>
                  <a:cubicBezTo>
                    <a:pt x="2931176" y="1870305"/>
                    <a:pt x="2772767" y="1618666"/>
                    <a:pt x="2538557" y="1485744"/>
                  </a:cubicBezTo>
                  <a:lnTo>
                    <a:pt x="2704844" y="1319456"/>
                  </a:lnTo>
                  <a:cubicBezTo>
                    <a:pt x="3006859" y="1017442"/>
                    <a:pt x="3006918" y="528548"/>
                    <a:pt x="2704844" y="226533"/>
                  </a:cubicBezTo>
                  <a:close/>
                  <a:moveTo>
                    <a:pt x="1385529" y="2158412"/>
                  </a:moveTo>
                  <a:cubicBezTo>
                    <a:pt x="1385529" y="2230752"/>
                    <a:pt x="1395557" y="2300765"/>
                    <a:pt x="1414239" y="2367256"/>
                  </a:cubicBezTo>
                  <a:lnTo>
                    <a:pt x="1198054" y="2583441"/>
                  </a:lnTo>
                  <a:cubicBezTo>
                    <a:pt x="963127" y="2818368"/>
                    <a:pt x="582923" y="2818368"/>
                    <a:pt x="347996" y="2583441"/>
                  </a:cubicBezTo>
                  <a:cubicBezTo>
                    <a:pt x="113069" y="2348515"/>
                    <a:pt x="113069" y="1968310"/>
                    <a:pt x="347996" y="1733384"/>
                  </a:cubicBezTo>
                  <a:lnTo>
                    <a:pt x="974706" y="1106673"/>
                  </a:lnTo>
                  <a:lnTo>
                    <a:pt x="1550145" y="1682113"/>
                  </a:lnTo>
                  <a:cubicBezTo>
                    <a:pt x="1447066" y="1813483"/>
                    <a:pt x="1385529" y="1978875"/>
                    <a:pt x="1385529" y="2158412"/>
                  </a:cubicBezTo>
                  <a:close/>
                  <a:moveTo>
                    <a:pt x="2072523" y="2753310"/>
                  </a:moveTo>
                  <a:cubicBezTo>
                    <a:pt x="1781610" y="2711529"/>
                    <a:pt x="1557308" y="2460666"/>
                    <a:pt x="1557308" y="2158353"/>
                  </a:cubicBezTo>
                  <a:cubicBezTo>
                    <a:pt x="1557308" y="1856040"/>
                    <a:pt x="1781610" y="1605236"/>
                    <a:pt x="2072523" y="1563396"/>
                  </a:cubicBezTo>
                  <a:lnTo>
                    <a:pt x="2072523" y="2753250"/>
                  </a:lnTo>
                  <a:close/>
                  <a:moveTo>
                    <a:pt x="2759457" y="2158412"/>
                  </a:moveTo>
                  <a:cubicBezTo>
                    <a:pt x="2759457" y="2460725"/>
                    <a:pt x="2535155" y="2711529"/>
                    <a:pt x="2244242" y="2753310"/>
                  </a:cubicBezTo>
                  <a:lnTo>
                    <a:pt x="2244242" y="1563455"/>
                  </a:lnTo>
                  <a:cubicBezTo>
                    <a:pt x="2535155" y="1605236"/>
                    <a:pt x="2759457" y="1856099"/>
                    <a:pt x="2759457" y="2158412"/>
                  </a:cubicBezTo>
                  <a:close/>
                  <a:moveTo>
                    <a:pt x="2367196" y="1414239"/>
                  </a:moveTo>
                  <a:cubicBezTo>
                    <a:pt x="2300765" y="1395557"/>
                    <a:pt x="2230693" y="1385529"/>
                    <a:pt x="2158352" y="1385529"/>
                  </a:cubicBezTo>
                  <a:cubicBezTo>
                    <a:pt x="1973503" y="1385529"/>
                    <a:pt x="1803575" y="1450827"/>
                    <a:pt x="1670414" y="1559516"/>
                  </a:cubicBezTo>
                  <a:lnTo>
                    <a:pt x="1096109" y="985211"/>
                  </a:lnTo>
                  <a:lnTo>
                    <a:pt x="1733324" y="347996"/>
                  </a:lnTo>
                  <a:cubicBezTo>
                    <a:pt x="1968250" y="113069"/>
                    <a:pt x="2348455" y="113069"/>
                    <a:pt x="2583381" y="347996"/>
                  </a:cubicBezTo>
                  <a:cubicBezTo>
                    <a:pt x="2818308" y="582923"/>
                    <a:pt x="2818308" y="963127"/>
                    <a:pt x="2583381" y="1198054"/>
                  </a:cubicBezTo>
                  <a:lnTo>
                    <a:pt x="2367196" y="1414239"/>
                  </a:lnTo>
                  <a:close/>
                </a:path>
              </a:pathLst>
            </a:custGeom>
            <a:solidFill>
              <a:srgbClr val="9097B3"/>
            </a:solidFill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C5A9442F-52B5-0863-6197-CBD4101AB61A}"/>
                </a:ext>
              </a:extLst>
            </p:cNvPr>
            <p:cNvSpPr/>
            <p:nvPr/>
          </p:nvSpPr>
          <p:spPr>
            <a:xfrm>
              <a:off x="3961184" y="1104955"/>
              <a:ext cx="4840513" cy="2652620"/>
            </a:xfrm>
            <a:custGeom>
              <a:avLst/>
              <a:gdLst>
                <a:gd name="connsiteX0" fmla="*/ 677565 w 4840513"/>
                <a:gd name="connsiteY0" fmla="*/ 556483 h 2652620"/>
                <a:gd name="connsiteX1" fmla="*/ 7283 w 4840513"/>
                <a:gd name="connsiteY1" fmla="*/ 1482105 h 2652620"/>
                <a:gd name="connsiteX2" fmla="*/ 60464 w 4840513"/>
                <a:gd name="connsiteY2" fmla="*/ 1609058 h 2652620"/>
                <a:gd name="connsiteX3" fmla="*/ 187418 w 4840513"/>
                <a:gd name="connsiteY3" fmla="*/ 1555877 h 2652620"/>
                <a:gd name="connsiteX4" fmla="*/ 1804390 w 4840513"/>
                <a:gd name="connsiteY4" fmla="*/ 230594 h 2652620"/>
                <a:gd name="connsiteX5" fmla="*/ 3811653 w 4840513"/>
                <a:gd name="connsiteY5" fmla="*/ 1031291 h 2652620"/>
                <a:gd name="connsiteX6" fmla="*/ 4250470 w 4840513"/>
                <a:gd name="connsiteY6" fmla="*/ 2343563 h 2652620"/>
                <a:gd name="connsiteX7" fmla="*/ 4016915 w 4840513"/>
                <a:gd name="connsiteY7" fmla="*/ 2132152 h 2652620"/>
                <a:gd name="connsiteX8" fmla="*/ 3879457 w 4840513"/>
                <a:gd name="connsiteY8" fmla="*/ 2139016 h 2652620"/>
                <a:gd name="connsiteX9" fmla="*/ 3886321 w 4840513"/>
                <a:gd name="connsiteY9" fmla="*/ 2276475 h 2652620"/>
                <a:gd name="connsiteX10" fmla="*/ 4274165 w 4840513"/>
                <a:gd name="connsiteY10" fmla="*/ 2627492 h 2652620"/>
                <a:gd name="connsiteX11" fmla="*/ 4276851 w 4840513"/>
                <a:gd name="connsiteY11" fmla="*/ 2629701 h 2652620"/>
                <a:gd name="connsiteX12" fmla="*/ 4279597 w 4840513"/>
                <a:gd name="connsiteY12" fmla="*/ 2631969 h 2652620"/>
                <a:gd name="connsiteX13" fmla="*/ 4284312 w 4840513"/>
                <a:gd name="connsiteY13" fmla="*/ 2635371 h 2652620"/>
                <a:gd name="connsiteX14" fmla="*/ 4287117 w 4840513"/>
                <a:gd name="connsiteY14" fmla="*/ 2637281 h 2652620"/>
                <a:gd name="connsiteX15" fmla="*/ 4292369 w 4840513"/>
                <a:gd name="connsiteY15" fmla="*/ 2640385 h 2652620"/>
                <a:gd name="connsiteX16" fmla="*/ 4295115 w 4840513"/>
                <a:gd name="connsiteY16" fmla="*/ 2641877 h 2652620"/>
                <a:gd name="connsiteX17" fmla="*/ 4300964 w 4840513"/>
                <a:gd name="connsiteY17" fmla="*/ 2644622 h 2652620"/>
                <a:gd name="connsiteX18" fmla="*/ 4303471 w 4840513"/>
                <a:gd name="connsiteY18" fmla="*/ 2645697 h 2652620"/>
                <a:gd name="connsiteX19" fmla="*/ 4310455 w 4840513"/>
                <a:gd name="connsiteY19" fmla="*/ 2648144 h 2652620"/>
                <a:gd name="connsiteX20" fmla="*/ 4312185 w 4840513"/>
                <a:gd name="connsiteY20" fmla="*/ 2648741 h 2652620"/>
                <a:gd name="connsiteX21" fmla="*/ 4339402 w 4840513"/>
                <a:gd name="connsiteY21" fmla="*/ 2652620 h 2652620"/>
                <a:gd name="connsiteX22" fmla="*/ 4348594 w 4840513"/>
                <a:gd name="connsiteY22" fmla="*/ 2652143 h 2652620"/>
                <a:gd name="connsiteX23" fmla="*/ 4349967 w 4840513"/>
                <a:gd name="connsiteY23" fmla="*/ 2651964 h 2652620"/>
                <a:gd name="connsiteX24" fmla="*/ 4357308 w 4840513"/>
                <a:gd name="connsiteY24" fmla="*/ 2650889 h 2652620"/>
                <a:gd name="connsiteX25" fmla="*/ 4359756 w 4840513"/>
                <a:gd name="connsiteY25" fmla="*/ 2650352 h 2652620"/>
                <a:gd name="connsiteX26" fmla="*/ 4365903 w 4840513"/>
                <a:gd name="connsiteY26" fmla="*/ 2648860 h 2652620"/>
                <a:gd name="connsiteX27" fmla="*/ 4368530 w 4840513"/>
                <a:gd name="connsiteY27" fmla="*/ 2648025 h 2652620"/>
                <a:gd name="connsiteX28" fmla="*/ 4374319 w 4840513"/>
                <a:gd name="connsiteY28" fmla="*/ 2646055 h 2652620"/>
                <a:gd name="connsiteX29" fmla="*/ 4376766 w 4840513"/>
                <a:gd name="connsiteY29" fmla="*/ 2645040 h 2652620"/>
                <a:gd name="connsiteX30" fmla="*/ 4382377 w 4840513"/>
                <a:gd name="connsiteY30" fmla="*/ 2642533 h 2652620"/>
                <a:gd name="connsiteX31" fmla="*/ 4384705 w 4840513"/>
                <a:gd name="connsiteY31" fmla="*/ 2641339 h 2652620"/>
                <a:gd name="connsiteX32" fmla="*/ 4390017 w 4840513"/>
                <a:gd name="connsiteY32" fmla="*/ 2638355 h 2652620"/>
                <a:gd name="connsiteX33" fmla="*/ 4392345 w 4840513"/>
                <a:gd name="connsiteY33" fmla="*/ 2636863 h 2652620"/>
                <a:gd name="connsiteX34" fmla="*/ 4397239 w 4840513"/>
                <a:gd name="connsiteY34" fmla="*/ 2633461 h 2652620"/>
                <a:gd name="connsiteX35" fmla="*/ 4399627 w 4840513"/>
                <a:gd name="connsiteY35" fmla="*/ 2631611 h 2652620"/>
                <a:gd name="connsiteX36" fmla="*/ 4402193 w 4840513"/>
                <a:gd name="connsiteY36" fmla="*/ 2629641 h 2652620"/>
                <a:gd name="connsiteX37" fmla="*/ 4805974 w 4840513"/>
                <a:gd name="connsiteY37" fmla="*/ 2288830 h 2652620"/>
                <a:gd name="connsiteX38" fmla="*/ 4817552 w 4840513"/>
                <a:gd name="connsiteY38" fmla="*/ 2151670 h 2652620"/>
                <a:gd name="connsiteX39" fmla="*/ 4680393 w 4840513"/>
                <a:gd name="connsiteY39" fmla="*/ 2140091 h 2652620"/>
                <a:gd name="connsiteX40" fmla="*/ 4444809 w 4840513"/>
                <a:gd name="connsiteY40" fmla="*/ 2338907 h 2652620"/>
                <a:gd name="connsiteX41" fmla="*/ 4359219 w 4840513"/>
                <a:gd name="connsiteY41" fmla="*/ 1720553 h 2652620"/>
                <a:gd name="connsiteX42" fmla="*/ 3968629 w 4840513"/>
                <a:gd name="connsiteY42" fmla="*/ 916096 h 2652620"/>
                <a:gd name="connsiteX43" fmla="*/ 2991856 w 4840513"/>
                <a:gd name="connsiteY43" fmla="*/ 156463 h 2652620"/>
                <a:gd name="connsiteX44" fmla="*/ 1767623 w 4840513"/>
                <a:gd name="connsiteY44" fmla="*/ 39298 h 2652620"/>
                <a:gd name="connsiteX45" fmla="*/ 677505 w 4840513"/>
                <a:gd name="connsiteY45" fmla="*/ 556304 h 2652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4840513" h="2652620">
                  <a:moveTo>
                    <a:pt x="677565" y="556483"/>
                  </a:moveTo>
                  <a:cubicBezTo>
                    <a:pt x="386174" y="802930"/>
                    <a:pt x="154411" y="1123030"/>
                    <a:pt x="7283" y="1482105"/>
                  </a:cubicBezTo>
                  <a:cubicBezTo>
                    <a:pt x="-13070" y="1531824"/>
                    <a:pt x="10685" y="1588705"/>
                    <a:pt x="60464" y="1609058"/>
                  </a:cubicBezTo>
                  <a:cubicBezTo>
                    <a:pt x="110183" y="1629411"/>
                    <a:pt x="167065" y="1605656"/>
                    <a:pt x="187418" y="1555877"/>
                  </a:cubicBezTo>
                  <a:cubicBezTo>
                    <a:pt x="474212" y="855872"/>
                    <a:pt x="1063558" y="372828"/>
                    <a:pt x="1804390" y="230594"/>
                  </a:cubicBezTo>
                  <a:cubicBezTo>
                    <a:pt x="2572438" y="83108"/>
                    <a:pt x="3341620" y="389958"/>
                    <a:pt x="3811653" y="1031291"/>
                  </a:cubicBezTo>
                  <a:cubicBezTo>
                    <a:pt x="4098209" y="1422239"/>
                    <a:pt x="4248082" y="1872336"/>
                    <a:pt x="4250470" y="2343563"/>
                  </a:cubicBezTo>
                  <a:lnTo>
                    <a:pt x="4016915" y="2132152"/>
                  </a:lnTo>
                  <a:cubicBezTo>
                    <a:pt x="3977045" y="2096102"/>
                    <a:pt x="3915508" y="2099146"/>
                    <a:pt x="3879457" y="2139016"/>
                  </a:cubicBezTo>
                  <a:cubicBezTo>
                    <a:pt x="3843406" y="2178887"/>
                    <a:pt x="3846450" y="2240424"/>
                    <a:pt x="3886321" y="2276475"/>
                  </a:cubicBezTo>
                  <a:lnTo>
                    <a:pt x="4274165" y="2627492"/>
                  </a:lnTo>
                  <a:cubicBezTo>
                    <a:pt x="4275060" y="2628268"/>
                    <a:pt x="4275956" y="2628985"/>
                    <a:pt x="4276851" y="2629701"/>
                  </a:cubicBezTo>
                  <a:cubicBezTo>
                    <a:pt x="4277746" y="2630477"/>
                    <a:pt x="4278701" y="2631252"/>
                    <a:pt x="4279597" y="2631969"/>
                  </a:cubicBezTo>
                  <a:cubicBezTo>
                    <a:pt x="4281148" y="2633162"/>
                    <a:pt x="4282700" y="2634296"/>
                    <a:pt x="4284312" y="2635371"/>
                  </a:cubicBezTo>
                  <a:cubicBezTo>
                    <a:pt x="4285267" y="2636028"/>
                    <a:pt x="4286162" y="2636684"/>
                    <a:pt x="4287117" y="2637281"/>
                  </a:cubicBezTo>
                  <a:cubicBezTo>
                    <a:pt x="4288848" y="2638355"/>
                    <a:pt x="4290579" y="2639370"/>
                    <a:pt x="4292369" y="2640385"/>
                  </a:cubicBezTo>
                  <a:cubicBezTo>
                    <a:pt x="4293265" y="2640862"/>
                    <a:pt x="4294220" y="2641399"/>
                    <a:pt x="4295115" y="2641877"/>
                  </a:cubicBezTo>
                  <a:cubicBezTo>
                    <a:pt x="4297025" y="2642891"/>
                    <a:pt x="4298995" y="2643727"/>
                    <a:pt x="4300964" y="2644622"/>
                  </a:cubicBezTo>
                  <a:cubicBezTo>
                    <a:pt x="4301800" y="2644981"/>
                    <a:pt x="4302636" y="2645398"/>
                    <a:pt x="4303471" y="2645697"/>
                  </a:cubicBezTo>
                  <a:cubicBezTo>
                    <a:pt x="4305799" y="2646592"/>
                    <a:pt x="4308127" y="2647428"/>
                    <a:pt x="4310455" y="2648144"/>
                  </a:cubicBezTo>
                  <a:cubicBezTo>
                    <a:pt x="4311051" y="2648323"/>
                    <a:pt x="4311589" y="2648562"/>
                    <a:pt x="4312185" y="2648741"/>
                  </a:cubicBezTo>
                  <a:cubicBezTo>
                    <a:pt x="4321079" y="2651307"/>
                    <a:pt x="4330211" y="2652620"/>
                    <a:pt x="4339402" y="2652620"/>
                  </a:cubicBezTo>
                  <a:cubicBezTo>
                    <a:pt x="4342447" y="2652620"/>
                    <a:pt x="4345550" y="2652441"/>
                    <a:pt x="4348594" y="2652143"/>
                  </a:cubicBezTo>
                  <a:cubicBezTo>
                    <a:pt x="4349072" y="2652143"/>
                    <a:pt x="4349490" y="2652024"/>
                    <a:pt x="4349967" y="2651964"/>
                  </a:cubicBezTo>
                  <a:cubicBezTo>
                    <a:pt x="4352414" y="2651725"/>
                    <a:pt x="4354861" y="2651367"/>
                    <a:pt x="4357308" y="2650889"/>
                  </a:cubicBezTo>
                  <a:cubicBezTo>
                    <a:pt x="4358144" y="2650710"/>
                    <a:pt x="4358920" y="2650531"/>
                    <a:pt x="4359756" y="2650352"/>
                  </a:cubicBezTo>
                  <a:cubicBezTo>
                    <a:pt x="4361785" y="2649934"/>
                    <a:pt x="4363874" y="2649457"/>
                    <a:pt x="4365903" y="2648860"/>
                  </a:cubicBezTo>
                  <a:cubicBezTo>
                    <a:pt x="4366799" y="2648621"/>
                    <a:pt x="4367635" y="2648323"/>
                    <a:pt x="4368530" y="2648025"/>
                  </a:cubicBezTo>
                  <a:cubicBezTo>
                    <a:pt x="4370499" y="2647428"/>
                    <a:pt x="4372409" y="2646771"/>
                    <a:pt x="4374319" y="2646055"/>
                  </a:cubicBezTo>
                  <a:cubicBezTo>
                    <a:pt x="4375155" y="2645756"/>
                    <a:pt x="4375990" y="2645398"/>
                    <a:pt x="4376766" y="2645040"/>
                  </a:cubicBezTo>
                  <a:cubicBezTo>
                    <a:pt x="4378676" y="2644264"/>
                    <a:pt x="4380527" y="2643429"/>
                    <a:pt x="4382377" y="2642533"/>
                  </a:cubicBezTo>
                  <a:cubicBezTo>
                    <a:pt x="4383153" y="2642115"/>
                    <a:pt x="4383929" y="2641757"/>
                    <a:pt x="4384705" y="2641339"/>
                  </a:cubicBezTo>
                  <a:cubicBezTo>
                    <a:pt x="4386495" y="2640385"/>
                    <a:pt x="4388286" y="2639370"/>
                    <a:pt x="4390017" y="2638355"/>
                  </a:cubicBezTo>
                  <a:cubicBezTo>
                    <a:pt x="4390793" y="2637878"/>
                    <a:pt x="4391569" y="2637400"/>
                    <a:pt x="4392345" y="2636863"/>
                  </a:cubicBezTo>
                  <a:cubicBezTo>
                    <a:pt x="4394016" y="2635789"/>
                    <a:pt x="4395628" y="2634654"/>
                    <a:pt x="4397239" y="2633461"/>
                  </a:cubicBezTo>
                  <a:cubicBezTo>
                    <a:pt x="4398075" y="2632864"/>
                    <a:pt x="4398851" y="2632208"/>
                    <a:pt x="4399627" y="2631611"/>
                  </a:cubicBezTo>
                  <a:cubicBezTo>
                    <a:pt x="4400462" y="2630954"/>
                    <a:pt x="4401357" y="2630357"/>
                    <a:pt x="4402193" y="2629641"/>
                  </a:cubicBezTo>
                  <a:lnTo>
                    <a:pt x="4805974" y="2288830"/>
                  </a:lnTo>
                  <a:cubicBezTo>
                    <a:pt x="4847038" y="2254152"/>
                    <a:pt x="4852231" y="2192734"/>
                    <a:pt x="4817552" y="2151670"/>
                  </a:cubicBezTo>
                  <a:cubicBezTo>
                    <a:pt x="4782874" y="2110605"/>
                    <a:pt x="4721457" y="2105413"/>
                    <a:pt x="4680393" y="2140091"/>
                  </a:cubicBezTo>
                  <a:lnTo>
                    <a:pt x="4444809" y="2338907"/>
                  </a:lnTo>
                  <a:cubicBezTo>
                    <a:pt x="4443138" y="2129825"/>
                    <a:pt x="4414548" y="1922652"/>
                    <a:pt x="4359219" y="1720553"/>
                  </a:cubicBezTo>
                  <a:cubicBezTo>
                    <a:pt x="4280372" y="1432803"/>
                    <a:pt x="4148942" y="1162124"/>
                    <a:pt x="3968629" y="916096"/>
                  </a:cubicBezTo>
                  <a:cubicBezTo>
                    <a:pt x="3718124" y="574330"/>
                    <a:pt x="3380417" y="311649"/>
                    <a:pt x="2991856" y="156463"/>
                  </a:cubicBezTo>
                  <a:cubicBezTo>
                    <a:pt x="2602222" y="860"/>
                    <a:pt x="2178864" y="-39667"/>
                    <a:pt x="1767623" y="39298"/>
                  </a:cubicBezTo>
                  <a:cubicBezTo>
                    <a:pt x="1356560" y="118204"/>
                    <a:pt x="989786" y="292191"/>
                    <a:pt x="677505" y="556304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82734773-F440-D226-F477-7CC2DB66E1E8}"/>
                </a:ext>
              </a:extLst>
            </p:cNvPr>
            <p:cNvSpPr/>
            <p:nvPr/>
          </p:nvSpPr>
          <p:spPr>
            <a:xfrm>
              <a:off x="3387913" y="3242456"/>
              <a:ext cx="4842645" cy="2637875"/>
            </a:xfrm>
            <a:custGeom>
              <a:avLst/>
              <a:gdLst>
                <a:gd name="connsiteX0" fmla="*/ 4111678 w 4842645"/>
                <a:gd name="connsiteY0" fmla="*/ 2121586 h 2637875"/>
                <a:gd name="connsiteX1" fmla="*/ 4835379 w 4842645"/>
                <a:gd name="connsiteY1" fmla="*/ 1150841 h 2637875"/>
                <a:gd name="connsiteX2" fmla="*/ 4782139 w 4842645"/>
                <a:gd name="connsiteY2" fmla="*/ 1023947 h 2637875"/>
                <a:gd name="connsiteX3" fmla="*/ 4655245 w 4842645"/>
                <a:gd name="connsiteY3" fmla="*/ 1077188 h 2637875"/>
                <a:gd name="connsiteX4" fmla="*/ 2896696 w 4842645"/>
                <a:gd name="connsiteY4" fmla="*/ 2426883 h 2637875"/>
                <a:gd name="connsiteX5" fmla="*/ 1131343 w 4842645"/>
                <a:gd name="connsiteY5" fmla="*/ 1732130 h 2637875"/>
                <a:gd name="connsiteX6" fmla="*/ 591954 w 4842645"/>
                <a:gd name="connsiteY6" fmla="*/ 310632 h 2637875"/>
                <a:gd name="connsiteX7" fmla="*/ 823598 w 4842645"/>
                <a:gd name="connsiteY7" fmla="*/ 520251 h 2637875"/>
                <a:gd name="connsiteX8" fmla="*/ 888896 w 4842645"/>
                <a:gd name="connsiteY8" fmla="*/ 545439 h 2637875"/>
                <a:gd name="connsiteX9" fmla="*/ 961057 w 4842645"/>
                <a:gd name="connsiteY9" fmla="*/ 513447 h 2637875"/>
                <a:gd name="connsiteX10" fmla="*/ 954193 w 4842645"/>
                <a:gd name="connsiteY10" fmla="*/ 375989 h 2637875"/>
                <a:gd name="connsiteX11" fmla="*/ 566349 w 4842645"/>
                <a:gd name="connsiteY11" fmla="*/ 24971 h 2637875"/>
                <a:gd name="connsiteX12" fmla="*/ 563245 w 4842645"/>
                <a:gd name="connsiteY12" fmla="*/ 22405 h 2637875"/>
                <a:gd name="connsiteX13" fmla="*/ 560679 w 4842645"/>
                <a:gd name="connsiteY13" fmla="*/ 20316 h 2637875"/>
                <a:gd name="connsiteX14" fmla="*/ 555605 w 4842645"/>
                <a:gd name="connsiteY14" fmla="*/ 16675 h 2637875"/>
                <a:gd name="connsiteX15" fmla="*/ 553218 w 4842645"/>
                <a:gd name="connsiteY15" fmla="*/ 15064 h 2637875"/>
                <a:gd name="connsiteX16" fmla="*/ 547189 w 4842645"/>
                <a:gd name="connsiteY16" fmla="*/ 11542 h 2637875"/>
                <a:gd name="connsiteX17" fmla="*/ 545279 w 4842645"/>
                <a:gd name="connsiteY17" fmla="*/ 10527 h 2637875"/>
                <a:gd name="connsiteX18" fmla="*/ 537162 w 4842645"/>
                <a:gd name="connsiteY18" fmla="*/ 6827 h 2637875"/>
                <a:gd name="connsiteX19" fmla="*/ 536983 w 4842645"/>
                <a:gd name="connsiteY19" fmla="*/ 6707 h 2637875"/>
                <a:gd name="connsiteX20" fmla="*/ 518480 w 4842645"/>
                <a:gd name="connsiteY20" fmla="*/ 1455 h 2637875"/>
                <a:gd name="connsiteX21" fmla="*/ 517943 w 4842645"/>
                <a:gd name="connsiteY21" fmla="*/ 1395 h 2637875"/>
                <a:gd name="connsiteX22" fmla="*/ 509050 w 4842645"/>
                <a:gd name="connsiteY22" fmla="*/ 261 h 2637875"/>
                <a:gd name="connsiteX23" fmla="*/ 508512 w 4842645"/>
                <a:gd name="connsiteY23" fmla="*/ 202 h 2637875"/>
                <a:gd name="connsiteX24" fmla="*/ 507558 w 4842645"/>
                <a:gd name="connsiteY24" fmla="*/ 202 h 2637875"/>
                <a:gd name="connsiteX25" fmla="*/ 499559 w 4842645"/>
                <a:gd name="connsiteY25" fmla="*/ 22 h 2637875"/>
                <a:gd name="connsiteX26" fmla="*/ 497470 w 4842645"/>
                <a:gd name="connsiteY26" fmla="*/ 22 h 2637875"/>
                <a:gd name="connsiteX27" fmla="*/ 490189 w 4842645"/>
                <a:gd name="connsiteY27" fmla="*/ 560 h 2637875"/>
                <a:gd name="connsiteX28" fmla="*/ 487921 w 4842645"/>
                <a:gd name="connsiteY28" fmla="*/ 798 h 2637875"/>
                <a:gd name="connsiteX29" fmla="*/ 480699 w 4842645"/>
                <a:gd name="connsiteY29" fmla="*/ 2052 h 2637875"/>
                <a:gd name="connsiteX30" fmla="*/ 478788 w 4842645"/>
                <a:gd name="connsiteY30" fmla="*/ 2469 h 2637875"/>
                <a:gd name="connsiteX31" fmla="*/ 470791 w 4842645"/>
                <a:gd name="connsiteY31" fmla="*/ 4738 h 2637875"/>
                <a:gd name="connsiteX32" fmla="*/ 470015 w 4842645"/>
                <a:gd name="connsiteY32" fmla="*/ 4977 h 2637875"/>
                <a:gd name="connsiteX33" fmla="*/ 438321 w 4842645"/>
                <a:gd name="connsiteY33" fmla="*/ 22823 h 2637875"/>
                <a:gd name="connsiteX34" fmla="*/ 34541 w 4842645"/>
                <a:gd name="connsiteY34" fmla="*/ 363634 h 2637875"/>
                <a:gd name="connsiteX35" fmla="*/ 22961 w 4842645"/>
                <a:gd name="connsiteY35" fmla="*/ 500794 h 2637875"/>
                <a:gd name="connsiteX36" fmla="*/ 160121 w 4842645"/>
                <a:gd name="connsiteY36" fmla="*/ 512373 h 2637875"/>
                <a:gd name="connsiteX37" fmla="*/ 397197 w 4842645"/>
                <a:gd name="connsiteY37" fmla="*/ 312243 h 2637875"/>
                <a:gd name="connsiteX38" fmla="*/ 508274 w 4842645"/>
                <a:gd name="connsiteY38" fmla="*/ 1001087 h 2637875"/>
                <a:gd name="connsiteX39" fmla="*/ 982544 w 4842645"/>
                <a:gd name="connsiteY39" fmla="*/ 1857711 h 2637875"/>
                <a:gd name="connsiteX40" fmla="*/ 1857372 w 4842645"/>
                <a:gd name="connsiteY40" fmla="*/ 2488122 h 2637875"/>
                <a:gd name="connsiteX41" fmla="*/ 2646669 w 4842645"/>
                <a:gd name="connsiteY41" fmla="*/ 2637876 h 2637875"/>
                <a:gd name="connsiteX42" fmla="*/ 2921884 w 4842645"/>
                <a:gd name="connsiteY42" fmla="*/ 2620089 h 2637875"/>
                <a:gd name="connsiteX43" fmla="*/ 3568947 w 4842645"/>
                <a:gd name="connsiteY43" fmla="*/ 2445326 h 2637875"/>
                <a:gd name="connsiteX44" fmla="*/ 4111798 w 4842645"/>
                <a:gd name="connsiteY44" fmla="*/ 2121765 h 2637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4842645" h="2637875">
                  <a:moveTo>
                    <a:pt x="4111678" y="2121586"/>
                  </a:moveTo>
                  <a:cubicBezTo>
                    <a:pt x="4428913" y="1868693"/>
                    <a:pt x="4679179" y="1533015"/>
                    <a:pt x="4835379" y="1150841"/>
                  </a:cubicBezTo>
                  <a:cubicBezTo>
                    <a:pt x="4855733" y="1101063"/>
                    <a:pt x="4831858" y="1044241"/>
                    <a:pt x="4782139" y="1023947"/>
                  </a:cubicBezTo>
                  <a:cubicBezTo>
                    <a:pt x="4732360" y="1003594"/>
                    <a:pt x="4675538" y="1027469"/>
                    <a:pt x="4655245" y="1077188"/>
                  </a:cubicBezTo>
                  <a:cubicBezTo>
                    <a:pt x="4352275" y="1818437"/>
                    <a:pt x="3694886" y="2322969"/>
                    <a:pt x="2896696" y="2426883"/>
                  </a:cubicBezTo>
                  <a:cubicBezTo>
                    <a:pt x="2230832" y="2513548"/>
                    <a:pt x="1570876" y="2253851"/>
                    <a:pt x="1131343" y="1732130"/>
                  </a:cubicBezTo>
                  <a:cubicBezTo>
                    <a:pt x="788085" y="1324649"/>
                    <a:pt x="600311" y="826385"/>
                    <a:pt x="591954" y="310632"/>
                  </a:cubicBezTo>
                  <a:lnTo>
                    <a:pt x="823598" y="520251"/>
                  </a:lnTo>
                  <a:cubicBezTo>
                    <a:pt x="842221" y="537083"/>
                    <a:pt x="865618" y="545439"/>
                    <a:pt x="888896" y="545439"/>
                  </a:cubicBezTo>
                  <a:cubicBezTo>
                    <a:pt x="915456" y="545439"/>
                    <a:pt x="941897" y="534636"/>
                    <a:pt x="961057" y="513447"/>
                  </a:cubicBezTo>
                  <a:cubicBezTo>
                    <a:pt x="997108" y="473577"/>
                    <a:pt x="994064" y="412040"/>
                    <a:pt x="954193" y="375989"/>
                  </a:cubicBezTo>
                  <a:lnTo>
                    <a:pt x="566349" y="24971"/>
                  </a:lnTo>
                  <a:cubicBezTo>
                    <a:pt x="565334" y="24076"/>
                    <a:pt x="564260" y="23241"/>
                    <a:pt x="563245" y="22405"/>
                  </a:cubicBezTo>
                  <a:cubicBezTo>
                    <a:pt x="562410" y="21689"/>
                    <a:pt x="561574" y="20972"/>
                    <a:pt x="560679" y="20316"/>
                  </a:cubicBezTo>
                  <a:cubicBezTo>
                    <a:pt x="559007" y="19062"/>
                    <a:pt x="557336" y="17869"/>
                    <a:pt x="555605" y="16675"/>
                  </a:cubicBezTo>
                  <a:cubicBezTo>
                    <a:pt x="554829" y="16138"/>
                    <a:pt x="554053" y="15541"/>
                    <a:pt x="553218" y="15064"/>
                  </a:cubicBezTo>
                  <a:cubicBezTo>
                    <a:pt x="551248" y="13810"/>
                    <a:pt x="549219" y="12676"/>
                    <a:pt x="547189" y="11542"/>
                  </a:cubicBezTo>
                  <a:cubicBezTo>
                    <a:pt x="546533" y="11184"/>
                    <a:pt x="545936" y="10826"/>
                    <a:pt x="545279" y="10527"/>
                  </a:cubicBezTo>
                  <a:cubicBezTo>
                    <a:pt x="542594" y="9155"/>
                    <a:pt x="539908" y="7961"/>
                    <a:pt x="537162" y="6827"/>
                  </a:cubicBezTo>
                  <a:cubicBezTo>
                    <a:pt x="537102" y="6827"/>
                    <a:pt x="537043" y="6767"/>
                    <a:pt x="536983" y="6707"/>
                  </a:cubicBezTo>
                  <a:cubicBezTo>
                    <a:pt x="530955" y="4320"/>
                    <a:pt x="524807" y="2589"/>
                    <a:pt x="518480" y="1455"/>
                  </a:cubicBezTo>
                  <a:cubicBezTo>
                    <a:pt x="518301" y="1455"/>
                    <a:pt x="518122" y="1455"/>
                    <a:pt x="517943" y="1395"/>
                  </a:cubicBezTo>
                  <a:cubicBezTo>
                    <a:pt x="514959" y="858"/>
                    <a:pt x="512034" y="500"/>
                    <a:pt x="509050" y="261"/>
                  </a:cubicBezTo>
                  <a:cubicBezTo>
                    <a:pt x="508871" y="261"/>
                    <a:pt x="508691" y="261"/>
                    <a:pt x="508512" y="202"/>
                  </a:cubicBezTo>
                  <a:cubicBezTo>
                    <a:pt x="508154" y="202"/>
                    <a:pt x="507856" y="202"/>
                    <a:pt x="507558" y="202"/>
                  </a:cubicBezTo>
                  <a:cubicBezTo>
                    <a:pt x="504872" y="22"/>
                    <a:pt x="502245" y="-37"/>
                    <a:pt x="499559" y="22"/>
                  </a:cubicBezTo>
                  <a:cubicBezTo>
                    <a:pt x="498843" y="22"/>
                    <a:pt x="498187" y="22"/>
                    <a:pt x="497470" y="22"/>
                  </a:cubicBezTo>
                  <a:cubicBezTo>
                    <a:pt x="495023" y="142"/>
                    <a:pt x="492576" y="321"/>
                    <a:pt x="490189" y="560"/>
                  </a:cubicBezTo>
                  <a:cubicBezTo>
                    <a:pt x="489413" y="619"/>
                    <a:pt x="488697" y="739"/>
                    <a:pt x="487921" y="798"/>
                  </a:cubicBezTo>
                  <a:cubicBezTo>
                    <a:pt x="485533" y="1097"/>
                    <a:pt x="483086" y="1574"/>
                    <a:pt x="480699" y="2052"/>
                  </a:cubicBezTo>
                  <a:cubicBezTo>
                    <a:pt x="480042" y="2171"/>
                    <a:pt x="479385" y="2291"/>
                    <a:pt x="478788" y="2469"/>
                  </a:cubicBezTo>
                  <a:cubicBezTo>
                    <a:pt x="476103" y="3126"/>
                    <a:pt x="473417" y="3842"/>
                    <a:pt x="470791" y="4738"/>
                  </a:cubicBezTo>
                  <a:cubicBezTo>
                    <a:pt x="470552" y="4797"/>
                    <a:pt x="470253" y="4857"/>
                    <a:pt x="470015" y="4977"/>
                  </a:cubicBezTo>
                  <a:cubicBezTo>
                    <a:pt x="458674" y="8796"/>
                    <a:pt x="447930" y="14705"/>
                    <a:pt x="438321" y="22823"/>
                  </a:cubicBezTo>
                  <a:lnTo>
                    <a:pt x="34541" y="363634"/>
                  </a:lnTo>
                  <a:cubicBezTo>
                    <a:pt x="-6524" y="398312"/>
                    <a:pt x="-11717" y="459729"/>
                    <a:pt x="22961" y="500794"/>
                  </a:cubicBezTo>
                  <a:cubicBezTo>
                    <a:pt x="57639" y="541858"/>
                    <a:pt x="119057" y="547051"/>
                    <a:pt x="160121" y="512373"/>
                  </a:cubicBezTo>
                  <a:lnTo>
                    <a:pt x="397197" y="312243"/>
                  </a:lnTo>
                  <a:cubicBezTo>
                    <a:pt x="400599" y="546156"/>
                    <a:pt x="437724" y="777024"/>
                    <a:pt x="508274" y="1001087"/>
                  </a:cubicBezTo>
                  <a:cubicBezTo>
                    <a:pt x="606220" y="1312115"/>
                    <a:pt x="765762" y="1600342"/>
                    <a:pt x="982544" y="1857711"/>
                  </a:cubicBezTo>
                  <a:cubicBezTo>
                    <a:pt x="1218187" y="2137462"/>
                    <a:pt x="1520739" y="2355438"/>
                    <a:pt x="1857372" y="2488122"/>
                  </a:cubicBezTo>
                  <a:cubicBezTo>
                    <a:pt x="2109071" y="2587321"/>
                    <a:pt x="2377601" y="2637876"/>
                    <a:pt x="2646669" y="2637876"/>
                  </a:cubicBezTo>
                  <a:cubicBezTo>
                    <a:pt x="2738586" y="2637876"/>
                    <a:pt x="2830563" y="2631967"/>
                    <a:pt x="2921884" y="2620089"/>
                  </a:cubicBezTo>
                  <a:cubicBezTo>
                    <a:pt x="3147917" y="2590663"/>
                    <a:pt x="3365594" y="2531872"/>
                    <a:pt x="3568947" y="2445326"/>
                  </a:cubicBezTo>
                  <a:cubicBezTo>
                    <a:pt x="3764003" y="2362302"/>
                    <a:pt x="3946645" y="2253433"/>
                    <a:pt x="4111798" y="2121765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3487F579-7BA7-6DA5-6209-FCAA493A2928}"/>
                </a:ext>
              </a:extLst>
            </p:cNvPr>
            <p:cNvSpPr/>
            <p:nvPr/>
          </p:nvSpPr>
          <p:spPr>
            <a:xfrm>
              <a:off x="3201601" y="1342711"/>
              <a:ext cx="464135" cy="474136"/>
            </a:xfrm>
            <a:custGeom>
              <a:avLst/>
              <a:gdLst>
                <a:gd name="connsiteX0" fmla="*/ 42508 w 464135"/>
                <a:gd name="connsiteY0" fmla="*/ 343795 h 474136"/>
                <a:gd name="connsiteX1" fmla="*/ 85960 w 464135"/>
                <a:gd name="connsiteY1" fmla="*/ 360269 h 474136"/>
                <a:gd name="connsiteX2" fmla="*/ 132874 w 464135"/>
                <a:gd name="connsiteY2" fmla="*/ 351137 h 474136"/>
                <a:gd name="connsiteX3" fmla="*/ 136157 w 464135"/>
                <a:gd name="connsiteY3" fmla="*/ 410764 h 474136"/>
                <a:gd name="connsiteX4" fmla="*/ 171074 w 464135"/>
                <a:gd name="connsiteY4" fmla="*/ 455648 h 474136"/>
                <a:gd name="connsiteX5" fmla="*/ 238042 w 464135"/>
                <a:gd name="connsiteY5" fmla="*/ 473733 h 474136"/>
                <a:gd name="connsiteX6" fmla="*/ 315336 w 464135"/>
                <a:gd name="connsiteY6" fmla="*/ 441144 h 474136"/>
                <a:gd name="connsiteX7" fmla="*/ 394779 w 464135"/>
                <a:gd name="connsiteY7" fmla="*/ 356688 h 474136"/>
                <a:gd name="connsiteX8" fmla="*/ 440559 w 464135"/>
                <a:gd name="connsiteY8" fmla="*/ 276051 h 474136"/>
                <a:gd name="connsiteX9" fmla="*/ 464135 w 464135"/>
                <a:gd name="connsiteY9" fmla="*/ 197921 h 474136"/>
                <a:gd name="connsiteX10" fmla="*/ 361355 w 464135"/>
                <a:gd name="connsiteY10" fmla="*/ 173330 h 474136"/>
                <a:gd name="connsiteX11" fmla="*/ 344284 w 464135"/>
                <a:gd name="connsiteY11" fmla="*/ 235404 h 474136"/>
                <a:gd name="connsiteX12" fmla="*/ 313665 w 464135"/>
                <a:gd name="connsiteY12" fmla="*/ 292763 h 474136"/>
                <a:gd name="connsiteX13" fmla="*/ 242638 w 464135"/>
                <a:gd name="connsiteY13" fmla="*/ 339259 h 474136"/>
                <a:gd name="connsiteX14" fmla="*/ 232551 w 464135"/>
                <a:gd name="connsiteY14" fmla="*/ 318369 h 474136"/>
                <a:gd name="connsiteX15" fmla="*/ 246159 w 464135"/>
                <a:gd name="connsiteY15" fmla="*/ 286914 h 474136"/>
                <a:gd name="connsiteX16" fmla="*/ 319574 w 464135"/>
                <a:gd name="connsiteY16" fmla="*/ 183716 h 474136"/>
                <a:gd name="connsiteX17" fmla="*/ 238340 w 464135"/>
                <a:gd name="connsiteY17" fmla="*/ 125939 h 474136"/>
                <a:gd name="connsiteX18" fmla="*/ 170238 w 464135"/>
                <a:gd name="connsiteY18" fmla="*/ 221676 h 474136"/>
                <a:gd name="connsiteX19" fmla="*/ 148512 w 464135"/>
                <a:gd name="connsiteY19" fmla="*/ 241373 h 474136"/>
                <a:gd name="connsiteX20" fmla="*/ 128577 w 464135"/>
                <a:gd name="connsiteY20" fmla="*/ 237732 h 474136"/>
                <a:gd name="connsiteX21" fmla="*/ 120519 w 464135"/>
                <a:gd name="connsiteY21" fmla="*/ 210515 h 474136"/>
                <a:gd name="connsiteX22" fmla="*/ 144692 w 464135"/>
                <a:gd name="connsiteY22" fmla="*/ 162646 h 474136"/>
                <a:gd name="connsiteX23" fmla="*/ 225209 w 464135"/>
                <a:gd name="connsiteY23" fmla="*/ 87023 h 474136"/>
                <a:gd name="connsiteX24" fmla="*/ 166179 w 464135"/>
                <a:gd name="connsiteY24" fmla="*/ 0 h 474136"/>
                <a:gd name="connsiteX25" fmla="*/ 109835 w 464135"/>
                <a:gd name="connsiteY25" fmla="*/ 46078 h 474136"/>
                <a:gd name="connsiteX26" fmla="*/ 57669 w 464135"/>
                <a:gd name="connsiteY26" fmla="*/ 107078 h 474136"/>
                <a:gd name="connsiteX27" fmla="*/ 6756 w 464135"/>
                <a:gd name="connsiteY27" fmla="*/ 208306 h 474136"/>
                <a:gd name="connsiteX28" fmla="*/ 4667 w 464135"/>
                <a:gd name="connsiteY28" fmla="*/ 289779 h 474136"/>
                <a:gd name="connsiteX29" fmla="*/ 42568 w 464135"/>
                <a:gd name="connsiteY29" fmla="*/ 343795 h 474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64135" h="474136">
                  <a:moveTo>
                    <a:pt x="42508" y="343795"/>
                  </a:moveTo>
                  <a:cubicBezTo>
                    <a:pt x="55878" y="353345"/>
                    <a:pt x="70382" y="358836"/>
                    <a:pt x="85960" y="360269"/>
                  </a:cubicBezTo>
                  <a:cubicBezTo>
                    <a:pt x="101539" y="361761"/>
                    <a:pt x="117176" y="358717"/>
                    <a:pt x="132874" y="351137"/>
                  </a:cubicBezTo>
                  <a:cubicBezTo>
                    <a:pt x="128278" y="372743"/>
                    <a:pt x="129412" y="392619"/>
                    <a:pt x="136157" y="410764"/>
                  </a:cubicBezTo>
                  <a:cubicBezTo>
                    <a:pt x="142901" y="428909"/>
                    <a:pt x="154540" y="443890"/>
                    <a:pt x="171074" y="455648"/>
                  </a:cubicBezTo>
                  <a:cubicBezTo>
                    <a:pt x="191009" y="469794"/>
                    <a:pt x="213332" y="475822"/>
                    <a:pt x="238042" y="473733"/>
                  </a:cubicBezTo>
                  <a:cubicBezTo>
                    <a:pt x="262752" y="471644"/>
                    <a:pt x="288537" y="460781"/>
                    <a:pt x="315336" y="441144"/>
                  </a:cubicBezTo>
                  <a:cubicBezTo>
                    <a:pt x="342136" y="421567"/>
                    <a:pt x="368637" y="393395"/>
                    <a:pt x="394779" y="356688"/>
                  </a:cubicBezTo>
                  <a:cubicBezTo>
                    <a:pt x="412924" y="331142"/>
                    <a:pt x="428204" y="304283"/>
                    <a:pt x="440559" y="276051"/>
                  </a:cubicBezTo>
                  <a:cubicBezTo>
                    <a:pt x="452914" y="247819"/>
                    <a:pt x="460793" y="221736"/>
                    <a:pt x="464135" y="197921"/>
                  </a:cubicBezTo>
                  <a:lnTo>
                    <a:pt x="361355" y="173330"/>
                  </a:lnTo>
                  <a:cubicBezTo>
                    <a:pt x="358609" y="192967"/>
                    <a:pt x="352939" y="213678"/>
                    <a:pt x="344284" y="235404"/>
                  </a:cubicBezTo>
                  <a:cubicBezTo>
                    <a:pt x="335630" y="257130"/>
                    <a:pt x="325423" y="276230"/>
                    <a:pt x="313665" y="292763"/>
                  </a:cubicBezTo>
                  <a:cubicBezTo>
                    <a:pt x="283106" y="335738"/>
                    <a:pt x="259410" y="351196"/>
                    <a:pt x="242638" y="339259"/>
                  </a:cubicBezTo>
                  <a:cubicBezTo>
                    <a:pt x="235476" y="334186"/>
                    <a:pt x="232133" y="327202"/>
                    <a:pt x="232551" y="318369"/>
                  </a:cubicBezTo>
                  <a:cubicBezTo>
                    <a:pt x="232969" y="309535"/>
                    <a:pt x="237505" y="299030"/>
                    <a:pt x="246159" y="286914"/>
                  </a:cubicBezTo>
                  <a:lnTo>
                    <a:pt x="319574" y="183716"/>
                  </a:lnTo>
                  <a:lnTo>
                    <a:pt x="238340" y="125939"/>
                  </a:lnTo>
                  <a:lnTo>
                    <a:pt x="170238" y="221676"/>
                  </a:lnTo>
                  <a:cubicBezTo>
                    <a:pt x="162479" y="232599"/>
                    <a:pt x="155257" y="239165"/>
                    <a:pt x="148512" y="241373"/>
                  </a:cubicBezTo>
                  <a:cubicBezTo>
                    <a:pt x="141767" y="243581"/>
                    <a:pt x="135142" y="242388"/>
                    <a:pt x="128577" y="237732"/>
                  </a:cubicBezTo>
                  <a:cubicBezTo>
                    <a:pt x="120817" y="232181"/>
                    <a:pt x="118132" y="223169"/>
                    <a:pt x="120519" y="210515"/>
                  </a:cubicBezTo>
                  <a:cubicBezTo>
                    <a:pt x="122906" y="197921"/>
                    <a:pt x="130964" y="181985"/>
                    <a:pt x="144692" y="162646"/>
                  </a:cubicBezTo>
                  <a:cubicBezTo>
                    <a:pt x="165702" y="133101"/>
                    <a:pt x="192561" y="107854"/>
                    <a:pt x="225209" y="87023"/>
                  </a:cubicBezTo>
                  <a:lnTo>
                    <a:pt x="166179" y="0"/>
                  </a:lnTo>
                  <a:cubicBezTo>
                    <a:pt x="147676" y="12176"/>
                    <a:pt x="128935" y="27516"/>
                    <a:pt x="109835" y="46078"/>
                  </a:cubicBezTo>
                  <a:cubicBezTo>
                    <a:pt x="90795" y="64641"/>
                    <a:pt x="73366" y="84994"/>
                    <a:pt x="57669" y="107078"/>
                  </a:cubicBezTo>
                  <a:cubicBezTo>
                    <a:pt x="32004" y="143188"/>
                    <a:pt x="14993" y="176911"/>
                    <a:pt x="6756" y="208306"/>
                  </a:cubicBezTo>
                  <a:cubicBezTo>
                    <a:pt x="-1481" y="239702"/>
                    <a:pt x="-2197" y="266859"/>
                    <a:pt x="4667" y="289779"/>
                  </a:cubicBezTo>
                  <a:cubicBezTo>
                    <a:pt x="11531" y="312699"/>
                    <a:pt x="24185" y="330724"/>
                    <a:pt x="42568" y="343795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611577DF-6064-DAE6-57BF-382F9790D732}"/>
                </a:ext>
              </a:extLst>
            </p:cNvPr>
            <p:cNvSpPr/>
            <p:nvPr/>
          </p:nvSpPr>
          <p:spPr>
            <a:xfrm>
              <a:off x="3470501" y="1119741"/>
              <a:ext cx="464959" cy="421308"/>
            </a:xfrm>
            <a:custGeom>
              <a:avLst/>
              <a:gdLst>
                <a:gd name="connsiteX0" fmla="*/ 318309 w 464959"/>
                <a:gd name="connsiteY0" fmla="*/ 326109 h 421308"/>
                <a:gd name="connsiteX1" fmla="*/ 209978 w 464959"/>
                <a:gd name="connsiteY1" fmla="*/ 226313 h 421308"/>
                <a:gd name="connsiteX2" fmla="*/ 183895 w 464959"/>
                <a:gd name="connsiteY2" fmla="*/ 183995 h 421308"/>
                <a:gd name="connsiteX3" fmla="*/ 196608 w 464959"/>
                <a:gd name="connsiteY3" fmla="*/ 147765 h 421308"/>
                <a:gd name="connsiteX4" fmla="*/ 262204 w 464959"/>
                <a:gd name="connsiteY4" fmla="*/ 156002 h 421308"/>
                <a:gd name="connsiteX5" fmla="*/ 377220 w 464959"/>
                <a:gd name="connsiteY5" fmla="*/ 262005 h 421308"/>
                <a:gd name="connsiteX6" fmla="*/ 464959 w 464959"/>
                <a:gd name="connsiteY6" fmla="*/ 166745 h 421308"/>
                <a:gd name="connsiteX7" fmla="*/ 333470 w 464959"/>
                <a:gd name="connsiteY7" fmla="*/ 45641 h 421308"/>
                <a:gd name="connsiteX8" fmla="*/ 232062 w 464959"/>
                <a:gd name="connsiteY8" fmla="*/ 100 h 421308"/>
                <a:gd name="connsiteX9" fmla="*/ 143248 w 464959"/>
                <a:gd name="connsiteY9" fmla="*/ 44865 h 421308"/>
                <a:gd name="connsiteX10" fmla="*/ 114658 w 464959"/>
                <a:gd name="connsiteY10" fmla="*/ 89451 h 421308"/>
                <a:gd name="connsiteX11" fmla="*/ 106183 w 464959"/>
                <a:gd name="connsiteY11" fmla="*/ 139289 h 421308"/>
                <a:gd name="connsiteX12" fmla="*/ 83442 w 464959"/>
                <a:gd name="connsiteY12" fmla="*/ 118339 h 421308"/>
                <a:gd name="connsiteX13" fmla="*/ 0 w 464959"/>
                <a:gd name="connsiteY13" fmla="*/ 208944 h 421308"/>
                <a:gd name="connsiteX14" fmla="*/ 230510 w 464959"/>
                <a:gd name="connsiteY14" fmla="*/ 421309 h 421308"/>
                <a:gd name="connsiteX15" fmla="*/ 318249 w 464959"/>
                <a:gd name="connsiteY15" fmla="*/ 326049 h 421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64959" h="421308">
                  <a:moveTo>
                    <a:pt x="318309" y="326109"/>
                  </a:moveTo>
                  <a:lnTo>
                    <a:pt x="209978" y="226313"/>
                  </a:lnTo>
                  <a:cubicBezTo>
                    <a:pt x="193982" y="211570"/>
                    <a:pt x="185267" y="197484"/>
                    <a:pt x="183895" y="183995"/>
                  </a:cubicBezTo>
                  <a:cubicBezTo>
                    <a:pt x="182522" y="170565"/>
                    <a:pt x="186760" y="158449"/>
                    <a:pt x="196608" y="147765"/>
                  </a:cubicBezTo>
                  <a:cubicBezTo>
                    <a:pt x="213917" y="128964"/>
                    <a:pt x="235822" y="131709"/>
                    <a:pt x="262204" y="156002"/>
                  </a:cubicBezTo>
                  <a:lnTo>
                    <a:pt x="377220" y="262005"/>
                  </a:lnTo>
                  <a:lnTo>
                    <a:pt x="464959" y="166745"/>
                  </a:lnTo>
                  <a:lnTo>
                    <a:pt x="333470" y="45641"/>
                  </a:lnTo>
                  <a:cubicBezTo>
                    <a:pt x="298911" y="13828"/>
                    <a:pt x="265128" y="-1392"/>
                    <a:pt x="232062" y="100"/>
                  </a:cubicBezTo>
                  <a:cubicBezTo>
                    <a:pt x="198995" y="1592"/>
                    <a:pt x="169391" y="16514"/>
                    <a:pt x="143248" y="44865"/>
                  </a:cubicBezTo>
                  <a:cubicBezTo>
                    <a:pt x="130535" y="58653"/>
                    <a:pt x="121045" y="73515"/>
                    <a:pt x="114658" y="89451"/>
                  </a:cubicBezTo>
                  <a:cubicBezTo>
                    <a:pt x="108272" y="105387"/>
                    <a:pt x="105466" y="121980"/>
                    <a:pt x="106183" y="139289"/>
                  </a:cubicBezTo>
                  <a:lnTo>
                    <a:pt x="83442" y="118339"/>
                  </a:lnTo>
                  <a:lnTo>
                    <a:pt x="0" y="208944"/>
                  </a:lnTo>
                  <a:lnTo>
                    <a:pt x="230510" y="421309"/>
                  </a:lnTo>
                  <a:lnTo>
                    <a:pt x="318249" y="326049"/>
                  </a:ln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0AB39817-F65A-366D-47E7-060DD94676E5}"/>
                </a:ext>
              </a:extLst>
            </p:cNvPr>
            <p:cNvSpPr/>
            <p:nvPr/>
          </p:nvSpPr>
          <p:spPr>
            <a:xfrm>
              <a:off x="3716231" y="884317"/>
              <a:ext cx="409391" cy="330427"/>
            </a:xfrm>
            <a:custGeom>
              <a:avLst/>
              <a:gdLst>
                <a:gd name="connsiteX0" fmla="*/ 263696 w 409391"/>
                <a:gd name="connsiteY0" fmla="*/ 330426 h 330427"/>
                <a:gd name="connsiteX1" fmla="*/ 360746 w 409391"/>
                <a:gd name="connsiteY1" fmla="*/ 287093 h 330427"/>
                <a:gd name="connsiteX2" fmla="*/ 409391 w 409391"/>
                <a:gd name="connsiteY2" fmla="*/ 221915 h 330427"/>
                <a:gd name="connsiteX3" fmla="*/ 326606 w 409391"/>
                <a:gd name="connsiteY3" fmla="*/ 175001 h 330427"/>
                <a:gd name="connsiteX4" fmla="*/ 310431 w 409391"/>
                <a:gd name="connsiteY4" fmla="*/ 200786 h 330427"/>
                <a:gd name="connsiteX5" fmla="*/ 290495 w 409391"/>
                <a:gd name="connsiteY5" fmla="*/ 207650 h 330427"/>
                <a:gd name="connsiteX6" fmla="*/ 270082 w 409391"/>
                <a:gd name="connsiteY6" fmla="*/ 195832 h 330427"/>
                <a:gd name="connsiteX7" fmla="*/ 217737 w 409391"/>
                <a:gd name="connsiteY7" fmla="*/ 136563 h 330427"/>
                <a:gd name="connsiteX8" fmla="*/ 265845 w 409391"/>
                <a:gd name="connsiteY8" fmla="*/ 94066 h 330427"/>
                <a:gd name="connsiteX9" fmla="*/ 203233 w 409391"/>
                <a:gd name="connsiteY9" fmla="*/ 23218 h 330427"/>
                <a:gd name="connsiteX10" fmla="*/ 155126 w 409391"/>
                <a:gd name="connsiteY10" fmla="*/ 65715 h 330427"/>
                <a:gd name="connsiteX11" fmla="*/ 97051 w 409391"/>
                <a:gd name="connsiteY11" fmla="*/ 0 h 330427"/>
                <a:gd name="connsiteX12" fmla="*/ 0 w 409391"/>
                <a:gd name="connsiteY12" fmla="*/ 85770 h 330427"/>
                <a:gd name="connsiteX13" fmla="*/ 173808 w 409391"/>
                <a:gd name="connsiteY13" fmla="*/ 282378 h 330427"/>
                <a:gd name="connsiteX14" fmla="*/ 263576 w 409391"/>
                <a:gd name="connsiteY14" fmla="*/ 330306 h 330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09391" h="330427">
                  <a:moveTo>
                    <a:pt x="263696" y="330426"/>
                  </a:moveTo>
                  <a:cubicBezTo>
                    <a:pt x="295509" y="330605"/>
                    <a:pt x="327859" y="316160"/>
                    <a:pt x="360746" y="287093"/>
                  </a:cubicBezTo>
                  <a:cubicBezTo>
                    <a:pt x="385934" y="264830"/>
                    <a:pt x="402169" y="243104"/>
                    <a:pt x="409391" y="221915"/>
                  </a:cubicBezTo>
                  <a:lnTo>
                    <a:pt x="326606" y="175001"/>
                  </a:lnTo>
                  <a:cubicBezTo>
                    <a:pt x="324099" y="184850"/>
                    <a:pt x="318727" y="193445"/>
                    <a:pt x="310431" y="200786"/>
                  </a:cubicBezTo>
                  <a:cubicBezTo>
                    <a:pt x="304402" y="206098"/>
                    <a:pt x="297777" y="208426"/>
                    <a:pt x="290495" y="207650"/>
                  </a:cubicBezTo>
                  <a:cubicBezTo>
                    <a:pt x="283213" y="206934"/>
                    <a:pt x="276469" y="202994"/>
                    <a:pt x="270082" y="195832"/>
                  </a:cubicBezTo>
                  <a:lnTo>
                    <a:pt x="217737" y="136563"/>
                  </a:lnTo>
                  <a:lnTo>
                    <a:pt x="265845" y="94066"/>
                  </a:lnTo>
                  <a:lnTo>
                    <a:pt x="203233" y="23218"/>
                  </a:lnTo>
                  <a:lnTo>
                    <a:pt x="155126" y="65715"/>
                  </a:lnTo>
                  <a:lnTo>
                    <a:pt x="97051" y="0"/>
                  </a:lnTo>
                  <a:lnTo>
                    <a:pt x="0" y="85770"/>
                  </a:lnTo>
                  <a:lnTo>
                    <a:pt x="173808" y="282378"/>
                  </a:lnTo>
                  <a:cubicBezTo>
                    <a:pt x="201920" y="314131"/>
                    <a:pt x="231823" y="330127"/>
                    <a:pt x="263576" y="330306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7D531B0E-0A42-2398-9782-920D280BB56B}"/>
                </a:ext>
              </a:extLst>
            </p:cNvPr>
            <p:cNvSpPr/>
            <p:nvPr/>
          </p:nvSpPr>
          <p:spPr>
            <a:xfrm>
              <a:off x="3964767" y="709018"/>
              <a:ext cx="291629" cy="390052"/>
            </a:xfrm>
            <a:custGeom>
              <a:avLst/>
              <a:gdLst>
                <a:gd name="connsiteX0" fmla="*/ 291629 w 291629"/>
                <a:gd name="connsiteY0" fmla="*/ 312340 h 390052"/>
                <a:gd name="connsiteX1" fmla="*/ 208128 w 291629"/>
                <a:gd name="connsiteY1" fmla="*/ 200965 h 390052"/>
                <a:gd name="connsiteX2" fmla="*/ 220721 w 291629"/>
                <a:gd name="connsiteY2" fmla="*/ 107018 h 390052"/>
                <a:gd name="connsiteX3" fmla="*/ 245014 w 291629"/>
                <a:gd name="connsiteY3" fmla="*/ 91679 h 390052"/>
                <a:gd name="connsiteX4" fmla="*/ 176255 w 291629"/>
                <a:gd name="connsiteY4" fmla="*/ 0 h 390052"/>
                <a:gd name="connsiteX5" fmla="*/ 118836 w 291629"/>
                <a:gd name="connsiteY5" fmla="*/ 92455 h 390052"/>
                <a:gd name="connsiteX6" fmla="*/ 98543 w 291629"/>
                <a:gd name="connsiteY6" fmla="*/ 65417 h 390052"/>
                <a:gd name="connsiteX7" fmla="*/ 0 w 291629"/>
                <a:gd name="connsiteY7" fmla="*/ 139309 h 390052"/>
                <a:gd name="connsiteX8" fmla="*/ 188013 w 291629"/>
                <a:gd name="connsiteY8" fmla="*/ 390052 h 390052"/>
                <a:gd name="connsiteX9" fmla="*/ 291629 w 291629"/>
                <a:gd name="connsiteY9" fmla="*/ 312340 h 390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1629" h="390052">
                  <a:moveTo>
                    <a:pt x="291629" y="312340"/>
                  </a:moveTo>
                  <a:lnTo>
                    <a:pt x="208128" y="200965"/>
                  </a:lnTo>
                  <a:cubicBezTo>
                    <a:pt x="181089" y="164914"/>
                    <a:pt x="185268" y="133579"/>
                    <a:pt x="220721" y="107018"/>
                  </a:cubicBezTo>
                  <a:cubicBezTo>
                    <a:pt x="227764" y="101766"/>
                    <a:pt x="235822" y="96633"/>
                    <a:pt x="245014" y="91679"/>
                  </a:cubicBezTo>
                  <a:lnTo>
                    <a:pt x="176255" y="0"/>
                  </a:lnTo>
                  <a:cubicBezTo>
                    <a:pt x="140503" y="26799"/>
                    <a:pt x="121343" y="57657"/>
                    <a:pt x="118836" y="92455"/>
                  </a:cubicBezTo>
                  <a:lnTo>
                    <a:pt x="98543" y="65417"/>
                  </a:lnTo>
                  <a:lnTo>
                    <a:pt x="0" y="139309"/>
                  </a:lnTo>
                  <a:lnTo>
                    <a:pt x="188013" y="390052"/>
                  </a:lnTo>
                  <a:lnTo>
                    <a:pt x="291629" y="312340"/>
                  </a:ln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F6AE1D5E-BC6E-722A-EBD8-BD026B253EDC}"/>
                </a:ext>
              </a:extLst>
            </p:cNvPr>
            <p:cNvSpPr/>
            <p:nvPr/>
          </p:nvSpPr>
          <p:spPr>
            <a:xfrm>
              <a:off x="4232721" y="562687"/>
              <a:ext cx="360963" cy="336486"/>
            </a:xfrm>
            <a:custGeom>
              <a:avLst/>
              <a:gdLst>
                <a:gd name="connsiteX0" fmla="*/ 86704 w 360963"/>
                <a:gd name="connsiteY0" fmla="*/ 320317 h 336486"/>
                <a:gd name="connsiteX1" fmla="*/ 173667 w 360963"/>
                <a:gd name="connsiteY1" fmla="*/ 335717 h 336486"/>
                <a:gd name="connsiteX2" fmla="*/ 269822 w 360963"/>
                <a:gd name="connsiteY2" fmla="*/ 302053 h 336486"/>
                <a:gd name="connsiteX3" fmla="*/ 360964 w 360963"/>
                <a:gd name="connsiteY3" fmla="*/ 188052 h 336486"/>
                <a:gd name="connsiteX4" fmla="*/ 267853 w 360963"/>
                <a:gd name="connsiteY4" fmla="*/ 164654 h 336486"/>
                <a:gd name="connsiteX5" fmla="*/ 250782 w 360963"/>
                <a:gd name="connsiteY5" fmla="*/ 195692 h 336486"/>
                <a:gd name="connsiteX6" fmla="*/ 223804 w 360963"/>
                <a:gd name="connsiteY6" fmla="*/ 218014 h 336486"/>
                <a:gd name="connsiteX7" fmla="*/ 160058 w 360963"/>
                <a:gd name="connsiteY7" fmla="*/ 224401 h 336486"/>
                <a:gd name="connsiteX8" fmla="*/ 322108 w 360963"/>
                <a:gd name="connsiteY8" fmla="*/ 78228 h 336486"/>
                <a:gd name="connsiteX9" fmla="*/ 257587 w 360963"/>
                <a:gd name="connsiteY9" fmla="*/ 15796 h 336486"/>
                <a:gd name="connsiteX10" fmla="*/ 176174 w 360963"/>
                <a:gd name="connsiteY10" fmla="*/ 755 h 336486"/>
                <a:gd name="connsiteX11" fmla="*/ 93448 w 360963"/>
                <a:gd name="connsiteY11" fmla="*/ 28987 h 336486"/>
                <a:gd name="connsiteX12" fmla="*/ 25405 w 360963"/>
                <a:gd name="connsiteY12" fmla="*/ 94224 h 336486"/>
                <a:gd name="connsiteX13" fmla="*/ 38 w 360963"/>
                <a:gd name="connsiteY13" fmla="*/ 176831 h 336486"/>
                <a:gd name="connsiteX14" fmla="*/ 23376 w 360963"/>
                <a:gd name="connsiteY14" fmla="*/ 260810 h 336486"/>
                <a:gd name="connsiteX15" fmla="*/ 86763 w 360963"/>
                <a:gd name="connsiteY15" fmla="*/ 320258 h 336486"/>
                <a:gd name="connsiteX16" fmla="*/ 115234 w 360963"/>
                <a:gd name="connsiteY16" fmla="*/ 134334 h 336486"/>
                <a:gd name="connsiteX17" fmla="*/ 139586 w 360963"/>
                <a:gd name="connsiteY17" fmla="*/ 104252 h 336486"/>
                <a:gd name="connsiteX18" fmla="*/ 169429 w 360963"/>
                <a:gd name="connsiteY18" fmla="*/ 96612 h 336486"/>
                <a:gd name="connsiteX19" fmla="*/ 196706 w 360963"/>
                <a:gd name="connsiteY19" fmla="*/ 107892 h 336486"/>
                <a:gd name="connsiteX20" fmla="*/ 120964 w 360963"/>
                <a:gd name="connsiteY20" fmla="*/ 176413 h 336486"/>
                <a:gd name="connsiteX21" fmla="*/ 115293 w 360963"/>
                <a:gd name="connsiteY21" fmla="*/ 134334 h 336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60963" h="336486">
                  <a:moveTo>
                    <a:pt x="86704" y="320317"/>
                  </a:moveTo>
                  <a:cubicBezTo>
                    <a:pt x="112966" y="333448"/>
                    <a:pt x="141914" y="338581"/>
                    <a:pt x="173667" y="335717"/>
                  </a:cubicBezTo>
                  <a:cubicBezTo>
                    <a:pt x="205420" y="332852"/>
                    <a:pt x="237472" y="321631"/>
                    <a:pt x="269822" y="302053"/>
                  </a:cubicBezTo>
                  <a:cubicBezTo>
                    <a:pt x="321153" y="271016"/>
                    <a:pt x="351533" y="233055"/>
                    <a:pt x="360964" y="188052"/>
                  </a:cubicBezTo>
                  <a:lnTo>
                    <a:pt x="267853" y="164654"/>
                  </a:lnTo>
                  <a:cubicBezTo>
                    <a:pt x="262719" y="177606"/>
                    <a:pt x="257049" y="187932"/>
                    <a:pt x="250782" y="195692"/>
                  </a:cubicBezTo>
                  <a:cubicBezTo>
                    <a:pt x="244575" y="203451"/>
                    <a:pt x="235562" y="210912"/>
                    <a:pt x="223804" y="218014"/>
                  </a:cubicBezTo>
                  <a:cubicBezTo>
                    <a:pt x="198974" y="233055"/>
                    <a:pt x="177726" y="235144"/>
                    <a:pt x="160058" y="224401"/>
                  </a:cubicBezTo>
                  <a:lnTo>
                    <a:pt x="322108" y="78228"/>
                  </a:lnTo>
                  <a:cubicBezTo>
                    <a:pt x="304739" y="49459"/>
                    <a:pt x="283192" y="28629"/>
                    <a:pt x="257587" y="15796"/>
                  </a:cubicBezTo>
                  <a:cubicBezTo>
                    <a:pt x="231981" y="2963"/>
                    <a:pt x="204824" y="-2050"/>
                    <a:pt x="176174" y="755"/>
                  </a:cubicBezTo>
                  <a:cubicBezTo>
                    <a:pt x="147524" y="3560"/>
                    <a:pt x="119949" y="12991"/>
                    <a:pt x="93448" y="28987"/>
                  </a:cubicBezTo>
                  <a:cubicBezTo>
                    <a:pt x="64321" y="46594"/>
                    <a:pt x="41700" y="68320"/>
                    <a:pt x="25405" y="94224"/>
                  </a:cubicBezTo>
                  <a:cubicBezTo>
                    <a:pt x="9170" y="120128"/>
                    <a:pt x="695" y="147644"/>
                    <a:pt x="38" y="176831"/>
                  </a:cubicBezTo>
                  <a:cubicBezTo>
                    <a:pt x="-618" y="206017"/>
                    <a:pt x="7141" y="234010"/>
                    <a:pt x="23376" y="260810"/>
                  </a:cubicBezTo>
                  <a:cubicBezTo>
                    <a:pt x="39372" y="287311"/>
                    <a:pt x="60501" y="307127"/>
                    <a:pt x="86763" y="320258"/>
                  </a:cubicBezTo>
                  <a:close/>
                  <a:moveTo>
                    <a:pt x="115234" y="134334"/>
                  </a:moveTo>
                  <a:cubicBezTo>
                    <a:pt x="118695" y="121979"/>
                    <a:pt x="126813" y="111951"/>
                    <a:pt x="139586" y="104252"/>
                  </a:cubicBezTo>
                  <a:cubicBezTo>
                    <a:pt x="149375" y="98343"/>
                    <a:pt x="159342" y="95776"/>
                    <a:pt x="169429" y="96612"/>
                  </a:cubicBezTo>
                  <a:cubicBezTo>
                    <a:pt x="179516" y="97447"/>
                    <a:pt x="188589" y="101208"/>
                    <a:pt x="196706" y="107892"/>
                  </a:cubicBezTo>
                  <a:lnTo>
                    <a:pt x="120964" y="176413"/>
                  </a:lnTo>
                  <a:cubicBezTo>
                    <a:pt x="113682" y="160715"/>
                    <a:pt x="111832" y="146689"/>
                    <a:pt x="115293" y="134334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EF1C5D04-66AD-A475-445C-1719048186DA}"/>
                </a:ext>
              </a:extLst>
            </p:cNvPr>
            <p:cNvSpPr/>
            <p:nvPr/>
          </p:nvSpPr>
          <p:spPr>
            <a:xfrm>
              <a:off x="4534953" y="373076"/>
              <a:ext cx="409914" cy="491962"/>
            </a:xfrm>
            <a:custGeom>
              <a:avLst/>
              <a:gdLst>
                <a:gd name="connsiteX0" fmla="*/ 291390 w 409914"/>
                <a:gd name="connsiteY0" fmla="*/ 439081 h 491962"/>
                <a:gd name="connsiteX1" fmla="*/ 237374 w 409914"/>
                <a:gd name="connsiteY1" fmla="*/ 318215 h 491962"/>
                <a:gd name="connsiteX2" fmla="*/ 321055 w 409914"/>
                <a:gd name="connsiteY2" fmla="*/ 310277 h 491962"/>
                <a:gd name="connsiteX3" fmla="*/ 382293 w 409914"/>
                <a:gd name="connsiteY3" fmla="*/ 261274 h 491962"/>
                <a:gd name="connsiteX4" fmla="*/ 409391 w 409914"/>
                <a:gd name="connsiteY4" fmla="*/ 187024 h 491962"/>
                <a:gd name="connsiteX5" fmla="*/ 393037 w 409914"/>
                <a:gd name="connsiteY5" fmla="*/ 100538 h 491962"/>
                <a:gd name="connsiteX6" fmla="*/ 339379 w 409914"/>
                <a:gd name="connsiteY6" fmla="*/ 30346 h 491962"/>
                <a:gd name="connsiteX7" fmla="*/ 265904 w 409914"/>
                <a:gd name="connsiteY7" fmla="*/ 742 h 491962"/>
                <a:gd name="connsiteX8" fmla="*/ 188550 w 409914"/>
                <a:gd name="connsiteY8" fmla="*/ 13694 h 491962"/>
                <a:gd name="connsiteX9" fmla="*/ 122955 w 409914"/>
                <a:gd name="connsiteY9" fmla="*/ 77558 h 491962"/>
                <a:gd name="connsiteX10" fmla="*/ 112450 w 409914"/>
                <a:gd name="connsiteY10" fmla="*/ 54042 h 491962"/>
                <a:gd name="connsiteX11" fmla="*/ 0 w 409914"/>
                <a:gd name="connsiteY11" fmla="*/ 104298 h 491962"/>
                <a:gd name="connsiteX12" fmla="*/ 173211 w 409914"/>
                <a:gd name="connsiteY12" fmla="*/ 491963 h 491962"/>
                <a:gd name="connsiteX13" fmla="*/ 291450 w 409914"/>
                <a:gd name="connsiteY13" fmla="*/ 439140 h 491962"/>
                <a:gd name="connsiteX14" fmla="*/ 174643 w 409914"/>
                <a:gd name="connsiteY14" fmla="*/ 148287 h 491962"/>
                <a:gd name="connsiteX15" fmla="*/ 201443 w 409914"/>
                <a:gd name="connsiteY15" fmla="*/ 118444 h 491962"/>
                <a:gd name="connsiteX16" fmla="*/ 241612 w 409914"/>
                <a:gd name="connsiteY16" fmla="*/ 118444 h 491962"/>
                <a:gd name="connsiteX17" fmla="*/ 273246 w 409914"/>
                <a:gd name="connsiteY17" fmla="*/ 154196 h 491962"/>
                <a:gd name="connsiteX18" fmla="*/ 278618 w 409914"/>
                <a:gd name="connsiteY18" fmla="*/ 201348 h 491962"/>
                <a:gd name="connsiteX19" fmla="*/ 251699 w 409914"/>
                <a:gd name="connsiteY19" fmla="*/ 230953 h 491962"/>
                <a:gd name="connsiteX20" fmla="*/ 211649 w 409914"/>
                <a:gd name="connsiteY20" fmla="*/ 231252 h 491962"/>
                <a:gd name="connsiteX21" fmla="*/ 180075 w 409914"/>
                <a:gd name="connsiteY21" fmla="*/ 195798 h 491962"/>
                <a:gd name="connsiteX22" fmla="*/ 174584 w 409914"/>
                <a:gd name="connsiteY22" fmla="*/ 148347 h 49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09914" h="491962">
                  <a:moveTo>
                    <a:pt x="291390" y="439081"/>
                  </a:moveTo>
                  <a:lnTo>
                    <a:pt x="237374" y="318215"/>
                  </a:lnTo>
                  <a:cubicBezTo>
                    <a:pt x="261428" y="327108"/>
                    <a:pt x="289361" y="324482"/>
                    <a:pt x="321055" y="310277"/>
                  </a:cubicBezTo>
                  <a:cubicBezTo>
                    <a:pt x="346183" y="299056"/>
                    <a:pt x="366596" y="282701"/>
                    <a:pt x="382293" y="261274"/>
                  </a:cubicBezTo>
                  <a:cubicBezTo>
                    <a:pt x="397991" y="239787"/>
                    <a:pt x="407063" y="215076"/>
                    <a:pt x="409391" y="187024"/>
                  </a:cubicBezTo>
                  <a:cubicBezTo>
                    <a:pt x="411719" y="158971"/>
                    <a:pt x="406287" y="130142"/>
                    <a:pt x="393037" y="100538"/>
                  </a:cubicBezTo>
                  <a:cubicBezTo>
                    <a:pt x="379786" y="70873"/>
                    <a:pt x="361880" y="47536"/>
                    <a:pt x="339379" y="30346"/>
                  </a:cubicBezTo>
                  <a:cubicBezTo>
                    <a:pt x="316877" y="13216"/>
                    <a:pt x="292345" y="3368"/>
                    <a:pt x="265904" y="742"/>
                  </a:cubicBezTo>
                  <a:cubicBezTo>
                    <a:pt x="239403" y="-1885"/>
                    <a:pt x="213619" y="2472"/>
                    <a:pt x="188550" y="13694"/>
                  </a:cubicBezTo>
                  <a:cubicBezTo>
                    <a:pt x="153335" y="29451"/>
                    <a:pt x="131430" y="50699"/>
                    <a:pt x="122955" y="77558"/>
                  </a:cubicBezTo>
                  <a:lnTo>
                    <a:pt x="112450" y="54042"/>
                  </a:lnTo>
                  <a:lnTo>
                    <a:pt x="0" y="104298"/>
                  </a:lnTo>
                  <a:lnTo>
                    <a:pt x="173211" y="491963"/>
                  </a:lnTo>
                  <a:lnTo>
                    <a:pt x="291450" y="439140"/>
                  </a:lnTo>
                  <a:close/>
                  <a:moveTo>
                    <a:pt x="174643" y="148287"/>
                  </a:moveTo>
                  <a:cubicBezTo>
                    <a:pt x="178941" y="134440"/>
                    <a:pt x="187834" y="124472"/>
                    <a:pt x="201443" y="118444"/>
                  </a:cubicBezTo>
                  <a:cubicBezTo>
                    <a:pt x="215051" y="112356"/>
                    <a:pt x="228421" y="112356"/>
                    <a:pt x="241612" y="118444"/>
                  </a:cubicBezTo>
                  <a:cubicBezTo>
                    <a:pt x="254743" y="124472"/>
                    <a:pt x="265307" y="136409"/>
                    <a:pt x="273246" y="154196"/>
                  </a:cubicBezTo>
                  <a:cubicBezTo>
                    <a:pt x="281184" y="171983"/>
                    <a:pt x="282975" y="187740"/>
                    <a:pt x="278618" y="201348"/>
                  </a:cubicBezTo>
                  <a:cubicBezTo>
                    <a:pt x="274260" y="215017"/>
                    <a:pt x="265307" y="224865"/>
                    <a:pt x="251699" y="230953"/>
                  </a:cubicBezTo>
                  <a:cubicBezTo>
                    <a:pt x="238090" y="237041"/>
                    <a:pt x="224780" y="237160"/>
                    <a:pt x="211649" y="231252"/>
                  </a:cubicBezTo>
                  <a:cubicBezTo>
                    <a:pt x="198578" y="225402"/>
                    <a:pt x="188073" y="213584"/>
                    <a:pt x="180075" y="195798"/>
                  </a:cubicBezTo>
                  <a:cubicBezTo>
                    <a:pt x="172136" y="178011"/>
                    <a:pt x="170286" y="162194"/>
                    <a:pt x="174584" y="148347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D819BDB3-B34D-E256-B521-723F7F68091E}"/>
                </a:ext>
              </a:extLst>
            </p:cNvPr>
            <p:cNvSpPr/>
            <p:nvPr/>
          </p:nvSpPr>
          <p:spPr>
            <a:xfrm>
              <a:off x="4925006" y="236717"/>
              <a:ext cx="247281" cy="373041"/>
            </a:xfrm>
            <a:custGeom>
              <a:avLst/>
              <a:gdLst>
                <a:gd name="connsiteX0" fmla="*/ 220125 w 247281"/>
                <a:gd name="connsiteY0" fmla="*/ 332932 h 373041"/>
                <a:gd name="connsiteX1" fmla="*/ 177031 w 247281"/>
                <a:gd name="connsiteY1" fmla="*/ 200547 h 373041"/>
                <a:gd name="connsiteX2" fmla="*/ 219349 w 247281"/>
                <a:gd name="connsiteY2" fmla="*/ 115673 h 373041"/>
                <a:gd name="connsiteX3" fmla="*/ 247282 w 247281"/>
                <a:gd name="connsiteY3" fmla="*/ 108988 h 373041"/>
                <a:gd name="connsiteX4" fmla="*/ 211828 w 247281"/>
                <a:gd name="connsiteY4" fmla="*/ 0 h 373041"/>
                <a:gd name="connsiteX5" fmla="*/ 127610 w 247281"/>
                <a:gd name="connsiteY5" fmla="*/ 68998 h 373041"/>
                <a:gd name="connsiteX6" fmla="*/ 117165 w 247281"/>
                <a:gd name="connsiteY6" fmla="*/ 36827 h 373041"/>
                <a:gd name="connsiteX7" fmla="*/ 0 w 247281"/>
                <a:gd name="connsiteY7" fmla="*/ 74966 h 373041"/>
                <a:gd name="connsiteX8" fmla="*/ 96991 w 247281"/>
                <a:gd name="connsiteY8" fmla="*/ 373042 h 373041"/>
                <a:gd name="connsiteX9" fmla="*/ 220125 w 247281"/>
                <a:gd name="connsiteY9" fmla="*/ 332992 h 373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7281" h="373041">
                  <a:moveTo>
                    <a:pt x="220125" y="332932"/>
                  </a:moveTo>
                  <a:lnTo>
                    <a:pt x="177031" y="200547"/>
                  </a:lnTo>
                  <a:cubicBezTo>
                    <a:pt x="163064" y="157692"/>
                    <a:pt x="177150" y="129401"/>
                    <a:pt x="219349" y="115673"/>
                  </a:cubicBezTo>
                  <a:cubicBezTo>
                    <a:pt x="227705" y="112927"/>
                    <a:pt x="237016" y="110719"/>
                    <a:pt x="247282" y="108988"/>
                  </a:cubicBezTo>
                  <a:lnTo>
                    <a:pt x="211828" y="0"/>
                  </a:lnTo>
                  <a:cubicBezTo>
                    <a:pt x="169331" y="13847"/>
                    <a:pt x="141278" y="36827"/>
                    <a:pt x="127610" y="68998"/>
                  </a:cubicBezTo>
                  <a:lnTo>
                    <a:pt x="117165" y="36827"/>
                  </a:lnTo>
                  <a:lnTo>
                    <a:pt x="0" y="74966"/>
                  </a:lnTo>
                  <a:lnTo>
                    <a:pt x="96991" y="373042"/>
                  </a:lnTo>
                  <a:lnTo>
                    <a:pt x="220125" y="332992"/>
                  </a:ln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8D48C509-5236-AA6A-7DC9-47AFF4DC089A}"/>
                </a:ext>
              </a:extLst>
            </p:cNvPr>
            <p:cNvSpPr/>
            <p:nvPr/>
          </p:nvSpPr>
          <p:spPr>
            <a:xfrm>
              <a:off x="5152460" y="58296"/>
              <a:ext cx="155031" cy="134771"/>
            </a:xfrm>
            <a:custGeom>
              <a:avLst/>
              <a:gdLst>
                <a:gd name="connsiteX0" fmla="*/ 34332 w 155031"/>
                <a:gd name="connsiteY0" fmla="*/ 126971 h 134771"/>
                <a:gd name="connsiteX1" fmla="*/ 93601 w 155031"/>
                <a:gd name="connsiteY1" fmla="*/ 131447 h 134771"/>
                <a:gd name="connsiteX2" fmla="*/ 144036 w 155031"/>
                <a:gd name="connsiteY2" fmla="*/ 99157 h 134771"/>
                <a:gd name="connsiteX3" fmla="*/ 152810 w 155031"/>
                <a:gd name="connsiteY3" fmla="*/ 46513 h 134771"/>
                <a:gd name="connsiteX4" fmla="*/ 121176 w 155031"/>
                <a:gd name="connsiteY4" fmla="*/ 7120 h 134771"/>
                <a:gd name="connsiteX5" fmla="*/ 61848 w 155031"/>
                <a:gd name="connsiteY5" fmla="*/ 3539 h 134771"/>
                <a:gd name="connsiteX6" fmla="*/ 11532 w 155031"/>
                <a:gd name="connsiteY6" fmla="*/ 35173 h 134771"/>
                <a:gd name="connsiteX7" fmla="*/ 2042 w 155031"/>
                <a:gd name="connsiteY7" fmla="*/ 86205 h 134771"/>
                <a:gd name="connsiteX8" fmla="*/ 34272 w 155031"/>
                <a:gd name="connsiteY8" fmla="*/ 126911 h 134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5031" h="134771">
                  <a:moveTo>
                    <a:pt x="34332" y="126971"/>
                  </a:moveTo>
                  <a:cubicBezTo>
                    <a:pt x="51223" y="135566"/>
                    <a:pt x="70980" y="137058"/>
                    <a:pt x="93601" y="131447"/>
                  </a:cubicBezTo>
                  <a:cubicBezTo>
                    <a:pt x="116580" y="125777"/>
                    <a:pt x="133412" y="114974"/>
                    <a:pt x="144036" y="99157"/>
                  </a:cubicBezTo>
                  <a:cubicBezTo>
                    <a:pt x="154660" y="83340"/>
                    <a:pt x="157585" y="65792"/>
                    <a:pt x="152810" y="46513"/>
                  </a:cubicBezTo>
                  <a:cubicBezTo>
                    <a:pt x="148334" y="28368"/>
                    <a:pt x="137769" y="15237"/>
                    <a:pt x="121176" y="7120"/>
                  </a:cubicBezTo>
                  <a:cubicBezTo>
                    <a:pt x="104583" y="-938"/>
                    <a:pt x="84827" y="-2191"/>
                    <a:pt x="61848" y="3539"/>
                  </a:cubicBezTo>
                  <a:cubicBezTo>
                    <a:pt x="39226" y="9149"/>
                    <a:pt x="22454" y="19714"/>
                    <a:pt x="11532" y="35173"/>
                  </a:cubicBezTo>
                  <a:cubicBezTo>
                    <a:pt x="609" y="50691"/>
                    <a:pt x="-2554" y="67702"/>
                    <a:pt x="2042" y="86205"/>
                  </a:cubicBezTo>
                  <a:cubicBezTo>
                    <a:pt x="6638" y="104767"/>
                    <a:pt x="17381" y="118316"/>
                    <a:pt x="34272" y="126911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6BB24FB9-86F4-B434-F989-264B0BEAB22D}"/>
                </a:ext>
              </a:extLst>
            </p:cNvPr>
            <p:cNvSpPr/>
            <p:nvPr/>
          </p:nvSpPr>
          <p:spPr>
            <a:xfrm rot="20764800">
              <a:off x="5225108" y="209821"/>
              <a:ext cx="129520" cy="313414"/>
            </a:xfrm>
            <a:custGeom>
              <a:avLst/>
              <a:gdLst>
                <a:gd name="connsiteX0" fmla="*/ 0 w 129520"/>
                <a:gd name="connsiteY0" fmla="*/ 0 h 313414"/>
                <a:gd name="connsiteX1" fmla="*/ 129520 w 129520"/>
                <a:gd name="connsiteY1" fmla="*/ 0 h 313414"/>
                <a:gd name="connsiteX2" fmla="*/ 129520 w 129520"/>
                <a:gd name="connsiteY2" fmla="*/ 313415 h 313414"/>
                <a:gd name="connsiteX3" fmla="*/ 0 w 129520"/>
                <a:gd name="connsiteY3" fmla="*/ 313415 h 313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520" h="313414">
                  <a:moveTo>
                    <a:pt x="0" y="0"/>
                  </a:moveTo>
                  <a:lnTo>
                    <a:pt x="129520" y="0"/>
                  </a:lnTo>
                  <a:lnTo>
                    <a:pt x="129520" y="313415"/>
                  </a:lnTo>
                  <a:lnTo>
                    <a:pt x="0" y="313415"/>
                  </a:ln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A64F2D9F-77BC-FED3-8B24-61DAA22F930C}"/>
                </a:ext>
              </a:extLst>
            </p:cNvPr>
            <p:cNvSpPr/>
            <p:nvPr/>
          </p:nvSpPr>
          <p:spPr>
            <a:xfrm>
              <a:off x="5388282" y="147041"/>
              <a:ext cx="316165" cy="333940"/>
            </a:xfrm>
            <a:custGeom>
              <a:avLst/>
              <a:gdLst>
                <a:gd name="connsiteX0" fmla="*/ 30691 w 316165"/>
                <a:gd name="connsiteY0" fmla="*/ 191323 h 333940"/>
                <a:gd name="connsiteX1" fmla="*/ 81843 w 316165"/>
                <a:gd name="connsiteY1" fmla="*/ 211139 h 333940"/>
                <a:gd name="connsiteX2" fmla="*/ 148214 w 316165"/>
                <a:gd name="connsiteY2" fmla="*/ 212213 h 333940"/>
                <a:gd name="connsiteX3" fmla="*/ 185041 w 316165"/>
                <a:gd name="connsiteY3" fmla="*/ 212034 h 333940"/>
                <a:gd name="connsiteX4" fmla="*/ 197754 w 316165"/>
                <a:gd name="connsiteY4" fmla="*/ 220390 h 333940"/>
                <a:gd name="connsiteX5" fmla="*/ 190771 w 316165"/>
                <a:gd name="connsiteY5" fmla="*/ 232865 h 333940"/>
                <a:gd name="connsiteX6" fmla="*/ 160569 w 316165"/>
                <a:gd name="connsiteY6" fmla="*/ 241579 h 333940"/>
                <a:gd name="connsiteX7" fmla="*/ 102255 w 316165"/>
                <a:gd name="connsiteY7" fmla="*/ 243549 h 333940"/>
                <a:gd name="connsiteX8" fmla="*/ 48060 w 316165"/>
                <a:gd name="connsiteY8" fmla="*/ 231492 h 333940"/>
                <a:gd name="connsiteX9" fmla="*/ 26752 w 316165"/>
                <a:gd name="connsiteY9" fmla="*/ 321499 h 333940"/>
                <a:gd name="connsiteX10" fmla="*/ 92586 w 316165"/>
                <a:gd name="connsiteY10" fmla="*/ 333377 h 333940"/>
                <a:gd name="connsiteX11" fmla="*/ 172029 w 316165"/>
                <a:gd name="connsiteY11" fmla="*/ 329139 h 333940"/>
                <a:gd name="connsiteX12" fmla="*/ 257381 w 316165"/>
                <a:gd name="connsiteY12" fmla="*/ 300669 h 333940"/>
                <a:gd name="connsiteX13" fmla="*/ 305488 w 316165"/>
                <a:gd name="connsiteY13" fmla="*/ 253934 h 333940"/>
                <a:gd name="connsiteX14" fmla="*/ 314979 w 316165"/>
                <a:gd name="connsiteY14" fmla="*/ 198366 h 333940"/>
                <a:gd name="connsiteX15" fmla="*/ 285374 w 316165"/>
                <a:gd name="connsiteY15" fmla="*/ 143394 h 333940"/>
                <a:gd name="connsiteX16" fmla="*/ 234461 w 316165"/>
                <a:gd name="connsiteY16" fmla="*/ 123280 h 333940"/>
                <a:gd name="connsiteX17" fmla="*/ 168329 w 316165"/>
                <a:gd name="connsiteY17" fmla="*/ 121907 h 333940"/>
                <a:gd name="connsiteX18" fmla="*/ 131741 w 316165"/>
                <a:gd name="connsiteY18" fmla="*/ 121788 h 333940"/>
                <a:gd name="connsiteX19" fmla="*/ 118729 w 316165"/>
                <a:gd name="connsiteY19" fmla="*/ 113193 h 333940"/>
                <a:gd name="connsiteX20" fmla="*/ 158182 w 316165"/>
                <a:gd name="connsiteY20" fmla="*/ 91646 h 333940"/>
                <a:gd name="connsiteX21" fmla="*/ 251233 w 316165"/>
                <a:gd name="connsiteY21" fmla="*/ 99704 h 333940"/>
                <a:gd name="connsiteX22" fmla="*/ 272542 w 316165"/>
                <a:gd name="connsiteY22" fmla="*/ 9696 h 333940"/>
                <a:gd name="connsiteX23" fmla="*/ 212079 w 316165"/>
                <a:gd name="connsiteY23" fmla="*/ 146 h 333940"/>
                <a:gd name="connsiteX24" fmla="*/ 142305 w 316165"/>
                <a:gd name="connsiteY24" fmla="*/ 4861 h 333940"/>
                <a:gd name="connsiteX25" fmla="*/ 58386 w 316165"/>
                <a:gd name="connsiteY25" fmla="*/ 33093 h 333940"/>
                <a:gd name="connsiteX26" fmla="*/ 10577 w 316165"/>
                <a:gd name="connsiteY26" fmla="*/ 79768 h 333940"/>
                <a:gd name="connsiteX27" fmla="*/ 1266 w 316165"/>
                <a:gd name="connsiteY27" fmla="*/ 136471 h 333940"/>
                <a:gd name="connsiteX28" fmla="*/ 30870 w 316165"/>
                <a:gd name="connsiteY28" fmla="*/ 191442 h 333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16165" h="333940">
                  <a:moveTo>
                    <a:pt x="30691" y="191323"/>
                  </a:moveTo>
                  <a:cubicBezTo>
                    <a:pt x="46269" y="202723"/>
                    <a:pt x="63340" y="209348"/>
                    <a:pt x="81843" y="211139"/>
                  </a:cubicBezTo>
                  <a:cubicBezTo>
                    <a:pt x="100345" y="212989"/>
                    <a:pt x="122430" y="213347"/>
                    <a:pt x="148214" y="212213"/>
                  </a:cubicBezTo>
                  <a:cubicBezTo>
                    <a:pt x="165105" y="211377"/>
                    <a:pt x="177401" y="211318"/>
                    <a:pt x="185041" y="212034"/>
                  </a:cubicBezTo>
                  <a:cubicBezTo>
                    <a:pt x="192681" y="212750"/>
                    <a:pt x="196919" y="215496"/>
                    <a:pt x="197754" y="220390"/>
                  </a:cubicBezTo>
                  <a:cubicBezTo>
                    <a:pt x="198530" y="225284"/>
                    <a:pt x="196262" y="229462"/>
                    <a:pt x="190771" y="232865"/>
                  </a:cubicBezTo>
                  <a:cubicBezTo>
                    <a:pt x="185339" y="236267"/>
                    <a:pt x="175252" y="239191"/>
                    <a:pt x="160569" y="241579"/>
                  </a:cubicBezTo>
                  <a:cubicBezTo>
                    <a:pt x="142066" y="244623"/>
                    <a:pt x="122668" y="245279"/>
                    <a:pt x="102255" y="243549"/>
                  </a:cubicBezTo>
                  <a:cubicBezTo>
                    <a:pt x="81843" y="241877"/>
                    <a:pt x="63757" y="237819"/>
                    <a:pt x="48060" y="231492"/>
                  </a:cubicBezTo>
                  <a:lnTo>
                    <a:pt x="26752" y="321499"/>
                  </a:lnTo>
                  <a:cubicBezTo>
                    <a:pt x="44061" y="327945"/>
                    <a:pt x="65966" y="331944"/>
                    <a:pt x="92586" y="333377"/>
                  </a:cubicBezTo>
                  <a:cubicBezTo>
                    <a:pt x="119147" y="334869"/>
                    <a:pt x="145648" y="333377"/>
                    <a:pt x="172029" y="329139"/>
                  </a:cubicBezTo>
                  <a:cubicBezTo>
                    <a:pt x="206349" y="323529"/>
                    <a:pt x="234760" y="314038"/>
                    <a:pt x="257381" y="300669"/>
                  </a:cubicBezTo>
                  <a:cubicBezTo>
                    <a:pt x="279943" y="287299"/>
                    <a:pt x="295998" y="271721"/>
                    <a:pt x="305488" y="253934"/>
                  </a:cubicBezTo>
                  <a:cubicBezTo>
                    <a:pt x="314979" y="236147"/>
                    <a:pt x="318142" y="217644"/>
                    <a:pt x="314979" y="198366"/>
                  </a:cubicBezTo>
                  <a:cubicBezTo>
                    <a:pt x="310860" y="173118"/>
                    <a:pt x="301012" y="154794"/>
                    <a:pt x="285374" y="143394"/>
                  </a:cubicBezTo>
                  <a:cubicBezTo>
                    <a:pt x="269796" y="131994"/>
                    <a:pt x="252785" y="125309"/>
                    <a:pt x="234461" y="123280"/>
                  </a:cubicBezTo>
                  <a:cubicBezTo>
                    <a:pt x="216138" y="121250"/>
                    <a:pt x="194113" y="120773"/>
                    <a:pt x="168329" y="121907"/>
                  </a:cubicBezTo>
                  <a:cubicBezTo>
                    <a:pt x="151795" y="122683"/>
                    <a:pt x="139619" y="122623"/>
                    <a:pt x="131741" y="121788"/>
                  </a:cubicBezTo>
                  <a:cubicBezTo>
                    <a:pt x="123862" y="120952"/>
                    <a:pt x="119505" y="118087"/>
                    <a:pt x="118729" y="113193"/>
                  </a:cubicBezTo>
                  <a:cubicBezTo>
                    <a:pt x="117117" y="103404"/>
                    <a:pt x="130248" y="96242"/>
                    <a:pt x="158182" y="91646"/>
                  </a:cubicBezTo>
                  <a:cubicBezTo>
                    <a:pt x="190592" y="86334"/>
                    <a:pt x="221629" y="89020"/>
                    <a:pt x="251233" y="99704"/>
                  </a:cubicBezTo>
                  <a:lnTo>
                    <a:pt x="272542" y="9696"/>
                  </a:lnTo>
                  <a:cubicBezTo>
                    <a:pt x="255352" y="3966"/>
                    <a:pt x="235178" y="803"/>
                    <a:pt x="212079" y="146"/>
                  </a:cubicBezTo>
                  <a:cubicBezTo>
                    <a:pt x="188920" y="-510"/>
                    <a:pt x="165702" y="1041"/>
                    <a:pt x="142305" y="4861"/>
                  </a:cubicBezTo>
                  <a:cubicBezTo>
                    <a:pt x="108761" y="10353"/>
                    <a:pt x="80768" y="19723"/>
                    <a:pt x="58386" y="33093"/>
                  </a:cubicBezTo>
                  <a:cubicBezTo>
                    <a:pt x="36003" y="46403"/>
                    <a:pt x="20067" y="61982"/>
                    <a:pt x="10577" y="79768"/>
                  </a:cubicBezTo>
                  <a:cubicBezTo>
                    <a:pt x="1086" y="97555"/>
                    <a:pt x="-2017" y="116476"/>
                    <a:pt x="1266" y="136471"/>
                  </a:cubicBezTo>
                  <a:cubicBezTo>
                    <a:pt x="5384" y="161718"/>
                    <a:pt x="15232" y="180042"/>
                    <a:pt x="30870" y="191442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BC24A343-33E4-C204-8AB6-4C29E9A06A61}"/>
                </a:ext>
              </a:extLst>
            </p:cNvPr>
            <p:cNvSpPr/>
            <p:nvPr/>
          </p:nvSpPr>
          <p:spPr>
            <a:xfrm>
              <a:off x="5722593" y="113415"/>
              <a:ext cx="349830" cy="324733"/>
            </a:xfrm>
            <a:custGeom>
              <a:avLst/>
              <a:gdLst>
                <a:gd name="connsiteX0" fmla="*/ 28119 w 349830"/>
                <a:gd name="connsiteY0" fmla="*/ 254016 h 324733"/>
                <a:gd name="connsiteX1" fmla="*/ 97534 w 349830"/>
                <a:gd name="connsiteY1" fmla="*/ 308630 h 324733"/>
                <a:gd name="connsiteX2" fmla="*/ 198166 w 349830"/>
                <a:gd name="connsiteY2" fmla="*/ 324327 h 324733"/>
                <a:gd name="connsiteX3" fmla="*/ 332342 w 349830"/>
                <a:gd name="connsiteY3" fmla="*/ 266849 h 324733"/>
                <a:gd name="connsiteX4" fmla="*/ 261255 w 349830"/>
                <a:gd name="connsiteY4" fmla="*/ 202268 h 324733"/>
                <a:gd name="connsiteX5" fmla="*/ 231531 w 349830"/>
                <a:gd name="connsiteY5" fmla="*/ 221606 h 324733"/>
                <a:gd name="connsiteX6" fmla="*/ 197151 w 349830"/>
                <a:gd name="connsiteY6" fmla="*/ 228530 h 324733"/>
                <a:gd name="connsiteX7" fmla="*/ 137942 w 349830"/>
                <a:gd name="connsiteY7" fmla="*/ 204058 h 324733"/>
                <a:gd name="connsiteX8" fmla="*/ 349830 w 349830"/>
                <a:gd name="connsiteY8" fmla="*/ 151773 h 324733"/>
                <a:gd name="connsiteX9" fmla="*/ 322434 w 349830"/>
                <a:gd name="connsiteY9" fmla="*/ 66242 h 324733"/>
                <a:gd name="connsiteX10" fmla="*/ 257793 w 349830"/>
                <a:gd name="connsiteY10" fmla="*/ 14494 h 324733"/>
                <a:gd name="connsiteX11" fmla="*/ 171546 w 349830"/>
                <a:gd name="connsiteY11" fmla="*/ 288 h 324733"/>
                <a:gd name="connsiteX12" fmla="*/ 80763 w 349830"/>
                <a:gd name="connsiteY12" fmla="*/ 25655 h 324733"/>
                <a:gd name="connsiteX13" fmla="*/ 19345 w 349830"/>
                <a:gd name="connsiteY13" fmla="*/ 86476 h 324733"/>
                <a:gd name="connsiteX14" fmla="*/ 245 w 349830"/>
                <a:gd name="connsiteY14" fmla="*/ 171529 h 324733"/>
                <a:gd name="connsiteX15" fmla="*/ 28059 w 349830"/>
                <a:gd name="connsiteY15" fmla="*/ 253837 h 324733"/>
                <a:gd name="connsiteX16" fmla="*/ 141106 w 349830"/>
                <a:gd name="connsiteY16" fmla="*/ 103546 h 324733"/>
                <a:gd name="connsiteX17" fmla="*/ 176739 w 349830"/>
                <a:gd name="connsiteY17" fmla="*/ 88505 h 324733"/>
                <a:gd name="connsiteX18" fmla="*/ 206642 w 349830"/>
                <a:gd name="connsiteY18" fmla="*/ 95846 h 324733"/>
                <a:gd name="connsiteX19" fmla="*/ 225324 w 349830"/>
                <a:gd name="connsiteY19" fmla="*/ 118706 h 324733"/>
                <a:gd name="connsiteX20" fmla="*/ 126184 w 349830"/>
                <a:gd name="connsiteY20" fmla="*/ 143357 h 324733"/>
                <a:gd name="connsiteX21" fmla="*/ 141046 w 349830"/>
                <a:gd name="connsiteY21" fmla="*/ 103546 h 324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49830" h="324733">
                  <a:moveTo>
                    <a:pt x="28119" y="254016"/>
                  </a:moveTo>
                  <a:cubicBezTo>
                    <a:pt x="45070" y="278010"/>
                    <a:pt x="68169" y="296215"/>
                    <a:pt x="97534" y="308630"/>
                  </a:cubicBezTo>
                  <a:cubicBezTo>
                    <a:pt x="126900" y="321104"/>
                    <a:pt x="160444" y="326297"/>
                    <a:pt x="198166" y="324327"/>
                  </a:cubicBezTo>
                  <a:cubicBezTo>
                    <a:pt x="258032" y="321223"/>
                    <a:pt x="302797" y="302064"/>
                    <a:pt x="332342" y="266849"/>
                  </a:cubicBezTo>
                  <a:lnTo>
                    <a:pt x="261255" y="202268"/>
                  </a:lnTo>
                  <a:cubicBezTo>
                    <a:pt x="250631" y="211221"/>
                    <a:pt x="240723" y="217667"/>
                    <a:pt x="231531" y="221606"/>
                  </a:cubicBezTo>
                  <a:cubicBezTo>
                    <a:pt x="222339" y="225546"/>
                    <a:pt x="210939" y="227814"/>
                    <a:pt x="197151" y="228530"/>
                  </a:cubicBezTo>
                  <a:cubicBezTo>
                    <a:pt x="168144" y="230022"/>
                    <a:pt x="148387" y="221905"/>
                    <a:pt x="137942" y="204058"/>
                  </a:cubicBezTo>
                  <a:lnTo>
                    <a:pt x="349830" y="151773"/>
                  </a:lnTo>
                  <a:cubicBezTo>
                    <a:pt x="348099" y="118229"/>
                    <a:pt x="338967" y="89699"/>
                    <a:pt x="322434" y="66242"/>
                  </a:cubicBezTo>
                  <a:cubicBezTo>
                    <a:pt x="305901" y="42785"/>
                    <a:pt x="284354" y="25595"/>
                    <a:pt x="257793" y="14494"/>
                  </a:cubicBezTo>
                  <a:cubicBezTo>
                    <a:pt x="231173" y="3451"/>
                    <a:pt x="202464" y="-1264"/>
                    <a:pt x="171546" y="288"/>
                  </a:cubicBezTo>
                  <a:cubicBezTo>
                    <a:pt x="137584" y="2019"/>
                    <a:pt x="107323" y="10495"/>
                    <a:pt x="80763" y="25655"/>
                  </a:cubicBezTo>
                  <a:cubicBezTo>
                    <a:pt x="54202" y="40815"/>
                    <a:pt x="33729" y="61109"/>
                    <a:pt x="19345" y="86476"/>
                  </a:cubicBezTo>
                  <a:cubicBezTo>
                    <a:pt x="4960" y="111902"/>
                    <a:pt x="-1366" y="140253"/>
                    <a:pt x="245" y="171529"/>
                  </a:cubicBezTo>
                  <a:cubicBezTo>
                    <a:pt x="1857" y="202447"/>
                    <a:pt x="11108" y="229903"/>
                    <a:pt x="28059" y="253837"/>
                  </a:cubicBezTo>
                  <a:close/>
                  <a:moveTo>
                    <a:pt x="141106" y="103546"/>
                  </a:moveTo>
                  <a:cubicBezTo>
                    <a:pt x="149999" y="94295"/>
                    <a:pt x="161877" y="89281"/>
                    <a:pt x="176739" y="88505"/>
                  </a:cubicBezTo>
                  <a:cubicBezTo>
                    <a:pt x="188198" y="87908"/>
                    <a:pt x="198166" y="90355"/>
                    <a:pt x="206642" y="95846"/>
                  </a:cubicBezTo>
                  <a:cubicBezTo>
                    <a:pt x="215177" y="101338"/>
                    <a:pt x="221385" y="108978"/>
                    <a:pt x="225324" y="118706"/>
                  </a:cubicBezTo>
                  <a:lnTo>
                    <a:pt x="126184" y="143357"/>
                  </a:lnTo>
                  <a:cubicBezTo>
                    <a:pt x="127199" y="126108"/>
                    <a:pt x="132153" y="112857"/>
                    <a:pt x="141046" y="103546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21BE57E3-6BB7-B865-3207-3A119842E22B}"/>
                </a:ext>
              </a:extLst>
            </p:cNvPr>
            <p:cNvSpPr/>
            <p:nvPr/>
          </p:nvSpPr>
          <p:spPr>
            <a:xfrm>
              <a:off x="6277862" y="129498"/>
              <a:ext cx="378594" cy="343876"/>
            </a:xfrm>
            <a:custGeom>
              <a:avLst/>
              <a:gdLst>
                <a:gd name="connsiteX0" fmla="*/ 58734 w 378594"/>
                <a:gd name="connsiteY0" fmla="*/ 294695 h 343876"/>
                <a:gd name="connsiteX1" fmla="*/ 131611 w 378594"/>
                <a:gd name="connsiteY1" fmla="*/ 323702 h 343876"/>
                <a:gd name="connsiteX2" fmla="*/ 220783 w 378594"/>
                <a:gd name="connsiteY2" fmla="*/ 303051 h 343876"/>
                <a:gd name="connsiteX3" fmla="*/ 217620 w 378594"/>
                <a:gd name="connsiteY3" fmla="*/ 328656 h 343876"/>
                <a:gd name="connsiteX4" fmla="*/ 339858 w 378594"/>
                <a:gd name="connsiteY4" fmla="*/ 343876 h 343876"/>
                <a:gd name="connsiteX5" fmla="*/ 378595 w 378594"/>
                <a:gd name="connsiteY5" fmla="*/ 32849 h 343876"/>
                <a:gd name="connsiteX6" fmla="*/ 250089 w 378594"/>
                <a:gd name="connsiteY6" fmla="*/ 16853 h 343876"/>
                <a:gd name="connsiteX7" fmla="*/ 247463 w 378594"/>
                <a:gd name="connsiteY7" fmla="*/ 37863 h 343876"/>
                <a:gd name="connsiteX8" fmla="*/ 171780 w 378594"/>
                <a:gd name="connsiteY8" fmla="*/ 1275 h 343876"/>
                <a:gd name="connsiteX9" fmla="*/ 94008 w 378594"/>
                <a:gd name="connsiteY9" fmla="*/ 11541 h 343876"/>
                <a:gd name="connsiteX10" fmla="*/ 32412 w 378594"/>
                <a:gd name="connsiteY10" fmla="*/ 61021 h 343876"/>
                <a:gd name="connsiteX11" fmla="*/ 1673 w 378594"/>
                <a:gd name="connsiteY11" fmla="*/ 143508 h 343876"/>
                <a:gd name="connsiteX12" fmla="*/ 11223 w 378594"/>
                <a:gd name="connsiteY12" fmla="*/ 231307 h 343876"/>
                <a:gd name="connsiteX13" fmla="*/ 58793 w 378594"/>
                <a:gd name="connsiteY13" fmla="*/ 294695 h 343876"/>
                <a:gd name="connsiteX14" fmla="*/ 131790 w 378594"/>
                <a:gd name="connsiteY14" fmla="*/ 159743 h 343876"/>
                <a:gd name="connsiteX15" fmla="*/ 151606 w 378594"/>
                <a:gd name="connsiteY15" fmla="*/ 116590 h 343876"/>
                <a:gd name="connsiteX16" fmla="*/ 189985 w 378594"/>
                <a:gd name="connsiteY16" fmla="*/ 105189 h 343876"/>
                <a:gd name="connsiteX17" fmla="*/ 224424 w 378594"/>
                <a:gd name="connsiteY17" fmla="*/ 125662 h 343876"/>
                <a:gd name="connsiteX18" fmla="*/ 233019 w 378594"/>
                <a:gd name="connsiteY18" fmla="*/ 172337 h 343876"/>
                <a:gd name="connsiteX19" fmla="*/ 213203 w 378594"/>
                <a:gd name="connsiteY19" fmla="*/ 215789 h 343876"/>
                <a:gd name="connsiteX20" fmla="*/ 174765 w 378594"/>
                <a:gd name="connsiteY20" fmla="*/ 227487 h 343876"/>
                <a:gd name="connsiteX21" fmla="*/ 140385 w 378594"/>
                <a:gd name="connsiteY21" fmla="*/ 206776 h 343876"/>
                <a:gd name="connsiteX22" fmla="*/ 131790 w 378594"/>
                <a:gd name="connsiteY22" fmla="*/ 159803 h 343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78594" h="343876">
                  <a:moveTo>
                    <a:pt x="58734" y="294695"/>
                  </a:moveTo>
                  <a:cubicBezTo>
                    <a:pt x="80042" y="310631"/>
                    <a:pt x="104334" y="320300"/>
                    <a:pt x="131611" y="323702"/>
                  </a:cubicBezTo>
                  <a:cubicBezTo>
                    <a:pt x="169870" y="328477"/>
                    <a:pt x="199594" y="321613"/>
                    <a:pt x="220783" y="303051"/>
                  </a:cubicBezTo>
                  <a:lnTo>
                    <a:pt x="217620" y="328656"/>
                  </a:lnTo>
                  <a:lnTo>
                    <a:pt x="339858" y="343876"/>
                  </a:lnTo>
                  <a:lnTo>
                    <a:pt x="378595" y="32849"/>
                  </a:lnTo>
                  <a:lnTo>
                    <a:pt x="250089" y="16853"/>
                  </a:lnTo>
                  <a:lnTo>
                    <a:pt x="247463" y="37863"/>
                  </a:lnTo>
                  <a:cubicBezTo>
                    <a:pt x="231467" y="17808"/>
                    <a:pt x="206220" y="5572"/>
                    <a:pt x="171780" y="1275"/>
                  </a:cubicBezTo>
                  <a:cubicBezTo>
                    <a:pt x="144503" y="-2127"/>
                    <a:pt x="118540" y="1275"/>
                    <a:pt x="94008" y="11541"/>
                  </a:cubicBezTo>
                  <a:cubicBezTo>
                    <a:pt x="69418" y="21747"/>
                    <a:pt x="48885" y="38281"/>
                    <a:pt x="32412" y="61021"/>
                  </a:cubicBezTo>
                  <a:cubicBezTo>
                    <a:pt x="15938" y="83822"/>
                    <a:pt x="5672" y="111277"/>
                    <a:pt x="1673" y="143508"/>
                  </a:cubicBezTo>
                  <a:cubicBezTo>
                    <a:pt x="-2326" y="175739"/>
                    <a:pt x="838" y="204986"/>
                    <a:pt x="11223" y="231307"/>
                  </a:cubicBezTo>
                  <a:cubicBezTo>
                    <a:pt x="21609" y="257629"/>
                    <a:pt x="37485" y="278758"/>
                    <a:pt x="58793" y="294695"/>
                  </a:cubicBezTo>
                  <a:close/>
                  <a:moveTo>
                    <a:pt x="131790" y="159743"/>
                  </a:moveTo>
                  <a:cubicBezTo>
                    <a:pt x="134178" y="140405"/>
                    <a:pt x="140803" y="126020"/>
                    <a:pt x="151606" y="116590"/>
                  </a:cubicBezTo>
                  <a:cubicBezTo>
                    <a:pt x="162409" y="107159"/>
                    <a:pt x="175182" y="103339"/>
                    <a:pt x="189985" y="105189"/>
                  </a:cubicBezTo>
                  <a:cubicBezTo>
                    <a:pt x="204787" y="107040"/>
                    <a:pt x="216247" y="113844"/>
                    <a:pt x="224424" y="125662"/>
                  </a:cubicBezTo>
                  <a:cubicBezTo>
                    <a:pt x="232541" y="137480"/>
                    <a:pt x="235466" y="152998"/>
                    <a:pt x="233019" y="172337"/>
                  </a:cubicBezTo>
                  <a:cubicBezTo>
                    <a:pt x="230631" y="191675"/>
                    <a:pt x="224006" y="206120"/>
                    <a:pt x="213203" y="215789"/>
                  </a:cubicBezTo>
                  <a:cubicBezTo>
                    <a:pt x="202400" y="225398"/>
                    <a:pt x="189567" y="229278"/>
                    <a:pt x="174765" y="227487"/>
                  </a:cubicBezTo>
                  <a:cubicBezTo>
                    <a:pt x="159962" y="225637"/>
                    <a:pt x="148502" y="218713"/>
                    <a:pt x="140385" y="206776"/>
                  </a:cubicBezTo>
                  <a:cubicBezTo>
                    <a:pt x="132268" y="194779"/>
                    <a:pt x="129403" y="179141"/>
                    <a:pt x="131790" y="159803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7ECE0273-6EE3-462D-214B-AB496F5B5ADA}"/>
                </a:ext>
              </a:extLst>
            </p:cNvPr>
            <p:cNvSpPr/>
            <p:nvPr/>
          </p:nvSpPr>
          <p:spPr>
            <a:xfrm>
              <a:off x="6372945" y="0"/>
              <a:ext cx="185983" cy="115553"/>
            </a:xfrm>
            <a:custGeom>
              <a:avLst/>
              <a:gdLst>
                <a:gd name="connsiteX0" fmla="*/ 185984 w 185983"/>
                <a:gd name="connsiteY0" fmla="*/ 115553 h 115553"/>
                <a:gd name="connsiteX1" fmla="*/ 122238 w 185983"/>
                <a:gd name="connsiteY1" fmla="*/ 15220 h 115553"/>
                <a:gd name="connsiteX2" fmla="*/ 0 w 185983"/>
                <a:gd name="connsiteY2" fmla="*/ 0 h 115553"/>
                <a:gd name="connsiteX3" fmla="*/ 100691 w 185983"/>
                <a:gd name="connsiteY3" fmla="*/ 104929 h 115553"/>
                <a:gd name="connsiteX4" fmla="*/ 185984 w 185983"/>
                <a:gd name="connsiteY4" fmla="*/ 115553 h 115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983" h="115553">
                  <a:moveTo>
                    <a:pt x="185984" y="115553"/>
                  </a:moveTo>
                  <a:lnTo>
                    <a:pt x="122238" y="15220"/>
                  </a:lnTo>
                  <a:lnTo>
                    <a:pt x="0" y="0"/>
                  </a:lnTo>
                  <a:lnTo>
                    <a:pt x="100691" y="104929"/>
                  </a:lnTo>
                  <a:lnTo>
                    <a:pt x="185984" y="115553"/>
                  </a:ln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33F38601-53E4-4213-8BCF-28E1A8E649FC}"/>
                </a:ext>
              </a:extLst>
            </p:cNvPr>
            <p:cNvSpPr/>
            <p:nvPr/>
          </p:nvSpPr>
          <p:spPr>
            <a:xfrm>
              <a:off x="6824117" y="215349"/>
              <a:ext cx="580920" cy="474568"/>
            </a:xfrm>
            <a:custGeom>
              <a:avLst/>
              <a:gdLst>
                <a:gd name="connsiteX0" fmla="*/ 172853 w 580920"/>
                <a:gd name="connsiteY0" fmla="*/ 194280 h 474568"/>
                <a:gd name="connsiteX1" fmla="*/ 197802 w 580920"/>
                <a:gd name="connsiteY1" fmla="*/ 156916 h 474568"/>
                <a:gd name="connsiteX2" fmla="*/ 230212 w 580920"/>
                <a:gd name="connsiteY2" fmla="*/ 153693 h 474568"/>
                <a:gd name="connsiteX3" fmla="*/ 245372 w 580920"/>
                <a:gd name="connsiteY3" fmla="*/ 216066 h 474568"/>
                <a:gd name="connsiteX4" fmla="*/ 193564 w 580920"/>
                <a:gd name="connsiteY4" fmla="*/ 363671 h 474568"/>
                <a:gd name="connsiteX5" fmla="*/ 315743 w 580920"/>
                <a:gd name="connsiteY5" fmla="*/ 406586 h 474568"/>
                <a:gd name="connsiteX6" fmla="*/ 366417 w 580920"/>
                <a:gd name="connsiteY6" fmla="*/ 262263 h 474568"/>
                <a:gd name="connsiteX7" fmla="*/ 391366 w 580920"/>
                <a:gd name="connsiteY7" fmla="*/ 224899 h 474568"/>
                <a:gd name="connsiteX8" fmla="*/ 423775 w 580920"/>
                <a:gd name="connsiteY8" fmla="*/ 221676 h 474568"/>
                <a:gd name="connsiteX9" fmla="*/ 438936 w 580920"/>
                <a:gd name="connsiteY9" fmla="*/ 284049 h 474568"/>
                <a:gd name="connsiteX10" fmla="*/ 387128 w 580920"/>
                <a:gd name="connsiteY10" fmla="*/ 431654 h 474568"/>
                <a:gd name="connsiteX11" fmla="*/ 509307 w 580920"/>
                <a:gd name="connsiteY11" fmla="*/ 474569 h 474568"/>
                <a:gd name="connsiteX12" fmla="*/ 568516 w 580920"/>
                <a:gd name="connsiteY12" fmla="*/ 305894 h 474568"/>
                <a:gd name="connsiteX13" fmla="*/ 571261 w 580920"/>
                <a:gd name="connsiteY13" fmla="*/ 195116 h 474568"/>
                <a:gd name="connsiteX14" fmla="*/ 497131 w 580920"/>
                <a:gd name="connsiteY14" fmla="*/ 132027 h 474568"/>
                <a:gd name="connsiteX15" fmla="*/ 437384 w 580920"/>
                <a:gd name="connsiteY15" fmla="*/ 124089 h 474568"/>
                <a:gd name="connsiteX16" fmla="*/ 382472 w 580920"/>
                <a:gd name="connsiteY16" fmla="*/ 142174 h 474568"/>
                <a:gd name="connsiteX17" fmla="*/ 355434 w 580920"/>
                <a:gd name="connsiteY17" fmla="*/ 94723 h 474568"/>
                <a:gd name="connsiteX18" fmla="*/ 305775 w 580920"/>
                <a:gd name="connsiteY18" fmla="*/ 64820 h 474568"/>
                <a:gd name="connsiteX19" fmla="*/ 210396 w 580920"/>
                <a:gd name="connsiteY19" fmla="*/ 68401 h 474568"/>
                <a:gd name="connsiteX20" fmla="*/ 220065 w 580920"/>
                <a:gd name="connsiteY20" fmla="*/ 40826 h 474568"/>
                <a:gd name="connsiteX21" fmla="*/ 103855 w 580920"/>
                <a:gd name="connsiteY21" fmla="*/ 0 h 474568"/>
                <a:gd name="connsiteX22" fmla="*/ 0 w 580920"/>
                <a:gd name="connsiteY22" fmla="*/ 295748 h 474568"/>
                <a:gd name="connsiteX23" fmla="*/ 122179 w 580920"/>
                <a:gd name="connsiteY23" fmla="*/ 338662 h 474568"/>
                <a:gd name="connsiteX24" fmla="*/ 172853 w 580920"/>
                <a:gd name="connsiteY24" fmla="*/ 194340 h 474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80920" h="474568">
                  <a:moveTo>
                    <a:pt x="172853" y="194280"/>
                  </a:moveTo>
                  <a:cubicBezTo>
                    <a:pt x="179418" y="175539"/>
                    <a:pt x="187774" y="163064"/>
                    <a:pt x="197802" y="156916"/>
                  </a:cubicBezTo>
                  <a:cubicBezTo>
                    <a:pt x="207889" y="150709"/>
                    <a:pt x="218692" y="149694"/>
                    <a:pt x="230212" y="153693"/>
                  </a:cubicBezTo>
                  <a:cubicBezTo>
                    <a:pt x="252176" y="161393"/>
                    <a:pt x="257250" y="182223"/>
                    <a:pt x="245372" y="216066"/>
                  </a:cubicBezTo>
                  <a:lnTo>
                    <a:pt x="193564" y="363671"/>
                  </a:lnTo>
                  <a:lnTo>
                    <a:pt x="315743" y="406586"/>
                  </a:lnTo>
                  <a:lnTo>
                    <a:pt x="366417" y="262263"/>
                  </a:lnTo>
                  <a:cubicBezTo>
                    <a:pt x="372982" y="243522"/>
                    <a:pt x="381338" y="231047"/>
                    <a:pt x="391366" y="224899"/>
                  </a:cubicBezTo>
                  <a:cubicBezTo>
                    <a:pt x="401453" y="218692"/>
                    <a:pt x="412256" y="217677"/>
                    <a:pt x="423775" y="221676"/>
                  </a:cubicBezTo>
                  <a:cubicBezTo>
                    <a:pt x="445740" y="229376"/>
                    <a:pt x="450814" y="250207"/>
                    <a:pt x="438936" y="284049"/>
                  </a:cubicBezTo>
                  <a:lnTo>
                    <a:pt x="387128" y="431654"/>
                  </a:lnTo>
                  <a:lnTo>
                    <a:pt x="509307" y="474569"/>
                  </a:lnTo>
                  <a:lnTo>
                    <a:pt x="568516" y="305894"/>
                  </a:lnTo>
                  <a:cubicBezTo>
                    <a:pt x="584094" y="261547"/>
                    <a:pt x="584989" y="224661"/>
                    <a:pt x="571261" y="195116"/>
                  </a:cubicBezTo>
                  <a:cubicBezTo>
                    <a:pt x="557534" y="165631"/>
                    <a:pt x="532823" y="144561"/>
                    <a:pt x="497131" y="132027"/>
                  </a:cubicBezTo>
                  <a:cubicBezTo>
                    <a:pt x="476956" y="124924"/>
                    <a:pt x="457021" y="122298"/>
                    <a:pt x="437384" y="124089"/>
                  </a:cubicBezTo>
                  <a:cubicBezTo>
                    <a:pt x="417747" y="125879"/>
                    <a:pt x="399423" y="131908"/>
                    <a:pt x="382472" y="142174"/>
                  </a:cubicBezTo>
                  <a:cubicBezTo>
                    <a:pt x="377698" y="123492"/>
                    <a:pt x="368685" y="107675"/>
                    <a:pt x="355434" y="94723"/>
                  </a:cubicBezTo>
                  <a:cubicBezTo>
                    <a:pt x="342184" y="81771"/>
                    <a:pt x="325591" y="71803"/>
                    <a:pt x="305775" y="64820"/>
                  </a:cubicBezTo>
                  <a:cubicBezTo>
                    <a:pt x="271873" y="52942"/>
                    <a:pt x="240119" y="54136"/>
                    <a:pt x="210396" y="68401"/>
                  </a:cubicBezTo>
                  <a:lnTo>
                    <a:pt x="220065" y="40826"/>
                  </a:lnTo>
                  <a:lnTo>
                    <a:pt x="103855" y="0"/>
                  </a:lnTo>
                  <a:lnTo>
                    <a:pt x="0" y="295748"/>
                  </a:lnTo>
                  <a:lnTo>
                    <a:pt x="122179" y="338662"/>
                  </a:lnTo>
                  <a:lnTo>
                    <a:pt x="172853" y="194340"/>
                  </a:ln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6A7C1CBC-E3F4-CF60-3B81-8585199608BA}"/>
                </a:ext>
              </a:extLst>
            </p:cNvPr>
            <p:cNvSpPr/>
            <p:nvPr/>
          </p:nvSpPr>
          <p:spPr>
            <a:xfrm rot="17789402">
              <a:off x="7340097" y="542711"/>
              <a:ext cx="313414" cy="129520"/>
            </a:xfrm>
            <a:custGeom>
              <a:avLst/>
              <a:gdLst>
                <a:gd name="connsiteX0" fmla="*/ 0 w 313414"/>
                <a:gd name="connsiteY0" fmla="*/ 0 h 129520"/>
                <a:gd name="connsiteX1" fmla="*/ 313415 w 313414"/>
                <a:gd name="connsiteY1" fmla="*/ 0 h 129520"/>
                <a:gd name="connsiteX2" fmla="*/ 313415 w 313414"/>
                <a:gd name="connsiteY2" fmla="*/ 129520 h 129520"/>
                <a:gd name="connsiteX3" fmla="*/ 0 w 313414"/>
                <a:gd name="connsiteY3" fmla="*/ 129520 h 12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3414" h="129520">
                  <a:moveTo>
                    <a:pt x="0" y="0"/>
                  </a:moveTo>
                  <a:lnTo>
                    <a:pt x="313415" y="0"/>
                  </a:lnTo>
                  <a:lnTo>
                    <a:pt x="313415" y="129520"/>
                  </a:lnTo>
                  <a:lnTo>
                    <a:pt x="0" y="129520"/>
                  </a:ln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A41A8DC4-B12B-B9F5-8C07-028480BF54C5}"/>
                </a:ext>
              </a:extLst>
            </p:cNvPr>
            <p:cNvSpPr/>
            <p:nvPr/>
          </p:nvSpPr>
          <p:spPr>
            <a:xfrm>
              <a:off x="7530958" y="316107"/>
              <a:ext cx="154050" cy="139320"/>
            </a:xfrm>
            <a:custGeom>
              <a:avLst/>
              <a:gdLst>
                <a:gd name="connsiteX0" fmla="*/ 47240 w 154050"/>
                <a:gd name="connsiteY0" fmla="*/ 128678 h 139320"/>
                <a:gd name="connsiteX1" fmla="*/ 106569 w 154050"/>
                <a:gd name="connsiteY1" fmla="*/ 136795 h 139320"/>
                <a:gd name="connsiteX2" fmla="*/ 147394 w 154050"/>
                <a:gd name="connsiteY2" fmla="*/ 102416 h 139320"/>
                <a:gd name="connsiteX3" fmla="*/ 148887 w 154050"/>
                <a:gd name="connsiteY3" fmla="*/ 51921 h 139320"/>
                <a:gd name="connsiteX4" fmla="*/ 106032 w 154050"/>
                <a:gd name="connsiteY4" fmla="*/ 10737 h 139320"/>
                <a:gd name="connsiteX5" fmla="*/ 47240 w 154050"/>
                <a:gd name="connsiteY5" fmla="*/ 2202 h 139320"/>
                <a:gd name="connsiteX6" fmla="*/ 6892 w 154050"/>
                <a:gd name="connsiteY6" fmla="*/ 34910 h 139320"/>
                <a:gd name="connsiteX7" fmla="*/ 5042 w 154050"/>
                <a:gd name="connsiteY7" fmla="*/ 86778 h 139320"/>
                <a:gd name="connsiteX8" fmla="*/ 47240 w 154050"/>
                <a:gd name="connsiteY8" fmla="*/ 128618 h 139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4050" h="139320">
                  <a:moveTo>
                    <a:pt x="47240" y="128678"/>
                  </a:moveTo>
                  <a:cubicBezTo>
                    <a:pt x="68429" y="139242"/>
                    <a:pt x="88185" y="141928"/>
                    <a:pt x="106569" y="136795"/>
                  </a:cubicBezTo>
                  <a:cubicBezTo>
                    <a:pt x="124893" y="131662"/>
                    <a:pt x="138561" y="120202"/>
                    <a:pt x="147394" y="102416"/>
                  </a:cubicBezTo>
                  <a:cubicBezTo>
                    <a:pt x="155751" y="85644"/>
                    <a:pt x="156228" y="68812"/>
                    <a:pt x="148887" y="51921"/>
                  </a:cubicBezTo>
                  <a:cubicBezTo>
                    <a:pt x="141485" y="35029"/>
                    <a:pt x="127220" y="21301"/>
                    <a:pt x="106032" y="10737"/>
                  </a:cubicBezTo>
                  <a:cubicBezTo>
                    <a:pt x="85201" y="351"/>
                    <a:pt x="65564" y="-2514"/>
                    <a:pt x="47240" y="2202"/>
                  </a:cubicBezTo>
                  <a:cubicBezTo>
                    <a:pt x="28857" y="6917"/>
                    <a:pt x="15427" y="17840"/>
                    <a:pt x="6892" y="34910"/>
                  </a:cubicBezTo>
                  <a:cubicBezTo>
                    <a:pt x="-1643" y="52040"/>
                    <a:pt x="-2240" y="69289"/>
                    <a:pt x="5042" y="86778"/>
                  </a:cubicBezTo>
                  <a:cubicBezTo>
                    <a:pt x="12323" y="104266"/>
                    <a:pt x="26410" y="118233"/>
                    <a:pt x="47240" y="128618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5A953276-5A61-A825-7D0D-59632156EF9F}"/>
                </a:ext>
              </a:extLst>
            </p:cNvPr>
            <p:cNvSpPr/>
            <p:nvPr/>
          </p:nvSpPr>
          <p:spPr>
            <a:xfrm>
              <a:off x="7526151" y="564890"/>
              <a:ext cx="389216" cy="337825"/>
            </a:xfrm>
            <a:custGeom>
              <a:avLst/>
              <a:gdLst>
                <a:gd name="connsiteX0" fmla="*/ 100513 w 389216"/>
                <a:gd name="connsiteY0" fmla="*/ 44152 h 337825"/>
                <a:gd name="connsiteX1" fmla="*/ 87381 w 389216"/>
                <a:gd name="connsiteY1" fmla="*/ 105212 h 337825"/>
                <a:gd name="connsiteX2" fmla="*/ 113464 w 389216"/>
                <a:gd name="connsiteY2" fmla="*/ 153438 h 337825"/>
                <a:gd name="connsiteX3" fmla="*/ 163303 w 389216"/>
                <a:gd name="connsiteY3" fmla="*/ 197248 h 337825"/>
                <a:gd name="connsiteX4" fmla="*/ 191475 w 389216"/>
                <a:gd name="connsiteY4" fmla="*/ 220944 h 337825"/>
                <a:gd name="connsiteX5" fmla="*/ 195713 w 389216"/>
                <a:gd name="connsiteY5" fmla="*/ 235567 h 337825"/>
                <a:gd name="connsiteX6" fmla="*/ 182343 w 389216"/>
                <a:gd name="connsiteY6" fmla="*/ 240521 h 337825"/>
                <a:gd name="connsiteX7" fmla="*/ 153693 w 389216"/>
                <a:gd name="connsiteY7" fmla="*/ 227569 h 337825"/>
                <a:gd name="connsiteX8" fmla="*/ 108033 w 389216"/>
                <a:gd name="connsiteY8" fmla="*/ 191280 h 337825"/>
                <a:gd name="connsiteX9" fmla="*/ 74549 w 389216"/>
                <a:gd name="connsiteY9" fmla="*/ 146933 h 337825"/>
                <a:gd name="connsiteX10" fmla="*/ 0 w 389216"/>
                <a:gd name="connsiteY10" fmla="*/ 201665 h 337825"/>
                <a:gd name="connsiteX11" fmla="*/ 42378 w 389216"/>
                <a:gd name="connsiteY11" fmla="*/ 253414 h 337825"/>
                <a:gd name="connsiteX12" fmla="*/ 105586 w 389216"/>
                <a:gd name="connsiteY12" fmla="*/ 301640 h 337825"/>
                <a:gd name="connsiteX13" fmla="*/ 189028 w 389216"/>
                <a:gd name="connsiteY13" fmla="*/ 335304 h 337825"/>
                <a:gd name="connsiteX14" fmla="*/ 255937 w 389216"/>
                <a:gd name="connsiteY14" fmla="*/ 330887 h 337825"/>
                <a:gd name="connsiteX15" fmla="*/ 299209 w 389216"/>
                <a:gd name="connsiteY15" fmla="*/ 294777 h 337825"/>
                <a:gd name="connsiteX16" fmla="*/ 312341 w 389216"/>
                <a:gd name="connsiteY16" fmla="*/ 233717 h 337825"/>
                <a:gd name="connsiteX17" fmla="*/ 286616 w 389216"/>
                <a:gd name="connsiteY17" fmla="*/ 185371 h 337825"/>
                <a:gd name="connsiteX18" fmla="*/ 237195 w 389216"/>
                <a:gd name="connsiteY18" fmla="*/ 141441 h 337825"/>
                <a:gd name="connsiteX19" fmla="*/ 209381 w 389216"/>
                <a:gd name="connsiteY19" fmla="*/ 117626 h 337825"/>
                <a:gd name="connsiteX20" fmla="*/ 205024 w 389216"/>
                <a:gd name="connsiteY20" fmla="*/ 102645 h 337825"/>
                <a:gd name="connsiteX21" fmla="*/ 249013 w 389216"/>
                <a:gd name="connsiteY21" fmla="*/ 111837 h 337825"/>
                <a:gd name="connsiteX22" fmla="*/ 314668 w 389216"/>
                <a:gd name="connsiteY22" fmla="*/ 178268 h 337825"/>
                <a:gd name="connsiteX23" fmla="*/ 389217 w 389216"/>
                <a:gd name="connsiteY23" fmla="*/ 123535 h 337825"/>
                <a:gd name="connsiteX24" fmla="*/ 349346 w 389216"/>
                <a:gd name="connsiteY24" fmla="*/ 77040 h 337825"/>
                <a:gd name="connsiteX25" fmla="*/ 293181 w 389216"/>
                <a:gd name="connsiteY25" fmla="*/ 35378 h 337825"/>
                <a:gd name="connsiteX26" fmla="*/ 210993 w 389216"/>
                <a:gd name="connsiteY26" fmla="*/ 2431 h 337825"/>
                <a:gd name="connsiteX27" fmla="*/ 144322 w 389216"/>
                <a:gd name="connsiteY27" fmla="*/ 6967 h 337825"/>
                <a:gd name="connsiteX28" fmla="*/ 100453 w 389216"/>
                <a:gd name="connsiteY28" fmla="*/ 44092 h 337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89216" h="337825">
                  <a:moveTo>
                    <a:pt x="100513" y="44152"/>
                  </a:moveTo>
                  <a:cubicBezTo>
                    <a:pt x="87262" y="66057"/>
                    <a:pt x="82905" y="86410"/>
                    <a:pt x="87381" y="105212"/>
                  </a:cubicBezTo>
                  <a:cubicBezTo>
                    <a:pt x="91858" y="124013"/>
                    <a:pt x="100572" y="140069"/>
                    <a:pt x="113464" y="153438"/>
                  </a:cubicBezTo>
                  <a:cubicBezTo>
                    <a:pt x="126357" y="166808"/>
                    <a:pt x="142950" y="181432"/>
                    <a:pt x="163303" y="197248"/>
                  </a:cubicBezTo>
                  <a:cubicBezTo>
                    <a:pt x="176673" y="207574"/>
                    <a:pt x="186103" y="215453"/>
                    <a:pt x="191475" y="220944"/>
                  </a:cubicBezTo>
                  <a:cubicBezTo>
                    <a:pt x="196847" y="226435"/>
                    <a:pt x="198279" y="231330"/>
                    <a:pt x="195713" y="235567"/>
                  </a:cubicBezTo>
                  <a:cubicBezTo>
                    <a:pt x="193146" y="239805"/>
                    <a:pt x="188670" y="241476"/>
                    <a:pt x="182343" y="240521"/>
                  </a:cubicBezTo>
                  <a:cubicBezTo>
                    <a:pt x="176016" y="239566"/>
                    <a:pt x="166466" y="235269"/>
                    <a:pt x="153693" y="227569"/>
                  </a:cubicBezTo>
                  <a:cubicBezTo>
                    <a:pt x="137697" y="217900"/>
                    <a:pt x="122417" y="205784"/>
                    <a:pt x="108033" y="191280"/>
                  </a:cubicBezTo>
                  <a:cubicBezTo>
                    <a:pt x="93589" y="176776"/>
                    <a:pt x="82427" y="161974"/>
                    <a:pt x="74549" y="146933"/>
                  </a:cubicBezTo>
                  <a:lnTo>
                    <a:pt x="0" y="201665"/>
                  </a:lnTo>
                  <a:cubicBezTo>
                    <a:pt x="9013" y="217781"/>
                    <a:pt x="23099" y="235030"/>
                    <a:pt x="42378" y="253414"/>
                  </a:cubicBezTo>
                  <a:cubicBezTo>
                    <a:pt x="61656" y="271737"/>
                    <a:pt x="82726" y="287853"/>
                    <a:pt x="105586" y="301640"/>
                  </a:cubicBezTo>
                  <a:cubicBezTo>
                    <a:pt x="135310" y="319606"/>
                    <a:pt x="163124" y="330827"/>
                    <a:pt x="189028" y="335304"/>
                  </a:cubicBezTo>
                  <a:cubicBezTo>
                    <a:pt x="214872" y="339780"/>
                    <a:pt x="237195" y="338288"/>
                    <a:pt x="255937" y="330887"/>
                  </a:cubicBezTo>
                  <a:cubicBezTo>
                    <a:pt x="274678" y="323486"/>
                    <a:pt x="289122" y="311429"/>
                    <a:pt x="299209" y="294777"/>
                  </a:cubicBezTo>
                  <a:cubicBezTo>
                    <a:pt x="312460" y="272872"/>
                    <a:pt x="316817" y="252518"/>
                    <a:pt x="312341" y="233717"/>
                  </a:cubicBezTo>
                  <a:cubicBezTo>
                    <a:pt x="307864" y="214916"/>
                    <a:pt x="299269" y="198800"/>
                    <a:pt x="286616" y="185371"/>
                  </a:cubicBezTo>
                  <a:cubicBezTo>
                    <a:pt x="273962" y="171941"/>
                    <a:pt x="257488" y="157318"/>
                    <a:pt x="237195" y="141441"/>
                  </a:cubicBezTo>
                  <a:cubicBezTo>
                    <a:pt x="224123" y="131295"/>
                    <a:pt x="214872" y="123356"/>
                    <a:pt x="209381" y="117626"/>
                  </a:cubicBezTo>
                  <a:cubicBezTo>
                    <a:pt x="203890" y="111897"/>
                    <a:pt x="202457" y="106883"/>
                    <a:pt x="205024" y="102645"/>
                  </a:cubicBezTo>
                  <a:cubicBezTo>
                    <a:pt x="210157" y="94170"/>
                    <a:pt x="224840" y="97214"/>
                    <a:pt x="249013" y="111837"/>
                  </a:cubicBezTo>
                  <a:cubicBezTo>
                    <a:pt x="277125" y="128848"/>
                    <a:pt x="299031" y="150991"/>
                    <a:pt x="314668" y="178268"/>
                  </a:cubicBezTo>
                  <a:lnTo>
                    <a:pt x="389217" y="123535"/>
                  </a:lnTo>
                  <a:cubicBezTo>
                    <a:pt x="379846" y="108077"/>
                    <a:pt x="366536" y="92558"/>
                    <a:pt x="349346" y="77040"/>
                  </a:cubicBezTo>
                  <a:cubicBezTo>
                    <a:pt x="332157" y="61521"/>
                    <a:pt x="313415" y="47674"/>
                    <a:pt x="293181" y="35378"/>
                  </a:cubicBezTo>
                  <a:cubicBezTo>
                    <a:pt x="264054" y="17771"/>
                    <a:pt x="236658" y="6848"/>
                    <a:pt x="210993" y="2431"/>
                  </a:cubicBezTo>
                  <a:cubicBezTo>
                    <a:pt x="185268" y="-1926"/>
                    <a:pt x="163064" y="-434"/>
                    <a:pt x="144322" y="6967"/>
                  </a:cubicBezTo>
                  <a:cubicBezTo>
                    <a:pt x="125581" y="14368"/>
                    <a:pt x="110958" y="26724"/>
                    <a:pt x="100453" y="44092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21824D94-2102-F6D9-C3B9-805CE6D43669}"/>
                </a:ext>
              </a:extLst>
            </p:cNvPr>
            <p:cNvSpPr/>
            <p:nvPr/>
          </p:nvSpPr>
          <p:spPr>
            <a:xfrm>
              <a:off x="7796831" y="748438"/>
              <a:ext cx="395245" cy="340577"/>
            </a:xfrm>
            <a:custGeom>
              <a:avLst/>
              <a:gdLst>
                <a:gd name="connsiteX0" fmla="*/ 96752 w 395245"/>
                <a:gd name="connsiteY0" fmla="*/ 95233 h 340577"/>
                <a:gd name="connsiteX1" fmla="*/ 117762 w 395245"/>
                <a:gd name="connsiteY1" fmla="*/ 145847 h 340577"/>
                <a:gd name="connsiteX2" fmla="*/ 162885 w 395245"/>
                <a:gd name="connsiteY2" fmla="*/ 194551 h 340577"/>
                <a:gd name="connsiteX3" fmla="*/ 188490 w 395245"/>
                <a:gd name="connsiteY3" fmla="*/ 221052 h 340577"/>
                <a:gd name="connsiteX4" fmla="*/ 191236 w 395245"/>
                <a:gd name="connsiteY4" fmla="*/ 236033 h 340577"/>
                <a:gd name="connsiteX5" fmla="*/ 177389 w 395245"/>
                <a:gd name="connsiteY5" fmla="*/ 239615 h 340577"/>
                <a:gd name="connsiteX6" fmla="*/ 150231 w 395245"/>
                <a:gd name="connsiteY6" fmla="*/ 223798 h 340577"/>
                <a:gd name="connsiteX7" fmla="*/ 108510 w 395245"/>
                <a:gd name="connsiteY7" fmla="*/ 183032 h 340577"/>
                <a:gd name="connsiteX8" fmla="*/ 79741 w 395245"/>
                <a:gd name="connsiteY8" fmla="*/ 135521 h 340577"/>
                <a:gd name="connsiteX9" fmla="*/ 0 w 395245"/>
                <a:gd name="connsiteY9" fmla="*/ 182315 h 340577"/>
                <a:gd name="connsiteX10" fmla="*/ 36886 w 395245"/>
                <a:gd name="connsiteY10" fmla="*/ 238122 h 340577"/>
                <a:gd name="connsiteX11" fmla="*/ 94842 w 395245"/>
                <a:gd name="connsiteY11" fmla="*/ 292557 h 340577"/>
                <a:gd name="connsiteX12" fmla="*/ 174404 w 395245"/>
                <a:gd name="connsiteY12" fmla="*/ 334576 h 340577"/>
                <a:gd name="connsiteX13" fmla="*/ 241432 w 395245"/>
                <a:gd name="connsiteY13" fmla="*/ 337023 h 340577"/>
                <a:gd name="connsiteX14" fmla="*/ 288167 w 395245"/>
                <a:gd name="connsiteY14" fmla="*/ 305509 h 340577"/>
                <a:gd name="connsiteX15" fmla="*/ 307446 w 395245"/>
                <a:gd name="connsiteY15" fmla="*/ 246121 h 340577"/>
                <a:gd name="connsiteX16" fmla="*/ 286794 w 395245"/>
                <a:gd name="connsiteY16" fmla="*/ 195447 h 340577"/>
                <a:gd name="connsiteX17" fmla="*/ 242089 w 395245"/>
                <a:gd name="connsiteY17" fmla="*/ 146683 h 340577"/>
                <a:gd name="connsiteX18" fmla="*/ 216901 w 395245"/>
                <a:gd name="connsiteY18" fmla="*/ 120182 h 340577"/>
                <a:gd name="connsiteX19" fmla="*/ 214156 w 395245"/>
                <a:gd name="connsiteY19" fmla="*/ 104842 h 340577"/>
                <a:gd name="connsiteX20" fmla="*/ 257011 w 395245"/>
                <a:gd name="connsiteY20" fmla="*/ 118451 h 340577"/>
                <a:gd name="connsiteX21" fmla="*/ 315504 w 395245"/>
                <a:gd name="connsiteY21" fmla="*/ 191268 h 340577"/>
                <a:gd name="connsiteX22" fmla="*/ 395245 w 395245"/>
                <a:gd name="connsiteY22" fmla="*/ 144474 h 340577"/>
                <a:gd name="connsiteX23" fmla="*/ 360328 w 395245"/>
                <a:gd name="connsiteY23" fmla="*/ 94158 h 340577"/>
                <a:gd name="connsiteX24" fmla="*/ 308699 w 395245"/>
                <a:gd name="connsiteY24" fmla="*/ 47006 h 340577"/>
                <a:gd name="connsiteX25" fmla="*/ 230271 w 395245"/>
                <a:gd name="connsiteY25" fmla="*/ 5882 h 340577"/>
                <a:gd name="connsiteX26" fmla="*/ 163482 w 395245"/>
                <a:gd name="connsiteY26" fmla="*/ 3614 h 340577"/>
                <a:gd name="connsiteX27" fmla="*/ 116090 w 395245"/>
                <a:gd name="connsiteY27" fmla="*/ 36083 h 340577"/>
                <a:gd name="connsiteX28" fmla="*/ 96812 w 395245"/>
                <a:gd name="connsiteY28" fmla="*/ 95471 h 340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95245" h="340577">
                  <a:moveTo>
                    <a:pt x="96752" y="95233"/>
                  </a:moveTo>
                  <a:cubicBezTo>
                    <a:pt x="99318" y="114392"/>
                    <a:pt x="106302" y="131283"/>
                    <a:pt x="117762" y="145847"/>
                  </a:cubicBezTo>
                  <a:cubicBezTo>
                    <a:pt x="129221" y="160470"/>
                    <a:pt x="144263" y="176705"/>
                    <a:pt x="162885" y="194551"/>
                  </a:cubicBezTo>
                  <a:cubicBezTo>
                    <a:pt x="175180" y="206190"/>
                    <a:pt x="183715" y="215024"/>
                    <a:pt x="188490" y="221052"/>
                  </a:cubicBezTo>
                  <a:cubicBezTo>
                    <a:pt x="193266" y="227080"/>
                    <a:pt x="194220" y="232034"/>
                    <a:pt x="191236" y="236033"/>
                  </a:cubicBezTo>
                  <a:cubicBezTo>
                    <a:pt x="188252" y="239973"/>
                    <a:pt x="183656" y="241167"/>
                    <a:pt x="177389" y="239615"/>
                  </a:cubicBezTo>
                  <a:cubicBezTo>
                    <a:pt x="171181" y="238003"/>
                    <a:pt x="162109" y="232751"/>
                    <a:pt x="150231" y="223798"/>
                  </a:cubicBezTo>
                  <a:cubicBezTo>
                    <a:pt x="135250" y="212517"/>
                    <a:pt x="121343" y="198908"/>
                    <a:pt x="108510" y="183032"/>
                  </a:cubicBezTo>
                  <a:cubicBezTo>
                    <a:pt x="95618" y="167095"/>
                    <a:pt x="86008" y="151278"/>
                    <a:pt x="79741" y="135521"/>
                  </a:cubicBezTo>
                  <a:lnTo>
                    <a:pt x="0" y="182315"/>
                  </a:lnTo>
                  <a:cubicBezTo>
                    <a:pt x="7282" y="199266"/>
                    <a:pt x="19577" y="217889"/>
                    <a:pt x="36886" y="238122"/>
                  </a:cubicBezTo>
                  <a:cubicBezTo>
                    <a:pt x="54195" y="258356"/>
                    <a:pt x="73534" y="276501"/>
                    <a:pt x="94842" y="292557"/>
                  </a:cubicBezTo>
                  <a:cubicBezTo>
                    <a:pt x="122596" y="313447"/>
                    <a:pt x="149097" y="327473"/>
                    <a:pt x="174404" y="334576"/>
                  </a:cubicBezTo>
                  <a:cubicBezTo>
                    <a:pt x="199652" y="341679"/>
                    <a:pt x="222034" y="342455"/>
                    <a:pt x="241432" y="337023"/>
                  </a:cubicBezTo>
                  <a:cubicBezTo>
                    <a:pt x="260831" y="331592"/>
                    <a:pt x="276409" y="321087"/>
                    <a:pt x="288167" y="305509"/>
                  </a:cubicBezTo>
                  <a:cubicBezTo>
                    <a:pt x="303566" y="285096"/>
                    <a:pt x="310013" y="265280"/>
                    <a:pt x="307446" y="246121"/>
                  </a:cubicBezTo>
                  <a:cubicBezTo>
                    <a:pt x="304879" y="226961"/>
                    <a:pt x="298016" y="210070"/>
                    <a:pt x="286794" y="195447"/>
                  </a:cubicBezTo>
                  <a:cubicBezTo>
                    <a:pt x="275573" y="180823"/>
                    <a:pt x="260711" y="164529"/>
                    <a:pt x="242089" y="146683"/>
                  </a:cubicBezTo>
                  <a:cubicBezTo>
                    <a:pt x="230092" y="135282"/>
                    <a:pt x="221736" y="126449"/>
                    <a:pt x="216901" y="120182"/>
                  </a:cubicBezTo>
                  <a:cubicBezTo>
                    <a:pt x="212067" y="113914"/>
                    <a:pt x="211112" y="108781"/>
                    <a:pt x="214156" y="104842"/>
                  </a:cubicBezTo>
                  <a:cubicBezTo>
                    <a:pt x="220125" y="96904"/>
                    <a:pt x="234389" y="101440"/>
                    <a:pt x="257011" y="118451"/>
                  </a:cubicBezTo>
                  <a:cubicBezTo>
                    <a:pt x="283273" y="138207"/>
                    <a:pt x="302731" y="162499"/>
                    <a:pt x="315504" y="191268"/>
                  </a:cubicBezTo>
                  <a:lnTo>
                    <a:pt x="395245" y="144474"/>
                  </a:lnTo>
                  <a:cubicBezTo>
                    <a:pt x="387486" y="128120"/>
                    <a:pt x="375847" y="111348"/>
                    <a:pt x="360328" y="94158"/>
                  </a:cubicBezTo>
                  <a:cubicBezTo>
                    <a:pt x="344810" y="76968"/>
                    <a:pt x="327620" y="61271"/>
                    <a:pt x="308699" y="47006"/>
                  </a:cubicBezTo>
                  <a:cubicBezTo>
                    <a:pt x="281542" y="26533"/>
                    <a:pt x="255399" y="12805"/>
                    <a:pt x="230271" y="5882"/>
                  </a:cubicBezTo>
                  <a:cubicBezTo>
                    <a:pt x="205143" y="-1102"/>
                    <a:pt x="182880" y="-1878"/>
                    <a:pt x="163482" y="3614"/>
                  </a:cubicBezTo>
                  <a:cubicBezTo>
                    <a:pt x="144083" y="9045"/>
                    <a:pt x="128267" y="19908"/>
                    <a:pt x="116090" y="36083"/>
                  </a:cubicBezTo>
                  <a:cubicBezTo>
                    <a:pt x="100691" y="56496"/>
                    <a:pt x="94245" y="76312"/>
                    <a:pt x="96812" y="95471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EFD29DF4-4FB6-4CF5-BE17-5F9D5A79E6D1}"/>
                </a:ext>
              </a:extLst>
            </p:cNvPr>
            <p:cNvSpPr/>
            <p:nvPr/>
          </p:nvSpPr>
          <p:spPr>
            <a:xfrm rot="18696601">
              <a:off x="8042077" y="1017191"/>
              <a:ext cx="313414" cy="129520"/>
            </a:xfrm>
            <a:custGeom>
              <a:avLst/>
              <a:gdLst>
                <a:gd name="connsiteX0" fmla="*/ 0 w 313414"/>
                <a:gd name="connsiteY0" fmla="*/ 0 h 129520"/>
                <a:gd name="connsiteX1" fmla="*/ 313415 w 313414"/>
                <a:gd name="connsiteY1" fmla="*/ 0 h 129520"/>
                <a:gd name="connsiteX2" fmla="*/ 313415 w 313414"/>
                <a:gd name="connsiteY2" fmla="*/ 129520 h 129520"/>
                <a:gd name="connsiteX3" fmla="*/ 0 w 313414"/>
                <a:gd name="connsiteY3" fmla="*/ 129520 h 12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3414" h="129520">
                  <a:moveTo>
                    <a:pt x="0" y="0"/>
                  </a:moveTo>
                  <a:lnTo>
                    <a:pt x="313415" y="0"/>
                  </a:lnTo>
                  <a:lnTo>
                    <a:pt x="313415" y="129520"/>
                  </a:lnTo>
                  <a:lnTo>
                    <a:pt x="0" y="129520"/>
                  </a:ln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AA23E107-C5AB-CC75-497B-3D5B45293E30}"/>
                </a:ext>
              </a:extLst>
            </p:cNvPr>
            <p:cNvSpPr/>
            <p:nvPr/>
          </p:nvSpPr>
          <p:spPr>
            <a:xfrm>
              <a:off x="8289425" y="824147"/>
              <a:ext cx="149300" cy="145465"/>
            </a:xfrm>
            <a:custGeom>
              <a:avLst/>
              <a:gdLst>
                <a:gd name="connsiteX0" fmla="*/ 30440 w 149300"/>
                <a:gd name="connsiteY0" fmla="*/ 122125 h 145465"/>
                <a:gd name="connsiteX1" fmla="*/ 85591 w 149300"/>
                <a:gd name="connsiteY1" fmla="*/ 145462 h 145465"/>
                <a:gd name="connsiteX2" fmla="*/ 133996 w 149300"/>
                <a:gd name="connsiteY2" fmla="*/ 122901 h 145465"/>
                <a:gd name="connsiteX3" fmla="*/ 148560 w 149300"/>
                <a:gd name="connsiteY3" fmla="*/ 74555 h 145465"/>
                <a:gd name="connsiteX4" fmla="*/ 117941 w 149300"/>
                <a:gd name="connsiteY4" fmla="*/ 23582 h 145465"/>
                <a:gd name="connsiteX5" fmla="*/ 63387 w 149300"/>
                <a:gd name="connsiteY5" fmla="*/ 6 h 145465"/>
                <a:gd name="connsiteX6" fmla="*/ 15936 w 149300"/>
                <a:gd name="connsiteY6" fmla="*/ 21075 h 145465"/>
                <a:gd name="connsiteX7" fmla="*/ 597 w 149300"/>
                <a:gd name="connsiteY7" fmla="*/ 70675 h 145465"/>
                <a:gd name="connsiteX8" fmla="*/ 30440 w 149300"/>
                <a:gd name="connsiteY8" fmla="*/ 122065 h 145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9300" h="145465">
                  <a:moveTo>
                    <a:pt x="30440" y="122125"/>
                  </a:moveTo>
                  <a:cubicBezTo>
                    <a:pt x="48167" y="137882"/>
                    <a:pt x="66550" y="145641"/>
                    <a:pt x="85591" y="145462"/>
                  </a:cubicBezTo>
                  <a:cubicBezTo>
                    <a:pt x="104631" y="145283"/>
                    <a:pt x="120805" y="137763"/>
                    <a:pt x="133996" y="122901"/>
                  </a:cubicBezTo>
                  <a:cubicBezTo>
                    <a:pt x="146411" y="108934"/>
                    <a:pt x="151306" y="92819"/>
                    <a:pt x="148560" y="74555"/>
                  </a:cubicBezTo>
                  <a:cubicBezTo>
                    <a:pt x="145874" y="56290"/>
                    <a:pt x="135667" y="39339"/>
                    <a:pt x="117941" y="23582"/>
                  </a:cubicBezTo>
                  <a:cubicBezTo>
                    <a:pt x="100512" y="8123"/>
                    <a:pt x="82308" y="245"/>
                    <a:pt x="63387" y="6"/>
                  </a:cubicBezTo>
                  <a:cubicBezTo>
                    <a:pt x="44407" y="-233"/>
                    <a:pt x="28590" y="6810"/>
                    <a:pt x="15936" y="21075"/>
                  </a:cubicBezTo>
                  <a:cubicBezTo>
                    <a:pt x="3223" y="35340"/>
                    <a:pt x="-1851" y="51874"/>
                    <a:pt x="597" y="70675"/>
                  </a:cubicBezTo>
                  <a:cubicBezTo>
                    <a:pt x="3044" y="89476"/>
                    <a:pt x="13011" y="106606"/>
                    <a:pt x="30440" y="122065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524041DB-F8C4-2FC9-43F0-8021D652FD59}"/>
                </a:ext>
              </a:extLst>
            </p:cNvPr>
            <p:cNvSpPr/>
            <p:nvPr/>
          </p:nvSpPr>
          <p:spPr>
            <a:xfrm>
              <a:off x="8234397" y="1110355"/>
              <a:ext cx="349667" cy="352174"/>
            </a:xfrm>
            <a:custGeom>
              <a:avLst/>
              <a:gdLst>
                <a:gd name="connsiteX0" fmla="*/ 127308 w 349667"/>
                <a:gd name="connsiteY0" fmla="*/ 2741 h 352174"/>
                <a:gd name="connsiteX1" fmla="*/ 50014 w 349667"/>
                <a:gd name="connsiteY1" fmla="*/ 43090 h 352174"/>
                <a:gd name="connsiteX2" fmla="*/ 4891 w 349667"/>
                <a:gd name="connsiteY2" fmla="*/ 117698 h 352174"/>
                <a:gd name="connsiteX3" fmla="*/ 7219 w 349667"/>
                <a:gd name="connsiteY3" fmla="*/ 204721 h 352174"/>
                <a:gd name="connsiteX4" fmla="*/ 56102 w 349667"/>
                <a:gd name="connsiteY4" fmla="*/ 287327 h 352174"/>
                <a:gd name="connsiteX5" fmla="*/ 135844 w 349667"/>
                <a:gd name="connsiteY5" fmla="*/ 341702 h 352174"/>
                <a:gd name="connsiteX6" fmla="*/ 222330 w 349667"/>
                <a:gd name="connsiteY6" fmla="*/ 349282 h 352174"/>
                <a:gd name="connsiteX7" fmla="*/ 299385 w 349667"/>
                <a:gd name="connsiteY7" fmla="*/ 308755 h 352174"/>
                <a:gd name="connsiteX8" fmla="*/ 344687 w 349667"/>
                <a:gd name="connsiteY8" fmla="*/ 234385 h 352174"/>
                <a:gd name="connsiteX9" fmla="*/ 342360 w 349667"/>
                <a:gd name="connsiteY9" fmla="*/ 147780 h 352174"/>
                <a:gd name="connsiteX10" fmla="*/ 292879 w 349667"/>
                <a:gd name="connsiteY10" fmla="*/ 64935 h 352174"/>
                <a:gd name="connsiteX11" fmla="*/ 213735 w 349667"/>
                <a:gd name="connsiteY11" fmla="*/ 10739 h 352174"/>
                <a:gd name="connsiteX12" fmla="*/ 127249 w 349667"/>
                <a:gd name="connsiteY12" fmla="*/ 2741 h 352174"/>
                <a:gd name="connsiteX13" fmla="*/ 219465 w 349667"/>
                <a:gd name="connsiteY13" fmla="*/ 133992 h 352174"/>
                <a:gd name="connsiteX14" fmla="*/ 232894 w 349667"/>
                <a:gd name="connsiteY14" fmla="*/ 171714 h 352174"/>
                <a:gd name="connsiteX15" fmla="*/ 209676 w 349667"/>
                <a:gd name="connsiteY15" fmla="*/ 213137 h 352174"/>
                <a:gd name="connsiteX16" fmla="*/ 166642 w 349667"/>
                <a:gd name="connsiteY16" fmla="*/ 233848 h 352174"/>
                <a:gd name="connsiteX17" fmla="*/ 129636 w 349667"/>
                <a:gd name="connsiteY17" fmla="*/ 218270 h 352174"/>
                <a:gd name="connsiteX18" fmla="*/ 116446 w 349667"/>
                <a:gd name="connsiteY18" fmla="*/ 180369 h 352174"/>
                <a:gd name="connsiteX19" fmla="*/ 139843 w 349667"/>
                <a:gd name="connsiteY19" fmla="*/ 138767 h 352174"/>
                <a:gd name="connsiteX20" fmla="*/ 182638 w 349667"/>
                <a:gd name="connsiteY20" fmla="*/ 118235 h 352174"/>
                <a:gd name="connsiteX21" fmla="*/ 219405 w 349667"/>
                <a:gd name="connsiteY21" fmla="*/ 133992 h 352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49667" h="352174">
                  <a:moveTo>
                    <a:pt x="127308" y="2741"/>
                  </a:moveTo>
                  <a:cubicBezTo>
                    <a:pt x="98599" y="8173"/>
                    <a:pt x="72874" y="21662"/>
                    <a:pt x="50014" y="43090"/>
                  </a:cubicBezTo>
                  <a:cubicBezTo>
                    <a:pt x="27154" y="64517"/>
                    <a:pt x="12113" y="89406"/>
                    <a:pt x="4891" y="117698"/>
                  </a:cubicBezTo>
                  <a:cubicBezTo>
                    <a:pt x="-2331" y="145989"/>
                    <a:pt x="-1555" y="174997"/>
                    <a:pt x="7219" y="204721"/>
                  </a:cubicBezTo>
                  <a:cubicBezTo>
                    <a:pt x="15993" y="234445"/>
                    <a:pt x="32287" y="262020"/>
                    <a:pt x="56102" y="287327"/>
                  </a:cubicBezTo>
                  <a:cubicBezTo>
                    <a:pt x="80156" y="312933"/>
                    <a:pt x="106717" y="331078"/>
                    <a:pt x="135844" y="341702"/>
                  </a:cubicBezTo>
                  <a:cubicBezTo>
                    <a:pt x="164971" y="352326"/>
                    <a:pt x="193799" y="354893"/>
                    <a:pt x="222330" y="349282"/>
                  </a:cubicBezTo>
                  <a:cubicBezTo>
                    <a:pt x="250860" y="343672"/>
                    <a:pt x="276585" y="330183"/>
                    <a:pt x="299385" y="308755"/>
                  </a:cubicBezTo>
                  <a:cubicBezTo>
                    <a:pt x="322245" y="287327"/>
                    <a:pt x="337346" y="262498"/>
                    <a:pt x="344687" y="234385"/>
                  </a:cubicBezTo>
                  <a:cubicBezTo>
                    <a:pt x="352029" y="206273"/>
                    <a:pt x="351253" y="177385"/>
                    <a:pt x="342360" y="147780"/>
                  </a:cubicBezTo>
                  <a:cubicBezTo>
                    <a:pt x="333407" y="118175"/>
                    <a:pt x="316933" y="90540"/>
                    <a:pt x="292879" y="64935"/>
                  </a:cubicBezTo>
                  <a:cubicBezTo>
                    <a:pt x="269064" y="39568"/>
                    <a:pt x="242683" y="21543"/>
                    <a:pt x="213735" y="10739"/>
                  </a:cubicBezTo>
                  <a:cubicBezTo>
                    <a:pt x="184727" y="-64"/>
                    <a:pt x="155898" y="-2690"/>
                    <a:pt x="127249" y="2741"/>
                  </a:cubicBezTo>
                  <a:close/>
                  <a:moveTo>
                    <a:pt x="219465" y="133992"/>
                  </a:moveTo>
                  <a:cubicBezTo>
                    <a:pt x="229671" y="144855"/>
                    <a:pt x="234148" y="157449"/>
                    <a:pt x="232894" y="171714"/>
                  </a:cubicBezTo>
                  <a:cubicBezTo>
                    <a:pt x="231641" y="185979"/>
                    <a:pt x="223882" y="199827"/>
                    <a:pt x="209676" y="213137"/>
                  </a:cubicBezTo>
                  <a:cubicBezTo>
                    <a:pt x="195471" y="226447"/>
                    <a:pt x="181146" y="233371"/>
                    <a:pt x="166642" y="233848"/>
                  </a:cubicBezTo>
                  <a:cubicBezTo>
                    <a:pt x="152138" y="234326"/>
                    <a:pt x="139843" y="229133"/>
                    <a:pt x="129636" y="218270"/>
                  </a:cubicBezTo>
                  <a:cubicBezTo>
                    <a:pt x="119430" y="207407"/>
                    <a:pt x="115013" y="194753"/>
                    <a:pt x="116446" y="180369"/>
                  </a:cubicBezTo>
                  <a:cubicBezTo>
                    <a:pt x="117818" y="165925"/>
                    <a:pt x="125637" y="152077"/>
                    <a:pt x="139843" y="138767"/>
                  </a:cubicBezTo>
                  <a:cubicBezTo>
                    <a:pt x="154048" y="125457"/>
                    <a:pt x="168313" y="118593"/>
                    <a:pt x="182638" y="118235"/>
                  </a:cubicBezTo>
                  <a:cubicBezTo>
                    <a:pt x="196963" y="117877"/>
                    <a:pt x="209258" y="123129"/>
                    <a:pt x="219405" y="133992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6" name="Forme libre : forme 85">
              <a:extLst>
                <a:ext uri="{FF2B5EF4-FFF2-40B4-BE49-F238E27FC236}">
                  <a16:creationId xmlns:a16="http://schemas.microsoft.com/office/drawing/2014/main" id="{3EA8D156-AF16-6D72-E8A3-F9EFE80B8C13}"/>
                </a:ext>
              </a:extLst>
            </p:cNvPr>
            <p:cNvSpPr/>
            <p:nvPr/>
          </p:nvSpPr>
          <p:spPr>
            <a:xfrm>
              <a:off x="8437388" y="1364735"/>
              <a:ext cx="414034" cy="464243"/>
            </a:xfrm>
            <a:custGeom>
              <a:avLst/>
              <a:gdLst>
                <a:gd name="connsiteX0" fmla="*/ 76101 w 414034"/>
                <a:gd name="connsiteY0" fmla="*/ 289122 h 464243"/>
                <a:gd name="connsiteX1" fmla="*/ 195175 w 414034"/>
                <a:gd name="connsiteY1" fmla="*/ 202457 h 464243"/>
                <a:gd name="connsiteX2" fmla="*/ 241790 w 414034"/>
                <a:gd name="connsiteY2" fmla="*/ 185208 h 464243"/>
                <a:gd name="connsiteX3" fmla="*/ 274797 w 414034"/>
                <a:gd name="connsiteY3" fmla="*/ 204785 h 464243"/>
                <a:gd name="connsiteX4" fmla="*/ 253847 w 414034"/>
                <a:gd name="connsiteY4" fmla="*/ 267516 h 464243"/>
                <a:gd name="connsiteX5" fmla="*/ 127371 w 414034"/>
                <a:gd name="connsiteY5" fmla="*/ 359553 h 464243"/>
                <a:gd name="connsiteX6" fmla="*/ 203591 w 414034"/>
                <a:gd name="connsiteY6" fmla="*/ 464243 h 464243"/>
                <a:gd name="connsiteX7" fmla="*/ 348152 w 414034"/>
                <a:gd name="connsiteY7" fmla="*/ 359075 h 464243"/>
                <a:gd name="connsiteX8" fmla="*/ 412673 w 414034"/>
                <a:gd name="connsiteY8" fmla="*/ 268531 h 464243"/>
                <a:gd name="connsiteX9" fmla="*/ 386173 w 414034"/>
                <a:gd name="connsiteY9" fmla="*/ 172674 h 464243"/>
                <a:gd name="connsiteX10" fmla="*/ 348092 w 414034"/>
                <a:gd name="connsiteY10" fmla="*/ 135907 h 464243"/>
                <a:gd name="connsiteX11" fmla="*/ 300880 w 414034"/>
                <a:gd name="connsiteY11" fmla="*/ 117822 h 464243"/>
                <a:gd name="connsiteX12" fmla="*/ 325889 w 414034"/>
                <a:gd name="connsiteY12" fmla="*/ 99617 h 464243"/>
                <a:gd name="connsiteX13" fmla="*/ 253429 w 414034"/>
                <a:gd name="connsiteY13" fmla="*/ 0 h 464243"/>
                <a:gd name="connsiteX14" fmla="*/ 0 w 414034"/>
                <a:gd name="connsiteY14" fmla="*/ 184432 h 464243"/>
                <a:gd name="connsiteX15" fmla="*/ 76220 w 414034"/>
                <a:gd name="connsiteY15" fmla="*/ 289122 h 464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14034" h="464243">
                  <a:moveTo>
                    <a:pt x="76101" y="289122"/>
                  </a:moveTo>
                  <a:lnTo>
                    <a:pt x="195175" y="202457"/>
                  </a:lnTo>
                  <a:cubicBezTo>
                    <a:pt x="212783" y="189625"/>
                    <a:pt x="228302" y="183895"/>
                    <a:pt x="241790" y="185208"/>
                  </a:cubicBezTo>
                  <a:cubicBezTo>
                    <a:pt x="255220" y="186521"/>
                    <a:pt x="266262" y="193027"/>
                    <a:pt x="274797" y="204785"/>
                  </a:cubicBezTo>
                  <a:cubicBezTo>
                    <a:pt x="289839" y="225496"/>
                    <a:pt x="282855" y="246387"/>
                    <a:pt x="253847" y="267516"/>
                  </a:cubicBezTo>
                  <a:lnTo>
                    <a:pt x="127371" y="359553"/>
                  </a:lnTo>
                  <a:lnTo>
                    <a:pt x="203591" y="464243"/>
                  </a:lnTo>
                  <a:lnTo>
                    <a:pt x="348152" y="359075"/>
                  </a:lnTo>
                  <a:cubicBezTo>
                    <a:pt x="386113" y="331440"/>
                    <a:pt x="407660" y="301239"/>
                    <a:pt x="412673" y="268531"/>
                  </a:cubicBezTo>
                  <a:cubicBezTo>
                    <a:pt x="417687" y="235822"/>
                    <a:pt x="408854" y="203890"/>
                    <a:pt x="386173" y="172674"/>
                  </a:cubicBezTo>
                  <a:cubicBezTo>
                    <a:pt x="375131" y="157513"/>
                    <a:pt x="362477" y="145277"/>
                    <a:pt x="348092" y="135907"/>
                  </a:cubicBezTo>
                  <a:cubicBezTo>
                    <a:pt x="333708" y="126536"/>
                    <a:pt x="317951" y="120507"/>
                    <a:pt x="300880" y="117822"/>
                  </a:cubicBezTo>
                  <a:lnTo>
                    <a:pt x="325889" y="99617"/>
                  </a:lnTo>
                  <a:lnTo>
                    <a:pt x="253429" y="0"/>
                  </a:lnTo>
                  <a:lnTo>
                    <a:pt x="0" y="184432"/>
                  </a:lnTo>
                  <a:lnTo>
                    <a:pt x="76220" y="289122"/>
                  </a:ln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F3DAB355-19D9-C7BC-9229-62B417C20855}"/>
                </a:ext>
              </a:extLst>
            </p:cNvPr>
            <p:cNvSpPr/>
            <p:nvPr/>
          </p:nvSpPr>
          <p:spPr>
            <a:xfrm>
              <a:off x="2786373" y="1973231"/>
              <a:ext cx="532654" cy="2952889"/>
            </a:xfrm>
            <a:custGeom>
              <a:avLst/>
              <a:gdLst>
                <a:gd name="connsiteX0" fmla="*/ 202935 w 532654"/>
                <a:gd name="connsiteY0" fmla="*/ 1519454 h 2952889"/>
                <a:gd name="connsiteX1" fmla="*/ 522139 w 532654"/>
                <a:gd name="connsiteY1" fmla="*/ 146422 h 2952889"/>
                <a:gd name="connsiteX2" fmla="*/ 476061 w 532654"/>
                <a:gd name="connsiteY2" fmla="*/ 10515 h 2952889"/>
                <a:gd name="connsiteX3" fmla="*/ 340154 w 532654"/>
                <a:gd name="connsiteY3" fmla="*/ 56593 h 2952889"/>
                <a:gd name="connsiteX4" fmla="*/ 0 w 532654"/>
                <a:gd name="connsiteY4" fmla="*/ 1519454 h 2952889"/>
                <a:gd name="connsiteX5" fmla="*/ 297956 w 532654"/>
                <a:gd name="connsiteY5" fmla="*/ 2893561 h 2952889"/>
                <a:gd name="connsiteX6" fmla="*/ 390291 w 532654"/>
                <a:gd name="connsiteY6" fmla="*/ 2952890 h 2952889"/>
                <a:gd name="connsiteX7" fmla="*/ 432430 w 532654"/>
                <a:gd name="connsiteY7" fmla="*/ 2943698 h 2952889"/>
                <a:gd name="connsiteX8" fmla="*/ 482507 w 532654"/>
                <a:gd name="connsiteY8" fmla="*/ 2809224 h 2952889"/>
                <a:gd name="connsiteX9" fmla="*/ 202875 w 532654"/>
                <a:gd name="connsiteY9" fmla="*/ 1519514 h 2952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32654" h="2952889">
                  <a:moveTo>
                    <a:pt x="202935" y="1519454"/>
                  </a:moveTo>
                  <a:cubicBezTo>
                    <a:pt x="202935" y="1037365"/>
                    <a:pt x="310311" y="575390"/>
                    <a:pt x="522139" y="146422"/>
                  </a:cubicBezTo>
                  <a:cubicBezTo>
                    <a:pt x="546969" y="96165"/>
                    <a:pt x="526317" y="35345"/>
                    <a:pt x="476061" y="10515"/>
                  </a:cubicBezTo>
                  <a:cubicBezTo>
                    <a:pt x="425805" y="-14315"/>
                    <a:pt x="364984" y="6337"/>
                    <a:pt x="340154" y="56593"/>
                  </a:cubicBezTo>
                  <a:cubicBezTo>
                    <a:pt x="114479" y="513793"/>
                    <a:pt x="0" y="1005970"/>
                    <a:pt x="0" y="1519454"/>
                  </a:cubicBezTo>
                  <a:cubicBezTo>
                    <a:pt x="0" y="1998679"/>
                    <a:pt x="100274" y="2461011"/>
                    <a:pt x="297956" y="2893561"/>
                  </a:cubicBezTo>
                  <a:cubicBezTo>
                    <a:pt x="315026" y="2930865"/>
                    <a:pt x="351793" y="2952890"/>
                    <a:pt x="390291" y="2952890"/>
                  </a:cubicBezTo>
                  <a:cubicBezTo>
                    <a:pt x="404377" y="2952890"/>
                    <a:pt x="418762" y="2949905"/>
                    <a:pt x="432430" y="2943698"/>
                  </a:cubicBezTo>
                  <a:cubicBezTo>
                    <a:pt x="483402" y="2920420"/>
                    <a:pt x="505845" y="2860196"/>
                    <a:pt x="482507" y="2809224"/>
                  </a:cubicBezTo>
                  <a:cubicBezTo>
                    <a:pt x="296941" y="2403354"/>
                    <a:pt x="202875" y="1969432"/>
                    <a:pt x="202875" y="1519514"/>
                  </a:cubicBezTo>
                  <a:close/>
                </a:path>
              </a:pathLst>
            </a:custGeom>
            <a:solidFill>
              <a:srgbClr val="9097B3"/>
            </a:solidFill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A7D7956E-02C8-7EEE-6D4C-6760FF4732E7}"/>
                </a:ext>
              </a:extLst>
            </p:cNvPr>
            <p:cNvSpPr/>
            <p:nvPr/>
          </p:nvSpPr>
          <p:spPr>
            <a:xfrm>
              <a:off x="8870550" y="1973257"/>
              <a:ext cx="532567" cy="2952803"/>
            </a:xfrm>
            <a:custGeom>
              <a:avLst/>
              <a:gdLst>
                <a:gd name="connsiteX0" fmla="*/ 192473 w 532567"/>
                <a:gd name="connsiteY0" fmla="*/ 56567 h 2952803"/>
                <a:gd name="connsiteX1" fmla="*/ 56567 w 532567"/>
                <a:gd name="connsiteY1" fmla="*/ 10489 h 2952803"/>
                <a:gd name="connsiteX2" fmla="*/ 10489 w 532567"/>
                <a:gd name="connsiteY2" fmla="*/ 146395 h 2952803"/>
                <a:gd name="connsiteX3" fmla="*/ 329693 w 532567"/>
                <a:gd name="connsiteY3" fmla="*/ 1519428 h 2952803"/>
                <a:gd name="connsiteX4" fmla="*/ 50061 w 532567"/>
                <a:gd name="connsiteY4" fmla="*/ 2809138 h 2952803"/>
                <a:gd name="connsiteX5" fmla="*/ 100138 w 532567"/>
                <a:gd name="connsiteY5" fmla="*/ 2943612 h 2952803"/>
                <a:gd name="connsiteX6" fmla="*/ 142277 w 532567"/>
                <a:gd name="connsiteY6" fmla="*/ 2952804 h 2952803"/>
                <a:gd name="connsiteX7" fmla="*/ 234613 w 532567"/>
                <a:gd name="connsiteY7" fmla="*/ 2893475 h 2952803"/>
                <a:gd name="connsiteX8" fmla="*/ 532568 w 532567"/>
                <a:gd name="connsiteY8" fmla="*/ 1519368 h 2952803"/>
                <a:gd name="connsiteX9" fmla="*/ 192354 w 532567"/>
                <a:gd name="connsiteY9" fmla="*/ 56507 h 2952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32567" h="2952803">
                  <a:moveTo>
                    <a:pt x="192473" y="56567"/>
                  </a:moveTo>
                  <a:cubicBezTo>
                    <a:pt x="167644" y="6311"/>
                    <a:pt x="106823" y="-14281"/>
                    <a:pt x="56567" y="10489"/>
                  </a:cubicBezTo>
                  <a:cubicBezTo>
                    <a:pt x="6311" y="35318"/>
                    <a:pt x="-14281" y="96139"/>
                    <a:pt x="10489" y="146395"/>
                  </a:cubicBezTo>
                  <a:cubicBezTo>
                    <a:pt x="222317" y="575423"/>
                    <a:pt x="329693" y="1037339"/>
                    <a:pt x="329693" y="1519428"/>
                  </a:cubicBezTo>
                  <a:cubicBezTo>
                    <a:pt x="329693" y="1969346"/>
                    <a:pt x="235627" y="2403268"/>
                    <a:pt x="50061" y="2809138"/>
                  </a:cubicBezTo>
                  <a:cubicBezTo>
                    <a:pt x="26783" y="2860110"/>
                    <a:pt x="49166" y="2920334"/>
                    <a:pt x="100138" y="2943612"/>
                  </a:cubicBezTo>
                  <a:cubicBezTo>
                    <a:pt x="113807" y="2949879"/>
                    <a:pt x="128131" y="2952804"/>
                    <a:pt x="142277" y="2952804"/>
                  </a:cubicBezTo>
                  <a:cubicBezTo>
                    <a:pt x="180775" y="2952804"/>
                    <a:pt x="217602" y="2930779"/>
                    <a:pt x="234613" y="2893475"/>
                  </a:cubicBezTo>
                  <a:cubicBezTo>
                    <a:pt x="432355" y="2460985"/>
                    <a:pt x="532568" y="1998653"/>
                    <a:pt x="532568" y="1519368"/>
                  </a:cubicBezTo>
                  <a:cubicBezTo>
                    <a:pt x="532568" y="1005824"/>
                    <a:pt x="418089" y="513648"/>
                    <a:pt x="192354" y="56507"/>
                  </a:cubicBezTo>
                  <a:close/>
                </a:path>
              </a:pathLst>
            </a:custGeom>
            <a:solidFill>
              <a:srgbClr val="9097B3"/>
            </a:solidFill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pic>
        <p:nvPicPr>
          <p:cNvPr id="95" name="Image 94" descr="Une image contenant texte, Carmin, logo, Police&#10;&#10;Le contenu généré par l’IA peut être incorrect.">
            <a:extLst>
              <a:ext uri="{FF2B5EF4-FFF2-40B4-BE49-F238E27FC236}">
                <a16:creationId xmlns:a16="http://schemas.microsoft.com/office/drawing/2014/main" id="{95AF7175-91FE-9E2A-AEA9-42326262A9AF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4227"/>
          <a:stretch/>
        </p:blipFill>
        <p:spPr>
          <a:xfrm>
            <a:off x="2320717" y="5056447"/>
            <a:ext cx="597642" cy="715326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38F34B90-C66E-0E1C-C403-07F7001E6F39}"/>
              </a:ext>
            </a:extLst>
          </p:cNvPr>
          <p:cNvSpPr txBox="1"/>
          <p:nvPr/>
        </p:nvSpPr>
        <p:spPr>
          <a:xfrm>
            <a:off x="1232620" y="2321334"/>
            <a:ext cx="3716749" cy="6848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3850">
                <a:solidFill>
                  <a:srgbClr val="444A64"/>
                </a:solidFill>
                <a:latin typeface="Montserrat Alternates SemiBold" panose="00000700000000000000" pitchFamily="2" charset="0"/>
              </a:rPr>
              <a:t>n</a:t>
            </a:r>
            <a:r>
              <a:rPr kumimoji="0" lang="fr-FR" sz="385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 SemiBold" panose="00000700000000000000" pitchFamily="2" charset="0"/>
              </a:rPr>
              <a:t>otre mission</a:t>
            </a:r>
            <a:endParaRPr lang="fr-FR" sz="3850">
              <a:solidFill>
                <a:srgbClr val="444A64"/>
              </a:solidFill>
              <a:latin typeface="Montserrat Alternates SemiBold" panose="00000700000000000000" pitchFamily="2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685AB2E-3FA2-7859-B12C-BB68FAC77C39}"/>
              </a:ext>
            </a:extLst>
          </p:cNvPr>
          <p:cNvSpPr/>
          <p:nvPr/>
        </p:nvSpPr>
        <p:spPr>
          <a:xfrm>
            <a:off x="0" y="1"/>
            <a:ext cx="12192000" cy="2362200"/>
          </a:xfrm>
          <a:prstGeom prst="rect">
            <a:avLst/>
          </a:prstGeom>
          <a:solidFill>
            <a:srgbClr val="F4F4F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D4A7B10A-0C59-B7A7-BD7D-6F4178B3AACE}"/>
              </a:ext>
            </a:extLst>
          </p:cNvPr>
          <p:cNvGrpSpPr/>
          <p:nvPr/>
        </p:nvGrpSpPr>
        <p:grpSpPr>
          <a:xfrm>
            <a:off x="572667" y="487521"/>
            <a:ext cx="364153" cy="284070"/>
            <a:chOff x="1148496" y="1062130"/>
            <a:chExt cx="364153" cy="284070"/>
          </a:xfrm>
        </p:grpSpPr>
        <p:sp>
          <p:nvSpPr>
            <p:cNvPr id="3" name="Forme libre : forme 2">
              <a:extLst>
                <a:ext uri="{FF2B5EF4-FFF2-40B4-BE49-F238E27FC236}">
                  <a16:creationId xmlns:a16="http://schemas.microsoft.com/office/drawing/2014/main" id="{B563AC01-3147-2987-E49C-DF44F64C084A}"/>
                </a:ext>
              </a:extLst>
            </p:cNvPr>
            <p:cNvSpPr/>
            <p:nvPr/>
          </p:nvSpPr>
          <p:spPr>
            <a:xfrm>
              <a:off x="1148496" y="1062130"/>
              <a:ext cx="284156" cy="284070"/>
            </a:xfrm>
            <a:custGeom>
              <a:avLst/>
              <a:gdLst>
                <a:gd name="connsiteX0" fmla="*/ 1927193 w 3012185"/>
                <a:gd name="connsiteY0" fmla="*/ 3011281 h 3011281"/>
                <a:gd name="connsiteX1" fmla="*/ 1159955 w 3012185"/>
                <a:gd name="connsiteY1" fmla="*/ 2694003 h 3011281"/>
                <a:gd name="connsiteX2" fmla="*/ 317754 w 3012185"/>
                <a:gd name="connsiteY2" fmla="*/ 1851803 h 3011281"/>
                <a:gd name="connsiteX3" fmla="*/ 0 w 3012185"/>
                <a:gd name="connsiteY3" fmla="*/ 1084564 h 3011281"/>
                <a:gd name="connsiteX4" fmla="*/ 317754 w 3012185"/>
                <a:gd name="connsiteY4" fmla="*/ 317325 h 3011281"/>
                <a:gd name="connsiteX5" fmla="*/ 1852232 w 3012185"/>
                <a:gd name="connsiteY5" fmla="*/ 317325 h 3011281"/>
                <a:gd name="connsiteX6" fmla="*/ 2694432 w 3012185"/>
                <a:gd name="connsiteY6" fmla="*/ 1159526 h 3011281"/>
                <a:gd name="connsiteX7" fmla="*/ 3012186 w 3012185"/>
                <a:gd name="connsiteY7" fmla="*/ 1926765 h 3011281"/>
                <a:gd name="connsiteX8" fmla="*/ 2694432 w 3012185"/>
                <a:gd name="connsiteY8" fmla="*/ 2694003 h 3011281"/>
                <a:gd name="connsiteX9" fmla="*/ 1927193 w 3012185"/>
                <a:gd name="connsiteY9" fmla="*/ 3011281 h 3011281"/>
                <a:gd name="connsiteX10" fmla="*/ 1084993 w 3012185"/>
                <a:gd name="connsiteY10" fmla="*/ 480012 h 3011281"/>
                <a:gd name="connsiteX11" fmla="*/ 657320 w 3012185"/>
                <a:gd name="connsiteY11" fmla="*/ 656892 h 3011281"/>
                <a:gd name="connsiteX12" fmla="*/ 480155 w 3012185"/>
                <a:gd name="connsiteY12" fmla="*/ 1084564 h 3011281"/>
                <a:gd name="connsiteX13" fmla="*/ 657320 w 3012185"/>
                <a:gd name="connsiteY13" fmla="*/ 1512237 h 3011281"/>
                <a:gd name="connsiteX14" fmla="*/ 1499521 w 3012185"/>
                <a:gd name="connsiteY14" fmla="*/ 2354437 h 3011281"/>
                <a:gd name="connsiteX15" fmla="*/ 2354961 w 3012185"/>
                <a:gd name="connsiteY15" fmla="*/ 2354437 h 3011281"/>
                <a:gd name="connsiteX16" fmla="*/ 2532126 w 3012185"/>
                <a:gd name="connsiteY16" fmla="*/ 1926765 h 3011281"/>
                <a:gd name="connsiteX17" fmla="*/ 2354961 w 3012185"/>
                <a:gd name="connsiteY17" fmla="*/ 1499092 h 3011281"/>
                <a:gd name="connsiteX18" fmla="*/ 1512761 w 3012185"/>
                <a:gd name="connsiteY18" fmla="*/ 656892 h 3011281"/>
                <a:gd name="connsiteX19" fmla="*/ 1084993 w 3012185"/>
                <a:gd name="connsiteY19" fmla="*/ 480012 h 301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12185" h="3011281">
                  <a:moveTo>
                    <a:pt x="1927193" y="3011281"/>
                  </a:moveTo>
                  <a:cubicBezTo>
                    <a:pt x="1649349" y="3011281"/>
                    <a:pt x="1371505" y="2905554"/>
                    <a:pt x="1159955" y="2694003"/>
                  </a:cubicBezTo>
                  <a:lnTo>
                    <a:pt x="317754" y="1851803"/>
                  </a:lnTo>
                  <a:cubicBezTo>
                    <a:pt x="112871" y="1646825"/>
                    <a:pt x="0" y="1374410"/>
                    <a:pt x="0" y="1084564"/>
                  </a:cubicBezTo>
                  <a:cubicBezTo>
                    <a:pt x="0" y="794718"/>
                    <a:pt x="112871" y="522303"/>
                    <a:pt x="317754" y="317325"/>
                  </a:cubicBezTo>
                  <a:cubicBezTo>
                    <a:pt x="740855" y="-105775"/>
                    <a:pt x="1429131" y="-105775"/>
                    <a:pt x="1852232" y="317325"/>
                  </a:cubicBezTo>
                  <a:lnTo>
                    <a:pt x="2694432" y="1159526"/>
                  </a:lnTo>
                  <a:cubicBezTo>
                    <a:pt x="2899410" y="1364504"/>
                    <a:pt x="3012186" y="1636919"/>
                    <a:pt x="3012186" y="1926765"/>
                  </a:cubicBezTo>
                  <a:cubicBezTo>
                    <a:pt x="3012186" y="2216611"/>
                    <a:pt x="2899315" y="2489025"/>
                    <a:pt x="2694432" y="2694003"/>
                  </a:cubicBezTo>
                  <a:cubicBezTo>
                    <a:pt x="2489549" y="2898982"/>
                    <a:pt x="2205038" y="3011281"/>
                    <a:pt x="1927193" y="3011281"/>
                  </a:cubicBezTo>
                  <a:close/>
                  <a:moveTo>
                    <a:pt x="1084993" y="480012"/>
                  </a:moveTo>
                  <a:cubicBezTo>
                    <a:pt x="930116" y="480012"/>
                    <a:pt x="775240" y="538972"/>
                    <a:pt x="657320" y="656892"/>
                  </a:cubicBezTo>
                  <a:cubicBezTo>
                    <a:pt x="543116" y="771096"/>
                    <a:pt x="480155" y="923020"/>
                    <a:pt x="480155" y="1084564"/>
                  </a:cubicBezTo>
                  <a:cubicBezTo>
                    <a:pt x="480155" y="1246108"/>
                    <a:pt x="543020" y="1398032"/>
                    <a:pt x="657320" y="1512237"/>
                  </a:cubicBezTo>
                  <a:lnTo>
                    <a:pt x="1499521" y="2354437"/>
                  </a:lnTo>
                  <a:cubicBezTo>
                    <a:pt x="1735360" y="2590276"/>
                    <a:pt x="2119122" y="2590276"/>
                    <a:pt x="2354961" y="2354437"/>
                  </a:cubicBezTo>
                  <a:cubicBezTo>
                    <a:pt x="2469166" y="2240233"/>
                    <a:pt x="2532126" y="2088309"/>
                    <a:pt x="2532126" y="1926765"/>
                  </a:cubicBezTo>
                  <a:cubicBezTo>
                    <a:pt x="2532126" y="1765221"/>
                    <a:pt x="2469261" y="1613297"/>
                    <a:pt x="2354961" y="1499092"/>
                  </a:cubicBezTo>
                  <a:lnTo>
                    <a:pt x="1512761" y="656892"/>
                  </a:lnTo>
                  <a:cubicBezTo>
                    <a:pt x="1394841" y="538972"/>
                    <a:pt x="1239964" y="480012"/>
                    <a:pt x="1084993" y="480012"/>
                  </a:cubicBezTo>
                  <a:close/>
                </a:path>
              </a:pathLst>
            </a:custGeom>
            <a:solidFill>
              <a:srgbClr val="9097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" name="Forme libre : forme 3">
              <a:extLst>
                <a:ext uri="{FF2B5EF4-FFF2-40B4-BE49-F238E27FC236}">
                  <a16:creationId xmlns:a16="http://schemas.microsoft.com/office/drawing/2014/main" id="{DFD64976-19EE-2341-D85E-2BAE9F6660FE}"/>
                </a:ext>
              </a:extLst>
            </p:cNvPr>
            <p:cNvSpPr/>
            <p:nvPr/>
          </p:nvSpPr>
          <p:spPr>
            <a:xfrm>
              <a:off x="1228502" y="1062130"/>
              <a:ext cx="284147" cy="284070"/>
            </a:xfrm>
            <a:custGeom>
              <a:avLst/>
              <a:gdLst>
                <a:gd name="connsiteX0" fmla="*/ 1084993 w 3012090"/>
                <a:gd name="connsiteY0" fmla="*/ 3011281 h 3011281"/>
                <a:gd name="connsiteX1" fmla="*/ 317754 w 3012090"/>
                <a:gd name="connsiteY1" fmla="*/ 2694003 h 3011281"/>
                <a:gd name="connsiteX2" fmla="*/ 0 w 3012090"/>
                <a:gd name="connsiteY2" fmla="*/ 1926765 h 3011281"/>
                <a:gd name="connsiteX3" fmla="*/ 317754 w 3012090"/>
                <a:gd name="connsiteY3" fmla="*/ 1159526 h 3011281"/>
                <a:gd name="connsiteX4" fmla="*/ 1159955 w 3012090"/>
                <a:gd name="connsiteY4" fmla="*/ 317325 h 3011281"/>
                <a:gd name="connsiteX5" fmla="*/ 2694337 w 3012090"/>
                <a:gd name="connsiteY5" fmla="*/ 317325 h 3011281"/>
                <a:gd name="connsiteX6" fmla="*/ 3012091 w 3012090"/>
                <a:gd name="connsiteY6" fmla="*/ 1084564 h 3011281"/>
                <a:gd name="connsiteX7" fmla="*/ 2694337 w 3012090"/>
                <a:gd name="connsiteY7" fmla="*/ 1851803 h 3011281"/>
                <a:gd name="connsiteX8" fmla="*/ 1852136 w 3012090"/>
                <a:gd name="connsiteY8" fmla="*/ 2694003 h 3011281"/>
                <a:gd name="connsiteX9" fmla="*/ 1084898 w 3012090"/>
                <a:gd name="connsiteY9" fmla="*/ 3011281 h 3011281"/>
                <a:gd name="connsiteX10" fmla="*/ 1927098 w 3012090"/>
                <a:gd name="connsiteY10" fmla="*/ 480012 h 3011281"/>
                <a:gd name="connsiteX11" fmla="*/ 1499426 w 3012090"/>
                <a:gd name="connsiteY11" fmla="*/ 656892 h 3011281"/>
                <a:gd name="connsiteX12" fmla="*/ 657225 w 3012090"/>
                <a:gd name="connsiteY12" fmla="*/ 1499092 h 3011281"/>
                <a:gd name="connsiteX13" fmla="*/ 480060 w 3012090"/>
                <a:gd name="connsiteY13" fmla="*/ 1926765 h 3011281"/>
                <a:gd name="connsiteX14" fmla="*/ 657225 w 3012090"/>
                <a:gd name="connsiteY14" fmla="*/ 2354437 h 3011281"/>
                <a:gd name="connsiteX15" fmla="*/ 1512570 w 3012090"/>
                <a:gd name="connsiteY15" fmla="*/ 2354437 h 3011281"/>
                <a:gd name="connsiteX16" fmla="*/ 2354771 w 3012090"/>
                <a:gd name="connsiteY16" fmla="*/ 1512237 h 3011281"/>
                <a:gd name="connsiteX17" fmla="*/ 2531935 w 3012090"/>
                <a:gd name="connsiteY17" fmla="*/ 1084564 h 3011281"/>
                <a:gd name="connsiteX18" fmla="*/ 2354771 w 3012090"/>
                <a:gd name="connsiteY18" fmla="*/ 656892 h 3011281"/>
                <a:gd name="connsiteX19" fmla="*/ 1927098 w 3012090"/>
                <a:gd name="connsiteY19" fmla="*/ 480012 h 301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12090" h="3011281">
                  <a:moveTo>
                    <a:pt x="1084993" y="3011281"/>
                  </a:moveTo>
                  <a:cubicBezTo>
                    <a:pt x="807149" y="3011281"/>
                    <a:pt x="529304" y="2905554"/>
                    <a:pt x="317754" y="2694003"/>
                  </a:cubicBezTo>
                  <a:cubicBezTo>
                    <a:pt x="106204" y="2482453"/>
                    <a:pt x="0" y="2216611"/>
                    <a:pt x="0" y="1926765"/>
                  </a:cubicBezTo>
                  <a:cubicBezTo>
                    <a:pt x="0" y="1636919"/>
                    <a:pt x="112871" y="1364504"/>
                    <a:pt x="317754" y="1159526"/>
                  </a:cubicBezTo>
                  <a:lnTo>
                    <a:pt x="1159955" y="317325"/>
                  </a:lnTo>
                  <a:cubicBezTo>
                    <a:pt x="1582960" y="-105775"/>
                    <a:pt x="2271332" y="-105775"/>
                    <a:pt x="2694337" y="317325"/>
                  </a:cubicBezTo>
                  <a:cubicBezTo>
                    <a:pt x="2899315" y="522303"/>
                    <a:pt x="3012091" y="794718"/>
                    <a:pt x="3012091" y="1084564"/>
                  </a:cubicBezTo>
                  <a:cubicBezTo>
                    <a:pt x="3012091" y="1374410"/>
                    <a:pt x="2899220" y="1646825"/>
                    <a:pt x="2694337" y="1851803"/>
                  </a:cubicBezTo>
                  <a:lnTo>
                    <a:pt x="1852136" y="2694003"/>
                  </a:lnTo>
                  <a:cubicBezTo>
                    <a:pt x="1640586" y="2905554"/>
                    <a:pt x="1362742" y="3011281"/>
                    <a:pt x="1084898" y="3011281"/>
                  </a:cubicBezTo>
                  <a:close/>
                  <a:moveTo>
                    <a:pt x="1927098" y="480012"/>
                  </a:moveTo>
                  <a:cubicBezTo>
                    <a:pt x="1772222" y="480012"/>
                    <a:pt x="1617345" y="538972"/>
                    <a:pt x="1499426" y="656892"/>
                  </a:cubicBezTo>
                  <a:lnTo>
                    <a:pt x="657225" y="1499092"/>
                  </a:lnTo>
                  <a:cubicBezTo>
                    <a:pt x="543020" y="1613297"/>
                    <a:pt x="480060" y="1765221"/>
                    <a:pt x="480060" y="1926765"/>
                  </a:cubicBezTo>
                  <a:cubicBezTo>
                    <a:pt x="480060" y="2088309"/>
                    <a:pt x="542925" y="2240233"/>
                    <a:pt x="657225" y="2354437"/>
                  </a:cubicBezTo>
                  <a:cubicBezTo>
                    <a:pt x="893064" y="2590276"/>
                    <a:pt x="1276731" y="2590276"/>
                    <a:pt x="1512570" y="2354437"/>
                  </a:cubicBezTo>
                  <a:lnTo>
                    <a:pt x="2354771" y="1512237"/>
                  </a:lnTo>
                  <a:cubicBezTo>
                    <a:pt x="2468975" y="1398032"/>
                    <a:pt x="2531935" y="1246108"/>
                    <a:pt x="2531935" y="1084564"/>
                  </a:cubicBezTo>
                  <a:cubicBezTo>
                    <a:pt x="2531935" y="923020"/>
                    <a:pt x="2469071" y="771096"/>
                    <a:pt x="2354771" y="656892"/>
                  </a:cubicBezTo>
                  <a:cubicBezTo>
                    <a:pt x="2236851" y="538972"/>
                    <a:pt x="2081975" y="480012"/>
                    <a:pt x="1927098" y="480012"/>
                  </a:cubicBezTo>
                  <a:close/>
                </a:path>
              </a:pathLst>
            </a:custGeom>
            <a:solidFill>
              <a:srgbClr val="4E966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06AACCE7-9E40-755D-ACDD-97C722EF97CB}"/>
              </a:ext>
            </a:extLst>
          </p:cNvPr>
          <p:cNvGrpSpPr/>
          <p:nvPr/>
        </p:nvGrpSpPr>
        <p:grpSpPr>
          <a:xfrm>
            <a:off x="1253744" y="449942"/>
            <a:ext cx="10444847" cy="359228"/>
            <a:chOff x="1253744" y="406400"/>
            <a:chExt cx="10444847" cy="359228"/>
          </a:xfrm>
        </p:grpSpPr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E637CBB1-74BD-822B-6738-20A84631E7B6}"/>
                </a:ext>
              </a:extLst>
            </p:cNvPr>
            <p:cNvSpPr/>
            <p:nvPr/>
          </p:nvSpPr>
          <p:spPr>
            <a:xfrm>
              <a:off x="1253744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rgbClr val="C4C7D6"/>
                  </a:solidFill>
                </a:rPr>
                <a:t>Enjeu</a:t>
              </a:r>
            </a:p>
          </p:txBody>
        </p:sp>
        <p:sp>
          <p:nvSpPr>
            <p:cNvPr id="7" name="Rectangle : coins arrondis 6">
              <a:extLst>
                <a:ext uri="{FF2B5EF4-FFF2-40B4-BE49-F238E27FC236}">
                  <a16:creationId xmlns:a16="http://schemas.microsoft.com/office/drawing/2014/main" id="{AD46675E-6A1D-BBCD-9B2D-3C53716CC8D8}"/>
                </a:ext>
              </a:extLst>
            </p:cNvPr>
            <p:cNvSpPr/>
            <p:nvPr/>
          </p:nvSpPr>
          <p:spPr>
            <a:xfrm>
              <a:off x="3047725" y="406400"/>
              <a:ext cx="1474942" cy="359228"/>
            </a:xfrm>
            <a:prstGeom prst="roundRect">
              <a:avLst>
                <a:gd name="adj" fmla="val 50000"/>
              </a:avLst>
            </a:prstGeom>
            <a:solidFill>
              <a:srgbClr val="4E966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chemeClr val="bg1"/>
                  </a:solidFill>
                  <a:latin typeface="Montserrat Alternates SemiBold" panose="00000700000000000000" pitchFamily="2" charset="0"/>
                </a:rPr>
                <a:t>Mission</a:t>
              </a:r>
            </a:p>
          </p:txBody>
        </p:sp>
        <p:sp>
          <p:nvSpPr>
            <p:cNvPr id="8" name="Rectangle : coins arrondis 7">
              <a:extLst>
                <a:ext uri="{FF2B5EF4-FFF2-40B4-BE49-F238E27FC236}">
                  <a16:creationId xmlns:a16="http://schemas.microsoft.com/office/drawing/2014/main" id="{18EA8E64-8AFA-4996-752A-6FEA7DB731BD}"/>
                </a:ext>
              </a:extLst>
            </p:cNvPr>
            <p:cNvSpPr/>
            <p:nvPr/>
          </p:nvSpPr>
          <p:spPr>
            <a:xfrm>
              <a:off x="6635687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rgbClr val="C4C7D6"/>
                  </a:solidFill>
                </a:rPr>
                <a:t>Fonctionnement</a:t>
              </a:r>
            </a:p>
          </p:txBody>
        </p:sp>
        <p:sp>
          <p:nvSpPr>
            <p:cNvPr id="9" name="Rectangle : coins arrondis 8">
              <a:extLst>
                <a:ext uri="{FF2B5EF4-FFF2-40B4-BE49-F238E27FC236}">
                  <a16:creationId xmlns:a16="http://schemas.microsoft.com/office/drawing/2014/main" id="{426AFBAF-1FC7-5BCA-39F0-FCCFBA969F27}"/>
                </a:ext>
              </a:extLst>
            </p:cNvPr>
            <p:cNvSpPr/>
            <p:nvPr/>
          </p:nvSpPr>
          <p:spPr>
            <a:xfrm>
              <a:off x="8429668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rgbClr val="C4C7D6"/>
                  </a:solidFill>
                </a:rPr>
                <a:t>Offre</a:t>
              </a:r>
            </a:p>
          </p:txBody>
        </p:sp>
        <p:sp>
          <p:nvSpPr>
            <p:cNvPr id="10" name="Rectangle : coins arrondis 9">
              <a:extLst>
                <a:ext uri="{FF2B5EF4-FFF2-40B4-BE49-F238E27FC236}">
                  <a16:creationId xmlns:a16="http://schemas.microsoft.com/office/drawing/2014/main" id="{1AE8DB37-4988-D61D-D153-2BF100174A1A}"/>
                </a:ext>
              </a:extLst>
            </p:cNvPr>
            <p:cNvSpPr/>
            <p:nvPr/>
          </p:nvSpPr>
          <p:spPr>
            <a:xfrm>
              <a:off x="4841706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rgbClr val="C4C7D6"/>
                  </a:solidFill>
                </a:rPr>
                <a:t>Solution</a:t>
              </a:r>
            </a:p>
          </p:txBody>
        </p:sp>
        <p:sp>
          <p:nvSpPr>
            <p:cNvPr id="11" name="Rectangle : coins arrondis 10">
              <a:extLst>
                <a:ext uri="{FF2B5EF4-FFF2-40B4-BE49-F238E27FC236}">
                  <a16:creationId xmlns:a16="http://schemas.microsoft.com/office/drawing/2014/main" id="{4A739DE1-A5D0-DF06-7094-9DC5A6E89472}"/>
                </a:ext>
              </a:extLst>
            </p:cNvPr>
            <p:cNvSpPr/>
            <p:nvPr/>
          </p:nvSpPr>
          <p:spPr>
            <a:xfrm>
              <a:off x="10223649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rgbClr val="C4C7D6"/>
                  </a:solidFill>
                </a:rPr>
                <a:t>Fondateur</a:t>
              </a:r>
            </a:p>
          </p:txBody>
        </p:sp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52909268-C219-CB78-5866-C12573A004E2}"/>
              </a:ext>
            </a:extLst>
          </p:cNvPr>
          <p:cNvGrpSpPr/>
          <p:nvPr/>
        </p:nvGrpSpPr>
        <p:grpSpPr>
          <a:xfrm>
            <a:off x="1363249" y="1792046"/>
            <a:ext cx="3382922" cy="524401"/>
            <a:chOff x="4777067" y="3224547"/>
            <a:chExt cx="2637867" cy="408907"/>
          </a:xfrm>
        </p:grpSpPr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9910ED2C-8458-F0C8-2078-2D444C762496}"/>
                </a:ext>
              </a:extLst>
            </p:cNvPr>
            <p:cNvSpPr/>
            <p:nvPr/>
          </p:nvSpPr>
          <p:spPr>
            <a:xfrm>
              <a:off x="5339077" y="3230626"/>
              <a:ext cx="312433" cy="384284"/>
            </a:xfrm>
            <a:custGeom>
              <a:avLst/>
              <a:gdLst>
                <a:gd name="connsiteX0" fmla="*/ 485680 w 543401"/>
                <a:gd name="connsiteY0" fmla="*/ 563308 h 668369"/>
                <a:gd name="connsiteX1" fmla="*/ 528161 w 543401"/>
                <a:gd name="connsiteY1" fmla="*/ 580739 h 668369"/>
                <a:gd name="connsiteX2" fmla="*/ 543401 w 543401"/>
                <a:gd name="connsiteY2" fmla="*/ 617887 h 668369"/>
                <a:gd name="connsiteX3" fmla="*/ 529114 w 543401"/>
                <a:gd name="connsiteY3" fmla="*/ 652653 h 668369"/>
                <a:gd name="connsiteX4" fmla="*/ 485680 w 543401"/>
                <a:gd name="connsiteY4" fmla="*/ 668369 h 668369"/>
                <a:gd name="connsiteX5" fmla="*/ 69247 w 543401"/>
                <a:gd name="connsiteY5" fmla="*/ 668369 h 668369"/>
                <a:gd name="connsiteX6" fmla="*/ 18860 w 543401"/>
                <a:gd name="connsiteY6" fmla="*/ 650081 h 668369"/>
                <a:gd name="connsiteX7" fmla="*/ 0 w 543401"/>
                <a:gd name="connsiteY7" fmla="*/ 605409 h 668369"/>
                <a:gd name="connsiteX8" fmla="*/ 0 w 543401"/>
                <a:gd name="connsiteY8" fmla="*/ 61913 h 668369"/>
                <a:gd name="connsiteX9" fmla="*/ 18860 w 543401"/>
                <a:gd name="connsiteY9" fmla="*/ 18479 h 668369"/>
                <a:gd name="connsiteX10" fmla="*/ 69247 w 543401"/>
                <a:gd name="connsiteY10" fmla="*/ 0 h 668369"/>
                <a:gd name="connsiteX11" fmla="*/ 485775 w 543401"/>
                <a:gd name="connsiteY11" fmla="*/ 0 h 668369"/>
                <a:gd name="connsiteX12" fmla="*/ 527685 w 543401"/>
                <a:gd name="connsiteY12" fmla="*/ 15240 h 668369"/>
                <a:gd name="connsiteX13" fmla="*/ 541401 w 543401"/>
                <a:gd name="connsiteY13" fmla="*/ 50197 h 668369"/>
                <a:gd name="connsiteX14" fmla="*/ 527304 w 543401"/>
                <a:gd name="connsiteY14" fmla="*/ 86106 h 668369"/>
                <a:gd name="connsiteX15" fmla="*/ 485870 w 543401"/>
                <a:gd name="connsiteY15" fmla="*/ 102775 h 668369"/>
                <a:gd name="connsiteX16" fmla="*/ 119634 w 543401"/>
                <a:gd name="connsiteY16" fmla="*/ 102775 h 668369"/>
                <a:gd name="connsiteX17" fmla="*/ 119634 w 543401"/>
                <a:gd name="connsiteY17" fmla="*/ 286321 h 668369"/>
                <a:gd name="connsiteX18" fmla="*/ 466916 w 543401"/>
                <a:gd name="connsiteY18" fmla="*/ 286321 h 668369"/>
                <a:gd name="connsiteX19" fmla="*/ 507778 w 543401"/>
                <a:gd name="connsiteY19" fmla="*/ 302609 h 668369"/>
                <a:gd name="connsiteX20" fmla="*/ 521494 w 543401"/>
                <a:gd name="connsiteY20" fmla="*/ 338899 h 668369"/>
                <a:gd name="connsiteX21" fmla="*/ 507778 w 543401"/>
                <a:gd name="connsiteY21" fmla="*/ 373475 h 668369"/>
                <a:gd name="connsiteX22" fmla="*/ 466916 w 543401"/>
                <a:gd name="connsiteY22" fmla="*/ 389191 h 668369"/>
                <a:gd name="connsiteX23" fmla="*/ 119634 w 543401"/>
                <a:gd name="connsiteY23" fmla="*/ 389191 h 668369"/>
                <a:gd name="connsiteX24" fmla="*/ 119634 w 543401"/>
                <a:gd name="connsiteY24" fmla="*/ 563404 h 668369"/>
                <a:gd name="connsiteX25" fmla="*/ 485775 w 543401"/>
                <a:gd name="connsiteY25" fmla="*/ 563404 h 668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43401" h="668369">
                  <a:moveTo>
                    <a:pt x="485680" y="563308"/>
                  </a:moveTo>
                  <a:cubicBezTo>
                    <a:pt x="503968" y="563308"/>
                    <a:pt x="518065" y="569119"/>
                    <a:pt x="528161" y="580739"/>
                  </a:cubicBezTo>
                  <a:cubicBezTo>
                    <a:pt x="538353" y="592264"/>
                    <a:pt x="543401" y="604647"/>
                    <a:pt x="543401" y="617887"/>
                  </a:cubicBezTo>
                  <a:cubicBezTo>
                    <a:pt x="543401" y="631126"/>
                    <a:pt x="538639" y="642080"/>
                    <a:pt x="529114" y="652653"/>
                  </a:cubicBezTo>
                  <a:cubicBezTo>
                    <a:pt x="519684" y="663130"/>
                    <a:pt x="505206" y="668369"/>
                    <a:pt x="485680" y="668369"/>
                  </a:cubicBezTo>
                  <a:lnTo>
                    <a:pt x="69247" y="668369"/>
                  </a:lnTo>
                  <a:cubicBezTo>
                    <a:pt x="48197" y="668369"/>
                    <a:pt x="31433" y="662273"/>
                    <a:pt x="18860" y="650081"/>
                  </a:cubicBezTo>
                  <a:cubicBezTo>
                    <a:pt x="6286" y="637794"/>
                    <a:pt x="0" y="622935"/>
                    <a:pt x="0" y="605409"/>
                  </a:cubicBezTo>
                  <a:lnTo>
                    <a:pt x="0" y="61913"/>
                  </a:lnTo>
                  <a:cubicBezTo>
                    <a:pt x="0" y="45148"/>
                    <a:pt x="6286" y="30671"/>
                    <a:pt x="18860" y="18479"/>
                  </a:cubicBezTo>
                  <a:cubicBezTo>
                    <a:pt x="31433" y="6191"/>
                    <a:pt x="48197" y="0"/>
                    <a:pt x="69247" y="0"/>
                  </a:cubicBezTo>
                  <a:lnTo>
                    <a:pt x="485775" y="0"/>
                  </a:lnTo>
                  <a:cubicBezTo>
                    <a:pt x="504635" y="0"/>
                    <a:pt x="518636" y="5143"/>
                    <a:pt x="527685" y="15240"/>
                  </a:cubicBezTo>
                  <a:cubicBezTo>
                    <a:pt x="536829" y="25337"/>
                    <a:pt x="541401" y="36957"/>
                    <a:pt x="541401" y="50197"/>
                  </a:cubicBezTo>
                  <a:cubicBezTo>
                    <a:pt x="541401" y="63437"/>
                    <a:pt x="536734" y="74866"/>
                    <a:pt x="527304" y="86106"/>
                  </a:cubicBezTo>
                  <a:cubicBezTo>
                    <a:pt x="517874" y="97250"/>
                    <a:pt x="504063" y="102775"/>
                    <a:pt x="485870" y="102775"/>
                  </a:cubicBezTo>
                  <a:lnTo>
                    <a:pt x="119634" y="102775"/>
                  </a:lnTo>
                  <a:lnTo>
                    <a:pt x="119634" y="286321"/>
                  </a:lnTo>
                  <a:lnTo>
                    <a:pt x="466916" y="286321"/>
                  </a:lnTo>
                  <a:cubicBezTo>
                    <a:pt x="485013" y="286321"/>
                    <a:pt x="498634" y="291751"/>
                    <a:pt x="507778" y="302609"/>
                  </a:cubicBezTo>
                  <a:cubicBezTo>
                    <a:pt x="516922" y="313468"/>
                    <a:pt x="521494" y="325564"/>
                    <a:pt x="521494" y="338899"/>
                  </a:cubicBezTo>
                  <a:cubicBezTo>
                    <a:pt x="521494" y="351472"/>
                    <a:pt x="516922" y="362998"/>
                    <a:pt x="507778" y="373475"/>
                  </a:cubicBezTo>
                  <a:cubicBezTo>
                    <a:pt x="498634" y="383953"/>
                    <a:pt x="485013" y="389191"/>
                    <a:pt x="466916" y="389191"/>
                  </a:cubicBezTo>
                  <a:lnTo>
                    <a:pt x="119634" y="389191"/>
                  </a:lnTo>
                  <a:lnTo>
                    <a:pt x="119634" y="563404"/>
                  </a:lnTo>
                  <a:lnTo>
                    <a:pt x="485775" y="563404"/>
                  </a:lnTo>
                  <a:close/>
                </a:path>
              </a:pathLst>
            </a:custGeom>
            <a:solidFill>
              <a:srgbClr val="4E966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36F0411E-D977-7EDD-2AD4-01482E2E0400}"/>
                </a:ext>
              </a:extLst>
            </p:cNvPr>
            <p:cNvSpPr/>
            <p:nvPr/>
          </p:nvSpPr>
          <p:spPr>
            <a:xfrm>
              <a:off x="5700853" y="3301656"/>
              <a:ext cx="287032" cy="319168"/>
            </a:xfrm>
            <a:custGeom>
              <a:avLst/>
              <a:gdLst>
                <a:gd name="connsiteX0" fmla="*/ 394811 w 499223"/>
                <a:gd name="connsiteY0" fmla="*/ 154400 h 555116"/>
                <a:gd name="connsiteX1" fmla="*/ 338042 w 499223"/>
                <a:gd name="connsiteY1" fmla="*/ 114490 h 555116"/>
                <a:gd name="connsiteX2" fmla="*/ 274130 w 499223"/>
                <a:gd name="connsiteY2" fmla="*/ 102965 h 555116"/>
                <a:gd name="connsiteX3" fmla="*/ 162782 w 499223"/>
                <a:gd name="connsiteY3" fmla="*/ 150781 h 555116"/>
                <a:gd name="connsiteX4" fmla="*/ 120872 w 499223"/>
                <a:gd name="connsiteY4" fmla="*/ 279178 h 555116"/>
                <a:gd name="connsiteX5" fmla="*/ 164306 w 499223"/>
                <a:gd name="connsiteY5" fmla="*/ 403955 h 555116"/>
                <a:gd name="connsiteX6" fmla="*/ 278225 w 499223"/>
                <a:gd name="connsiteY6" fmla="*/ 451199 h 555116"/>
                <a:gd name="connsiteX7" fmla="*/ 342138 w 499223"/>
                <a:gd name="connsiteY7" fmla="*/ 440246 h 555116"/>
                <a:gd name="connsiteX8" fmla="*/ 399860 w 499223"/>
                <a:gd name="connsiteY8" fmla="*/ 403955 h 555116"/>
                <a:gd name="connsiteX9" fmla="*/ 445484 w 499223"/>
                <a:gd name="connsiteY9" fmla="*/ 379952 h 555116"/>
                <a:gd name="connsiteX10" fmla="*/ 482822 w 499223"/>
                <a:gd name="connsiteY10" fmla="*/ 392430 h 555116"/>
                <a:gd name="connsiteX11" fmla="*/ 499110 w 499223"/>
                <a:gd name="connsiteY11" fmla="*/ 427768 h 555116"/>
                <a:gd name="connsiteX12" fmla="*/ 480632 w 499223"/>
                <a:gd name="connsiteY12" fmla="*/ 471202 h 555116"/>
                <a:gd name="connsiteX13" fmla="*/ 386810 w 499223"/>
                <a:gd name="connsiteY13" fmla="*/ 535686 h 555116"/>
                <a:gd name="connsiteX14" fmla="*/ 277273 w 499223"/>
                <a:gd name="connsiteY14" fmla="*/ 555117 h 555116"/>
                <a:gd name="connsiteX15" fmla="*/ 131826 w 499223"/>
                <a:gd name="connsiteY15" fmla="*/ 520541 h 555116"/>
                <a:gd name="connsiteX16" fmla="*/ 34576 w 499223"/>
                <a:gd name="connsiteY16" fmla="*/ 423863 h 555116"/>
                <a:gd name="connsiteX17" fmla="*/ 0 w 499223"/>
                <a:gd name="connsiteY17" fmla="*/ 280035 h 555116"/>
                <a:gd name="connsiteX18" fmla="*/ 34100 w 499223"/>
                <a:gd name="connsiteY18" fmla="*/ 132207 h 555116"/>
                <a:gd name="connsiteX19" fmla="*/ 130112 w 499223"/>
                <a:gd name="connsiteY19" fmla="*/ 34766 h 555116"/>
                <a:gd name="connsiteX20" fmla="*/ 273939 w 499223"/>
                <a:gd name="connsiteY20" fmla="*/ 0 h 555116"/>
                <a:gd name="connsiteX21" fmla="*/ 381286 w 499223"/>
                <a:gd name="connsiteY21" fmla="*/ 17907 h 555116"/>
                <a:gd name="connsiteX22" fmla="*/ 473202 w 499223"/>
                <a:gd name="connsiteY22" fmla="*/ 84963 h 555116"/>
                <a:gd name="connsiteX23" fmla="*/ 489490 w 499223"/>
                <a:gd name="connsiteY23" fmla="*/ 128016 h 555116"/>
                <a:gd name="connsiteX24" fmla="*/ 471011 w 499223"/>
                <a:gd name="connsiteY24" fmla="*/ 162592 h 555116"/>
                <a:gd name="connsiteX25" fmla="*/ 433864 w 499223"/>
                <a:gd name="connsiteY25" fmla="*/ 175927 h 555116"/>
                <a:gd name="connsiteX26" fmla="*/ 394526 w 499223"/>
                <a:gd name="connsiteY26" fmla="*/ 154305 h 555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99223" h="555116">
                  <a:moveTo>
                    <a:pt x="394811" y="154400"/>
                  </a:moveTo>
                  <a:cubicBezTo>
                    <a:pt x="378619" y="135541"/>
                    <a:pt x="359759" y="122206"/>
                    <a:pt x="338042" y="114490"/>
                  </a:cubicBezTo>
                  <a:cubicBezTo>
                    <a:pt x="316325" y="106871"/>
                    <a:pt x="294989" y="102965"/>
                    <a:pt x="274130" y="102965"/>
                  </a:cubicBezTo>
                  <a:cubicBezTo>
                    <a:pt x="227933" y="102965"/>
                    <a:pt x="190881" y="118967"/>
                    <a:pt x="162782" y="150781"/>
                  </a:cubicBezTo>
                  <a:cubicBezTo>
                    <a:pt x="134874" y="182499"/>
                    <a:pt x="120872" y="225361"/>
                    <a:pt x="120872" y="279178"/>
                  </a:cubicBezTo>
                  <a:cubicBezTo>
                    <a:pt x="120872" y="332994"/>
                    <a:pt x="135350" y="372523"/>
                    <a:pt x="164306" y="403955"/>
                  </a:cubicBezTo>
                  <a:cubicBezTo>
                    <a:pt x="193262" y="435483"/>
                    <a:pt x="231267" y="451199"/>
                    <a:pt x="278225" y="451199"/>
                  </a:cubicBezTo>
                  <a:cubicBezTo>
                    <a:pt x="299085" y="451199"/>
                    <a:pt x="320421" y="447580"/>
                    <a:pt x="342138" y="440246"/>
                  </a:cubicBezTo>
                  <a:cubicBezTo>
                    <a:pt x="363855" y="432816"/>
                    <a:pt x="383096" y="420719"/>
                    <a:pt x="399860" y="403955"/>
                  </a:cubicBezTo>
                  <a:cubicBezTo>
                    <a:pt x="415385" y="388620"/>
                    <a:pt x="430530" y="380619"/>
                    <a:pt x="445484" y="379952"/>
                  </a:cubicBezTo>
                  <a:cubicBezTo>
                    <a:pt x="460534" y="379190"/>
                    <a:pt x="473012" y="383286"/>
                    <a:pt x="482822" y="392430"/>
                  </a:cubicBezTo>
                  <a:cubicBezTo>
                    <a:pt x="492633" y="401574"/>
                    <a:pt x="497967" y="413385"/>
                    <a:pt x="499110" y="427768"/>
                  </a:cubicBezTo>
                  <a:cubicBezTo>
                    <a:pt x="500158" y="442055"/>
                    <a:pt x="493967" y="456533"/>
                    <a:pt x="480632" y="471202"/>
                  </a:cubicBezTo>
                  <a:cubicBezTo>
                    <a:pt x="453390" y="501301"/>
                    <a:pt x="422053" y="522732"/>
                    <a:pt x="386810" y="535686"/>
                  </a:cubicBezTo>
                  <a:cubicBezTo>
                    <a:pt x="351568" y="548640"/>
                    <a:pt x="314992" y="555117"/>
                    <a:pt x="277273" y="555117"/>
                  </a:cubicBezTo>
                  <a:cubicBezTo>
                    <a:pt x="221933" y="555117"/>
                    <a:pt x="173450" y="543592"/>
                    <a:pt x="131826" y="520541"/>
                  </a:cubicBezTo>
                  <a:cubicBezTo>
                    <a:pt x="90107" y="497396"/>
                    <a:pt x="57722" y="465201"/>
                    <a:pt x="34576" y="423863"/>
                  </a:cubicBezTo>
                  <a:cubicBezTo>
                    <a:pt x="11525" y="382619"/>
                    <a:pt x="0" y="334708"/>
                    <a:pt x="0" y="280035"/>
                  </a:cubicBezTo>
                  <a:cubicBezTo>
                    <a:pt x="0" y="225361"/>
                    <a:pt x="11335" y="174212"/>
                    <a:pt x="34100" y="132207"/>
                  </a:cubicBezTo>
                  <a:cubicBezTo>
                    <a:pt x="56864" y="90297"/>
                    <a:pt x="88868" y="57817"/>
                    <a:pt x="130112" y="34766"/>
                  </a:cubicBezTo>
                  <a:cubicBezTo>
                    <a:pt x="171355" y="11621"/>
                    <a:pt x="219266" y="0"/>
                    <a:pt x="273939" y="0"/>
                  </a:cubicBezTo>
                  <a:cubicBezTo>
                    <a:pt x="312325" y="0"/>
                    <a:pt x="348044" y="6001"/>
                    <a:pt x="381286" y="17907"/>
                  </a:cubicBezTo>
                  <a:cubicBezTo>
                    <a:pt x="414623" y="29718"/>
                    <a:pt x="445199" y="52006"/>
                    <a:pt x="473202" y="84963"/>
                  </a:cubicBezTo>
                  <a:cubicBezTo>
                    <a:pt x="485870" y="99631"/>
                    <a:pt x="491300" y="114014"/>
                    <a:pt x="489490" y="128016"/>
                  </a:cubicBezTo>
                  <a:cubicBezTo>
                    <a:pt x="487775" y="141922"/>
                    <a:pt x="481584" y="153448"/>
                    <a:pt x="471011" y="162592"/>
                  </a:cubicBezTo>
                  <a:cubicBezTo>
                    <a:pt x="460534" y="171736"/>
                    <a:pt x="448151" y="176213"/>
                    <a:pt x="433864" y="175927"/>
                  </a:cubicBezTo>
                  <a:cubicBezTo>
                    <a:pt x="419576" y="175546"/>
                    <a:pt x="406432" y="168307"/>
                    <a:pt x="394526" y="154305"/>
                  </a:cubicBezTo>
                  <a:close/>
                </a:path>
              </a:pathLst>
            </a:custGeom>
            <a:solidFill>
              <a:srgbClr val="4E966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8B59CDAB-6CA5-97BB-A9DB-3A38526BB3B6}"/>
                </a:ext>
              </a:extLst>
            </p:cNvPr>
            <p:cNvSpPr/>
            <p:nvPr/>
          </p:nvSpPr>
          <p:spPr>
            <a:xfrm>
              <a:off x="6026210" y="3301766"/>
              <a:ext cx="320921" cy="319168"/>
            </a:xfrm>
            <a:custGeom>
              <a:avLst/>
              <a:gdLst>
                <a:gd name="connsiteX0" fmla="*/ 278892 w 558165"/>
                <a:gd name="connsiteY0" fmla="*/ 0 h 555116"/>
                <a:gd name="connsiteX1" fmla="*/ 425767 w 558165"/>
                <a:gd name="connsiteY1" fmla="*/ 35147 h 555116"/>
                <a:gd name="connsiteX2" fmla="*/ 523399 w 558165"/>
                <a:gd name="connsiteY2" fmla="*/ 133160 h 555116"/>
                <a:gd name="connsiteX3" fmla="*/ 558165 w 558165"/>
                <a:gd name="connsiteY3" fmla="*/ 280035 h 555116"/>
                <a:gd name="connsiteX4" fmla="*/ 521875 w 558165"/>
                <a:gd name="connsiteY4" fmla="*/ 423863 h 555116"/>
                <a:gd name="connsiteX5" fmla="*/ 424243 w 558165"/>
                <a:gd name="connsiteY5" fmla="*/ 520541 h 555116"/>
                <a:gd name="connsiteX6" fmla="*/ 278987 w 558165"/>
                <a:gd name="connsiteY6" fmla="*/ 555117 h 555116"/>
                <a:gd name="connsiteX7" fmla="*/ 134112 w 558165"/>
                <a:gd name="connsiteY7" fmla="*/ 520541 h 555116"/>
                <a:gd name="connsiteX8" fmla="*/ 36100 w 558165"/>
                <a:gd name="connsiteY8" fmla="*/ 423863 h 555116"/>
                <a:gd name="connsiteX9" fmla="*/ 0 w 558165"/>
                <a:gd name="connsiteY9" fmla="*/ 280035 h 555116"/>
                <a:gd name="connsiteX10" fmla="*/ 35147 w 558165"/>
                <a:gd name="connsiteY10" fmla="*/ 133160 h 555116"/>
                <a:gd name="connsiteX11" fmla="*/ 133159 w 558165"/>
                <a:gd name="connsiteY11" fmla="*/ 35147 h 555116"/>
                <a:gd name="connsiteX12" fmla="*/ 278987 w 558165"/>
                <a:gd name="connsiteY12" fmla="*/ 0 h 555116"/>
                <a:gd name="connsiteX13" fmla="*/ 278892 w 558165"/>
                <a:gd name="connsiteY13" fmla="*/ 450056 h 555116"/>
                <a:gd name="connsiteX14" fmla="*/ 392811 w 558165"/>
                <a:gd name="connsiteY14" fmla="*/ 402812 h 555116"/>
                <a:gd name="connsiteX15" fmla="*/ 435292 w 558165"/>
                <a:gd name="connsiteY15" fmla="*/ 279940 h 555116"/>
                <a:gd name="connsiteX16" fmla="*/ 392811 w 558165"/>
                <a:gd name="connsiteY16" fmla="*/ 153543 h 555116"/>
                <a:gd name="connsiteX17" fmla="*/ 278892 w 558165"/>
                <a:gd name="connsiteY17" fmla="*/ 104680 h 555116"/>
                <a:gd name="connsiteX18" fmla="*/ 165545 w 558165"/>
                <a:gd name="connsiteY18" fmla="*/ 153543 h 555116"/>
                <a:gd name="connsiteX19" fmla="*/ 122492 w 558165"/>
                <a:gd name="connsiteY19" fmla="*/ 279940 h 555116"/>
                <a:gd name="connsiteX20" fmla="*/ 165545 w 558165"/>
                <a:gd name="connsiteY20" fmla="*/ 402812 h 555116"/>
                <a:gd name="connsiteX21" fmla="*/ 278892 w 558165"/>
                <a:gd name="connsiteY21" fmla="*/ 450056 h 555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58165" h="555116">
                  <a:moveTo>
                    <a:pt x="278892" y="0"/>
                  </a:moveTo>
                  <a:cubicBezTo>
                    <a:pt x="334899" y="0"/>
                    <a:pt x="383762" y="11716"/>
                    <a:pt x="425767" y="35147"/>
                  </a:cubicBezTo>
                  <a:cubicBezTo>
                    <a:pt x="467868" y="58579"/>
                    <a:pt x="500348" y="91249"/>
                    <a:pt x="523399" y="133160"/>
                  </a:cubicBezTo>
                  <a:cubicBezTo>
                    <a:pt x="546545" y="175165"/>
                    <a:pt x="558165" y="224028"/>
                    <a:pt x="558165" y="280035"/>
                  </a:cubicBezTo>
                  <a:cubicBezTo>
                    <a:pt x="557498" y="334708"/>
                    <a:pt x="545401" y="382619"/>
                    <a:pt x="521875" y="423863"/>
                  </a:cubicBezTo>
                  <a:cubicBezTo>
                    <a:pt x="498443" y="465106"/>
                    <a:pt x="465868" y="497396"/>
                    <a:pt x="424243" y="520541"/>
                  </a:cubicBezTo>
                  <a:cubicBezTo>
                    <a:pt x="382714" y="543592"/>
                    <a:pt x="334232" y="555117"/>
                    <a:pt x="278987" y="555117"/>
                  </a:cubicBezTo>
                  <a:cubicBezTo>
                    <a:pt x="223742" y="555117"/>
                    <a:pt x="176213" y="543592"/>
                    <a:pt x="134112" y="520541"/>
                  </a:cubicBezTo>
                  <a:cubicBezTo>
                    <a:pt x="92107" y="497396"/>
                    <a:pt x="59531" y="465201"/>
                    <a:pt x="36100" y="423863"/>
                  </a:cubicBezTo>
                  <a:cubicBezTo>
                    <a:pt x="12668" y="382524"/>
                    <a:pt x="667" y="334708"/>
                    <a:pt x="0" y="280035"/>
                  </a:cubicBezTo>
                  <a:cubicBezTo>
                    <a:pt x="0" y="224028"/>
                    <a:pt x="11716" y="175165"/>
                    <a:pt x="35147" y="133160"/>
                  </a:cubicBezTo>
                  <a:cubicBezTo>
                    <a:pt x="58579" y="91249"/>
                    <a:pt x="91250" y="58579"/>
                    <a:pt x="133159" y="35147"/>
                  </a:cubicBezTo>
                  <a:cubicBezTo>
                    <a:pt x="175260" y="11716"/>
                    <a:pt x="223838" y="0"/>
                    <a:pt x="278987" y="0"/>
                  </a:cubicBezTo>
                  <a:close/>
                  <a:moveTo>
                    <a:pt x="278892" y="450056"/>
                  </a:moveTo>
                  <a:cubicBezTo>
                    <a:pt x="326517" y="450056"/>
                    <a:pt x="364426" y="434340"/>
                    <a:pt x="392811" y="402812"/>
                  </a:cubicBezTo>
                  <a:cubicBezTo>
                    <a:pt x="421100" y="371380"/>
                    <a:pt x="435292" y="330422"/>
                    <a:pt x="435292" y="279940"/>
                  </a:cubicBezTo>
                  <a:cubicBezTo>
                    <a:pt x="435292" y="229457"/>
                    <a:pt x="421100" y="186119"/>
                    <a:pt x="392811" y="153543"/>
                  </a:cubicBezTo>
                  <a:cubicBezTo>
                    <a:pt x="364522" y="120968"/>
                    <a:pt x="326517" y="104680"/>
                    <a:pt x="278892" y="104680"/>
                  </a:cubicBezTo>
                  <a:cubicBezTo>
                    <a:pt x="231267" y="104680"/>
                    <a:pt x="194215" y="120968"/>
                    <a:pt x="165545" y="153543"/>
                  </a:cubicBezTo>
                  <a:cubicBezTo>
                    <a:pt x="136779" y="186119"/>
                    <a:pt x="122492" y="228219"/>
                    <a:pt x="122492" y="279940"/>
                  </a:cubicBezTo>
                  <a:cubicBezTo>
                    <a:pt x="122492" y="331661"/>
                    <a:pt x="136874" y="371285"/>
                    <a:pt x="165545" y="402812"/>
                  </a:cubicBezTo>
                  <a:cubicBezTo>
                    <a:pt x="194215" y="434340"/>
                    <a:pt x="232029" y="450056"/>
                    <a:pt x="278892" y="450056"/>
                  </a:cubicBezTo>
                  <a:close/>
                </a:path>
              </a:pathLst>
            </a:custGeom>
            <a:solidFill>
              <a:srgbClr val="4E966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AD70837F-53AE-0140-4340-F23F8B6CAF4C}"/>
                </a:ext>
              </a:extLst>
            </p:cNvPr>
            <p:cNvSpPr/>
            <p:nvPr/>
          </p:nvSpPr>
          <p:spPr>
            <a:xfrm>
              <a:off x="6406880" y="3230572"/>
              <a:ext cx="316759" cy="384339"/>
            </a:xfrm>
            <a:custGeom>
              <a:avLst/>
              <a:gdLst>
                <a:gd name="connsiteX0" fmla="*/ 120587 w 550926"/>
                <a:gd name="connsiteY0" fmla="*/ 482632 h 668464"/>
                <a:gd name="connsiteX1" fmla="*/ 120587 w 550926"/>
                <a:gd name="connsiteY1" fmla="*/ 614839 h 668464"/>
                <a:gd name="connsiteX2" fmla="*/ 101156 w 550926"/>
                <a:gd name="connsiteY2" fmla="*/ 655320 h 668464"/>
                <a:gd name="connsiteX3" fmla="*/ 59722 w 550926"/>
                <a:gd name="connsiteY3" fmla="*/ 668464 h 668464"/>
                <a:gd name="connsiteX4" fmla="*/ 18288 w 550926"/>
                <a:gd name="connsiteY4" fmla="*/ 655320 h 668464"/>
                <a:gd name="connsiteX5" fmla="*/ 0 w 550926"/>
                <a:gd name="connsiteY5" fmla="*/ 615982 h 668464"/>
                <a:gd name="connsiteX6" fmla="*/ 0 w 550926"/>
                <a:gd name="connsiteY6" fmla="*/ 54578 h 668464"/>
                <a:gd name="connsiteX7" fmla="*/ 17621 w 550926"/>
                <a:gd name="connsiteY7" fmla="*/ 15240 h 668464"/>
                <a:gd name="connsiteX8" fmla="*/ 60674 w 550926"/>
                <a:gd name="connsiteY8" fmla="*/ 0 h 668464"/>
                <a:gd name="connsiteX9" fmla="*/ 274796 w 550926"/>
                <a:gd name="connsiteY9" fmla="*/ 0 h 668464"/>
                <a:gd name="connsiteX10" fmla="*/ 423863 w 550926"/>
                <a:gd name="connsiteY10" fmla="*/ 30956 h 668464"/>
                <a:gd name="connsiteX11" fmla="*/ 518350 w 550926"/>
                <a:gd name="connsiteY11" fmla="*/ 117062 h 668464"/>
                <a:gd name="connsiteX12" fmla="*/ 550926 w 550926"/>
                <a:gd name="connsiteY12" fmla="*/ 246412 h 668464"/>
                <a:gd name="connsiteX13" fmla="*/ 477488 w 550926"/>
                <a:gd name="connsiteY13" fmla="*/ 417481 h 668464"/>
                <a:gd name="connsiteX14" fmla="*/ 271748 w 550926"/>
                <a:gd name="connsiteY14" fmla="*/ 482537 h 668464"/>
                <a:gd name="connsiteX15" fmla="*/ 120777 w 550926"/>
                <a:gd name="connsiteY15" fmla="*/ 482537 h 668464"/>
                <a:gd name="connsiteX16" fmla="*/ 120587 w 550926"/>
                <a:gd name="connsiteY16" fmla="*/ 103822 h 668464"/>
                <a:gd name="connsiteX17" fmla="*/ 120587 w 550926"/>
                <a:gd name="connsiteY17" fmla="*/ 378905 h 668464"/>
                <a:gd name="connsiteX18" fmla="*/ 271558 w 550926"/>
                <a:gd name="connsiteY18" fmla="*/ 378905 h 668464"/>
                <a:gd name="connsiteX19" fmla="*/ 390239 w 550926"/>
                <a:gd name="connsiteY19" fmla="*/ 342805 h 668464"/>
                <a:gd name="connsiteX20" fmla="*/ 431102 w 550926"/>
                <a:gd name="connsiteY20" fmla="*/ 246602 h 668464"/>
                <a:gd name="connsiteX21" fmla="*/ 390620 w 550926"/>
                <a:gd name="connsiteY21" fmla="*/ 142780 h 668464"/>
                <a:gd name="connsiteX22" fmla="*/ 275749 w 550926"/>
                <a:gd name="connsiteY22" fmla="*/ 103918 h 668464"/>
                <a:gd name="connsiteX23" fmla="*/ 120587 w 550926"/>
                <a:gd name="connsiteY23" fmla="*/ 103918 h 668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50926" h="668464">
                  <a:moveTo>
                    <a:pt x="120587" y="482632"/>
                  </a:moveTo>
                  <a:lnTo>
                    <a:pt x="120587" y="614839"/>
                  </a:lnTo>
                  <a:cubicBezTo>
                    <a:pt x="120587" y="633127"/>
                    <a:pt x="114110" y="646557"/>
                    <a:pt x="101156" y="655320"/>
                  </a:cubicBezTo>
                  <a:cubicBezTo>
                    <a:pt x="88202" y="664083"/>
                    <a:pt x="74390" y="668464"/>
                    <a:pt x="59722" y="668464"/>
                  </a:cubicBezTo>
                  <a:cubicBezTo>
                    <a:pt x="45053" y="668464"/>
                    <a:pt x="30575" y="664083"/>
                    <a:pt x="18288" y="655320"/>
                  </a:cubicBezTo>
                  <a:cubicBezTo>
                    <a:pt x="6096" y="646557"/>
                    <a:pt x="0" y="633508"/>
                    <a:pt x="0" y="615982"/>
                  </a:cubicBezTo>
                  <a:lnTo>
                    <a:pt x="0" y="54578"/>
                  </a:lnTo>
                  <a:cubicBezTo>
                    <a:pt x="0" y="38481"/>
                    <a:pt x="5810" y="25337"/>
                    <a:pt x="17621" y="15240"/>
                  </a:cubicBezTo>
                  <a:cubicBezTo>
                    <a:pt x="29528" y="5048"/>
                    <a:pt x="43910" y="0"/>
                    <a:pt x="60674" y="0"/>
                  </a:cubicBezTo>
                  <a:lnTo>
                    <a:pt x="274796" y="0"/>
                  </a:lnTo>
                  <a:cubicBezTo>
                    <a:pt x="332804" y="0"/>
                    <a:pt x="382524" y="10287"/>
                    <a:pt x="423863" y="30956"/>
                  </a:cubicBezTo>
                  <a:cubicBezTo>
                    <a:pt x="465201" y="51626"/>
                    <a:pt x="496634" y="80296"/>
                    <a:pt x="518350" y="117062"/>
                  </a:cubicBezTo>
                  <a:cubicBezTo>
                    <a:pt x="540068" y="153733"/>
                    <a:pt x="550926" y="196882"/>
                    <a:pt x="550926" y="246412"/>
                  </a:cubicBezTo>
                  <a:cubicBezTo>
                    <a:pt x="550926" y="317087"/>
                    <a:pt x="526447" y="374142"/>
                    <a:pt x="477488" y="417481"/>
                  </a:cubicBezTo>
                  <a:cubicBezTo>
                    <a:pt x="428530" y="460915"/>
                    <a:pt x="359950" y="482537"/>
                    <a:pt x="271748" y="482537"/>
                  </a:cubicBezTo>
                  <a:lnTo>
                    <a:pt x="120777" y="482537"/>
                  </a:lnTo>
                  <a:close/>
                  <a:moveTo>
                    <a:pt x="120587" y="103822"/>
                  </a:moveTo>
                  <a:lnTo>
                    <a:pt x="120587" y="378905"/>
                  </a:lnTo>
                  <a:lnTo>
                    <a:pt x="271558" y="378905"/>
                  </a:lnTo>
                  <a:cubicBezTo>
                    <a:pt x="323374" y="378905"/>
                    <a:pt x="362903" y="366903"/>
                    <a:pt x="390239" y="342805"/>
                  </a:cubicBezTo>
                  <a:cubicBezTo>
                    <a:pt x="417481" y="318611"/>
                    <a:pt x="431102" y="286512"/>
                    <a:pt x="431102" y="246602"/>
                  </a:cubicBezTo>
                  <a:cubicBezTo>
                    <a:pt x="431102" y="203263"/>
                    <a:pt x="417576" y="168593"/>
                    <a:pt x="390620" y="142780"/>
                  </a:cubicBezTo>
                  <a:cubicBezTo>
                    <a:pt x="363760" y="116872"/>
                    <a:pt x="325469" y="103918"/>
                    <a:pt x="275749" y="103918"/>
                  </a:cubicBezTo>
                  <a:lnTo>
                    <a:pt x="120587" y="103918"/>
                  </a:lnTo>
                  <a:close/>
                </a:path>
              </a:pathLst>
            </a:custGeom>
            <a:solidFill>
              <a:srgbClr val="4E966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B2BCFAC4-1C56-A4A6-FE8F-6082B50E88B9}"/>
                </a:ext>
              </a:extLst>
            </p:cNvPr>
            <p:cNvSpPr/>
            <p:nvPr/>
          </p:nvSpPr>
          <p:spPr>
            <a:xfrm>
              <a:off x="6778458" y="3224547"/>
              <a:ext cx="69934" cy="390309"/>
            </a:xfrm>
            <a:custGeom>
              <a:avLst/>
              <a:gdLst>
                <a:gd name="connsiteX0" fmla="*/ 121634 w 121634"/>
                <a:gd name="connsiteY0" fmla="*/ 66104 h 678846"/>
                <a:gd name="connsiteX1" fmla="*/ 102203 w 121634"/>
                <a:gd name="connsiteY1" fmla="*/ 105442 h 678846"/>
                <a:gd name="connsiteX2" fmla="*/ 60770 w 121634"/>
                <a:gd name="connsiteY2" fmla="*/ 118586 h 678846"/>
                <a:gd name="connsiteX3" fmla="*/ 18860 w 121634"/>
                <a:gd name="connsiteY3" fmla="*/ 105442 h 678846"/>
                <a:gd name="connsiteX4" fmla="*/ 0 w 121634"/>
                <a:gd name="connsiteY4" fmla="*/ 66104 h 678846"/>
                <a:gd name="connsiteX5" fmla="*/ 0 w 121634"/>
                <a:gd name="connsiteY5" fmla="*/ 52388 h 678846"/>
                <a:gd name="connsiteX6" fmla="*/ 18860 w 121634"/>
                <a:gd name="connsiteY6" fmla="*/ 12668 h 678846"/>
                <a:gd name="connsiteX7" fmla="*/ 60770 w 121634"/>
                <a:gd name="connsiteY7" fmla="*/ 0 h 678846"/>
                <a:gd name="connsiteX8" fmla="*/ 102203 w 121634"/>
                <a:gd name="connsiteY8" fmla="*/ 12668 h 678846"/>
                <a:gd name="connsiteX9" fmla="*/ 121634 w 121634"/>
                <a:gd name="connsiteY9" fmla="*/ 52388 h 678846"/>
                <a:gd name="connsiteX10" fmla="*/ 121634 w 121634"/>
                <a:gd name="connsiteY10" fmla="*/ 66104 h 678846"/>
                <a:gd name="connsiteX11" fmla="*/ 953 w 121634"/>
                <a:gd name="connsiteY11" fmla="*/ 196215 h 678846"/>
                <a:gd name="connsiteX12" fmla="*/ 20384 w 121634"/>
                <a:gd name="connsiteY12" fmla="*/ 157925 h 678846"/>
                <a:gd name="connsiteX13" fmla="*/ 60674 w 121634"/>
                <a:gd name="connsiteY13" fmla="*/ 144589 h 678846"/>
                <a:gd name="connsiteX14" fmla="*/ 101727 w 121634"/>
                <a:gd name="connsiteY14" fmla="*/ 157925 h 678846"/>
                <a:gd name="connsiteX15" fmla="*/ 120587 w 121634"/>
                <a:gd name="connsiteY15" fmla="*/ 195072 h 678846"/>
                <a:gd name="connsiteX16" fmla="*/ 120587 w 121634"/>
                <a:gd name="connsiteY16" fmla="*/ 627507 h 678846"/>
                <a:gd name="connsiteX17" fmla="*/ 101727 w 121634"/>
                <a:gd name="connsiteY17" fmla="*/ 666369 h 678846"/>
                <a:gd name="connsiteX18" fmla="*/ 60674 w 121634"/>
                <a:gd name="connsiteY18" fmla="*/ 678847 h 678846"/>
                <a:gd name="connsiteX19" fmla="*/ 20384 w 121634"/>
                <a:gd name="connsiteY19" fmla="*/ 666369 h 678846"/>
                <a:gd name="connsiteX20" fmla="*/ 953 w 121634"/>
                <a:gd name="connsiteY20" fmla="*/ 627507 h 678846"/>
                <a:gd name="connsiteX21" fmla="*/ 953 w 121634"/>
                <a:gd name="connsiteY21" fmla="*/ 196310 h 678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634" h="678846">
                  <a:moveTo>
                    <a:pt x="121634" y="66104"/>
                  </a:moveTo>
                  <a:cubicBezTo>
                    <a:pt x="121634" y="83534"/>
                    <a:pt x="115158" y="96679"/>
                    <a:pt x="102203" y="105442"/>
                  </a:cubicBezTo>
                  <a:cubicBezTo>
                    <a:pt x="89345" y="114205"/>
                    <a:pt x="75533" y="118586"/>
                    <a:pt x="60770" y="118586"/>
                  </a:cubicBezTo>
                  <a:cubicBezTo>
                    <a:pt x="46006" y="118586"/>
                    <a:pt x="31433" y="114205"/>
                    <a:pt x="18860" y="105442"/>
                  </a:cubicBezTo>
                  <a:cubicBezTo>
                    <a:pt x="6287" y="96679"/>
                    <a:pt x="0" y="83629"/>
                    <a:pt x="0" y="66104"/>
                  </a:cubicBezTo>
                  <a:lnTo>
                    <a:pt x="0" y="52388"/>
                  </a:lnTo>
                  <a:cubicBezTo>
                    <a:pt x="0" y="34290"/>
                    <a:pt x="6287" y="21050"/>
                    <a:pt x="18860" y="12668"/>
                  </a:cubicBezTo>
                  <a:cubicBezTo>
                    <a:pt x="31433" y="4191"/>
                    <a:pt x="45339" y="0"/>
                    <a:pt x="60770" y="0"/>
                  </a:cubicBezTo>
                  <a:cubicBezTo>
                    <a:pt x="76200" y="0"/>
                    <a:pt x="89440" y="4286"/>
                    <a:pt x="102203" y="12668"/>
                  </a:cubicBezTo>
                  <a:cubicBezTo>
                    <a:pt x="115158" y="21050"/>
                    <a:pt x="121634" y="34290"/>
                    <a:pt x="121634" y="52388"/>
                  </a:cubicBezTo>
                  <a:lnTo>
                    <a:pt x="121634" y="66104"/>
                  </a:lnTo>
                  <a:close/>
                  <a:moveTo>
                    <a:pt x="953" y="196215"/>
                  </a:moveTo>
                  <a:cubicBezTo>
                    <a:pt x="953" y="179451"/>
                    <a:pt x="7430" y="166688"/>
                    <a:pt x="20384" y="157925"/>
                  </a:cubicBezTo>
                  <a:cubicBezTo>
                    <a:pt x="33338" y="149066"/>
                    <a:pt x="46768" y="144589"/>
                    <a:pt x="60674" y="144589"/>
                  </a:cubicBezTo>
                  <a:cubicBezTo>
                    <a:pt x="75438" y="144589"/>
                    <a:pt x="89154" y="149066"/>
                    <a:pt x="101727" y="157925"/>
                  </a:cubicBezTo>
                  <a:cubicBezTo>
                    <a:pt x="114300" y="166688"/>
                    <a:pt x="120587" y="179070"/>
                    <a:pt x="120587" y="195072"/>
                  </a:cubicBezTo>
                  <a:lnTo>
                    <a:pt x="120587" y="627507"/>
                  </a:lnTo>
                  <a:cubicBezTo>
                    <a:pt x="120587" y="644938"/>
                    <a:pt x="114300" y="657987"/>
                    <a:pt x="101727" y="666369"/>
                  </a:cubicBezTo>
                  <a:cubicBezTo>
                    <a:pt x="89154" y="674751"/>
                    <a:pt x="75438" y="678847"/>
                    <a:pt x="60674" y="678847"/>
                  </a:cubicBezTo>
                  <a:cubicBezTo>
                    <a:pt x="46768" y="678847"/>
                    <a:pt x="33338" y="674656"/>
                    <a:pt x="20384" y="666369"/>
                  </a:cubicBezTo>
                  <a:cubicBezTo>
                    <a:pt x="7430" y="657892"/>
                    <a:pt x="953" y="644938"/>
                    <a:pt x="953" y="627507"/>
                  </a:cubicBezTo>
                  <a:lnTo>
                    <a:pt x="953" y="196310"/>
                  </a:lnTo>
                  <a:close/>
                </a:path>
              </a:pathLst>
            </a:custGeom>
            <a:solidFill>
              <a:srgbClr val="4E966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730E55A0-8931-E1AF-D0E9-366EB8B4692E}"/>
                </a:ext>
              </a:extLst>
            </p:cNvPr>
            <p:cNvSpPr/>
            <p:nvPr/>
          </p:nvSpPr>
          <p:spPr>
            <a:xfrm>
              <a:off x="6900858" y="3224547"/>
              <a:ext cx="68784" cy="390309"/>
            </a:xfrm>
            <a:custGeom>
              <a:avLst/>
              <a:gdLst>
                <a:gd name="connsiteX0" fmla="*/ 119634 w 119633"/>
                <a:gd name="connsiteY0" fmla="*/ 626459 h 678846"/>
                <a:gd name="connsiteX1" fmla="*/ 102203 w 119633"/>
                <a:gd name="connsiteY1" fmla="*/ 663130 h 678846"/>
                <a:gd name="connsiteX2" fmla="*/ 59722 w 119633"/>
                <a:gd name="connsiteY2" fmla="*/ 678847 h 678846"/>
                <a:gd name="connsiteX3" fmla="*/ 16669 w 119633"/>
                <a:gd name="connsiteY3" fmla="*/ 663130 h 678846"/>
                <a:gd name="connsiteX4" fmla="*/ 0 w 119633"/>
                <a:gd name="connsiteY4" fmla="*/ 626459 h 678846"/>
                <a:gd name="connsiteX5" fmla="*/ 0 w 119633"/>
                <a:gd name="connsiteY5" fmla="*/ 52388 h 678846"/>
                <a:gd name="connsiteX6" fmla="*/ 16669 w 119633"/>
                <a:gd name="connsiteY6" fmla="*/ 15716 h 678846"/>
                <a:gd name="connsiteX7" fmla="*/ 59722 w 119633"/>
                <a:gd name="connsiteY7" fmla="*/ 0 h 678846"/>
                <a:gd name="connsiteX8" fmla="*/ 102203 w 119633"/>
                <a:gd name="connsiteY8" fmla="*/ 15716 h 678846"/>
                <a:gd name="connsiteX9" fmla="*/ 119634 w 119633"/>
                <a:gd name="connsiteY9" fmla="*/ 52388 h 678846"/>
                <a:gd name="connsiteX10" fmla="*/ 119634 w 119633"/>
                <a:gd name="connsiteY10" fmla="*/ 626459 h 678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633" h="678846">
                  <a:moveTo>
                    <a:pt x="119634" y="626459"/>
                  </a:moveTo>
                  <a:cubicBezTo>
                    <a:pt x="119634" y="640366"/>
                    <a:pt x="113824" y="652558"/>
                    <a:pt x="102203" y="663130"/>
                  </a:cubicBezTo>
                  <a:cubicBezTo>
                    <a:pt x="90678" y="673608"/>
                    <a:pt x="76486" y="678847"/>
                    <a:pt x="59722" y="678847"/>
                  </a:cubicBezTo>
                  <a:cubicBezTo>
                    <a:pt x="42958" y="678847"/>
                    <a:pt x="27908" y="673608"/>
                    <a:pt x="16669" y="663130"/>
                  </a:cubicBezTo>
                  <a:cubicBezTo>
                    <a:pt x="5525" y="652558"/>
                    <a:pt x="0" y="640271"/>
                    <a:pt x="0" y="626459"/>
                  </a:cubicBezTo>
                  <a:lnTo>
                    <a:pt x="0" y="52388"/>
                  </a:lnTo>
                  <a:cubicBezTo>
                    <a:pt x="0" y="38386"/>
                    <a:pt x="5525" y="26098"/>
                    <a:pt x="16669" y="15716"/>
                  </a:cubicBezTo>
                  <a:cubicBezTo>
                    <a:pt x="27908" y="5334"/>
                    <a:pt x="42291" y="0"/>
                    <a:pt x="59722" y="0"/>
                  </a:cubicBezTo>
                  <a:cubicBezTo>
                    <a:pt x="77153" y="0"/>
                    <a:pt x="90678" y="5239"/>
                    <a:pt x="102203" y="15716"/>
                  </a:cubicBezTo>
                  <a:cubicBezTo>
                    <a:pt x="113824" y="26194"/>
                    <a:pt x="119634" y="38481"/>
                    <a:pt x="119634" y="52388"/>
                  </a:cubicBezTo>
                  <a:lnTo>
                    <a:pt x="119634" y="626459"/>
                  </a:lnTo>
                  <a:close/>
                </a:path>
              </a:pathLst>
            </a:custGeom>
            <a:solidFill>
              <a:srgbClr val="4E966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9C8BA25F-B7E8-8A32-E6CB-9D1DEC72FB3D}"/>
                </a:ext>
              </a:extLst>
            </p:cNvPr>
            <p:cNvSpPr/>
            <p:nvPr/>
          </p:nvSpPr>
          <p:spPr>
            <a:xfrm>
              <a:off x="7022764" y="3224547"/>
              <a:ext cx="68784" cy="390309"/>
            </a:xfrm>
            <a:custGeom>
              <a:avLst/>
              <a:gdLst>
                <a:gd name="connsiteX0" fmla="*/ 119634 w 119633"/>
                <a:gd name="connsiteY0" fmla="*/ 626459 h 678846"/>
                <a:gd name="connsiteX1" fmla="*/ 102203 w 119633"/>
                <a:gd name="connsiteY1" fmla="*/ 663130 h 678846"/>
                <a:gd name="connsiteX2" fmla="*/ 59722 w 119633"/>
                <a:gd name="connsiteY2" fmla="*/ 678847 h 678846"/>
                <a:gd name="connsiteX3" fmla="*/ 16669 w 119633"/>
                <a:gd name="connsiteY3" fmla="*/ 663130 h 678846"/>
                <a:gd name="connsiteX4" fmla="*/ 0 w 119633"/>
                <a:gd name="connsiteY4" fmla="*/ 626459 h 678846"/>
                <a:gd name="connsiteX5" fmla="*/ 0 w 119633"/>
                <a:gd name="connsiteY5" fmla="*/ 52388 h 678846"/>
                <a:gd name="connsiteX6" fmla="*/ 16669 w 119633"/>
                <a:gd name="connsiteY6" fmla="*/ 15716 h 678846"/>
                <a:gd name="connsiteX7" fmla="*/ 59722 w 119633"/>
                <a:gd name="connsiteY7" fmla="*/ 0 h 678846"/>
                <a:gd name="connsiteX8" fmla="*/ 102203 w 119633"/>
                <a:gd name="connsiteY8" fmla="*/ 15716 h 678846"/>
                <a:gd name="connsiteX9" fmla="*/ 119634 w 119633"/>
                <a:gd name="connsiteY9" fmla="*/ 52388 h 678846"/>
                <a:gd name="connsiteX10" fmla="*/ 119634 w 119633"/>
                <a:gd name="connsiteY10" fmla="*/ 626459 h 678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633" h="678846">
                  <a:moveTo>
                    <a:pt x="119634" y="626459"/>
                  </a:moveTo>
                  <a:cubicBezTo>
                    <a:pt x="119634" y="640366"/>
                    <a:pt x="113824" y="652558"/>
                    <a:pt x="102203" y="663130"/>
                  </a:cubicBezTo>
                  <a:cubicBezTo>
                    <a:pt x="90678" y="673608"/>
                    <a:pt x="76486" y="678847"/>
                    <a:pt x="59722" y="678847"/>
                  </a:cubicBezTo>
                  <a:cubicBezTo>
                    <a:pt x="42958" y="678847"/>
                    <a:pt x="27908" y="673608"/>
                    <a:pt x="16669" y="663130"/>
                  </a:cubicBezTo>
                  <a:cubicBezTo>
                    <a:pt x="5524" y="652558"/>
                    <a:pt x="0" y="640271"/>
                    <a:pt x="0" y="626459"/>
                  </a:cubicBezTo>
                  <a:lnTo>
                    <a:pt x="0" y="52388"/>
                  </a:lnTo>
                  <a:cubicBezTo>
                    <a:pt x="0" y="38386"/>
                    <a:pt x="5524" y="26098"/>
                    <a:pt x="16669" y="15716"/>
                  </a:cubicBezTo>
                  <a:cubicBezTo>
                    <a:pt x="27908" y="5334"/>
                    <a:pt x="42291" y="0"/>
                    <a:pt x="59722" y="0"/>
                  </a:cubicBezTo>
                  <a:cubicBezTo>
                    <a:pt x="77153" y="0"/>
                    <a:pt x="90678" y="5239"/>
                    <a:pt x="102203" y="15716"/>
                  </a:cubicBezTo>
                  <a:cubicBezTo>
                    <a:pt x="113824" y="26194"/>
                    <a:pt x="119634" y="38481"/>
                    <a:pt x="119634" y="52388"/>
                  </a:cubicBezTo>
                  <a:lnTo>
                    <a:pt x="119634" y="626459"/>
                  </a:lnTo>
                  <a:close/>
                </a:path>
              </a:pathLst>
            </a:custGeom>
            <a:solidFill>
              <a:srgbClr val="4E966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1A5FEEC3-2C6F-20A6-C5D6-3F7C6C6CE9C1}"/>
                </a:ext>
              </a:extLst>
            </p:cNvPr>
            <p:cNvSpPr/>
            <p:nvPr/>
          </p:nvSpPr>
          <p:spPr>
            <a:xfrm>
              <a:off x="7130250" y="3301711"/>
              <a:ext cx="284684" cy="319005"/>
            </a:xfrm>
            <a:custGeom>
              <a:avLst/>
              <a:gdLst>
                <a:gd name="connsiteX0" fmla="*/ 1935 w 495139"/>
                <a:gd name="connsiteY0" fmla="*/ 419862 h 554831"/>
                <a:gd name="connsiteX1" fmla="*/ 15461 w 495139"/>
                <a:gd name="connsiteY1" fmla="*/ 372618 h 554831"/>
                <a:gd name="connsiteX2" fmla="*/ 61657 w 495139"/>
                <a:gd name="connsiteY2" fmla="*/ 354711 h 554831"/>
                <a:gd name="connsiteX3" fmla="*/ 95185 w 495139"/>
                <a:gd name="connsiteY3" fmla="*/ 365855 h 554831"/>
                <a:gd name="connsiteX4" fmla="*/ 117188 w 495139"/>
                <a:gd name="connsiteY4" fmla="*/ 398812 h 554831"/>
                <a:gd name="connsiteX5" fmla="*/ 144620 w 495139"/>
                <a:gd name="connsiteY5" fmla="*/ 429768 h 554831"/>
                <a:gd name="connsiteX6" fmla="*/ 193483 w 495139"/>
                <a:gd name="connsiteY6" fmla="*/ 447199 h 554831"/>
                <a:gd name="connsiteX7" fmla="*/ 249680 w 495139"/>
                <a:gd name="connsiteY7" fmla="*/ 452342 h 554831"/>
                <a:gd name="connsiteX8" fmla="*/ 340739 w 495139"/>
                <a:gd name="connsiteY8" fmla="*/ 431863 h 554831"/>
                <a:gd name="connsiteX9" fmla="*/ 375505 w 495139"/>
                <a:gd name="connsiteY9" fmla="*/ 379857 h 554831"/>
                <a:gd name="connsiteX10" fmla="*/ 357027 w 495139"/>
                <a:gd name="connsiteY10" fmla="*/ 347282 h 554831"/>
                <a:gd name="connsiteX11" fmla="*/ 308830 w 495139"/>
                <a:gd name="connsiteY11" fmla="*/ 332613 h 554831"/>
                <a:gd name="connsiteX12" fmla="*/ 245489 w 495139"/>
                <a:gd name="connsiteY12" fmla="*/ 326231 h 554831"/>
                <a:gd name="connsiteX13" fmla="*/ 158812 w 495139"/>
                <a:gd name="connsiteY13" fmla="*/ 315754 h 554831"/>
                <a:gd name="connsiteX14" fmla="*/ 81659 w 495139"/>
                <a:gd name="connsiteY14" fmla="*/ 294322 h 554831"/>
                <a:gd name="connsiteX15" fmla="*/ 26129 w 495139"/>
                <a:gd name="connsiteY15" fmla="*/ 249269 h 554831"/>
                <a:gd name="connsiteX16" fmla="*/ 5269 w 495139"/>
                <a:gd name="connsiteY16" fmla="*/ 167926 h 554831"/>
                <a:gd name="connsiteX17" fmla="*/ 34606 w 495139"/>
                <a:gd name="connsiteY17" fmla="*/ 79820 h 554831"/>
                <a:gd name="connsiteX18" fmla="*/ 117378 w 495139"/>
                <a:gd name="connsiteY18" fmla="*/ 21050 h 554831"/>
                <a:gd name="connsiteX19" fmla="*/ 241203 w 495139"/>
                <a:gd name="connsiteY19" fmla="*/ 0 h 554831"/>
                <a:gd name="connsiteX20" fmla="*/ 329500 w 495139"/>
                <a:gd name="connsiteY20" fmla="*/ 7906 h 554831"/>
                <a:gd name="connsiteX21" fmla="*/ 417035 w 495139"/>
                <a:gd name="connsiteY21" fmla="*/ 39815 h 554831"/>
                <a:gd name="connsiteX22" fmla="*/ 476375 w 495139"/>
                <a:gd name="connsiteY22" fmla="*/ 114205 h 554831"/>
                <a:gd name="connsiteX23" fmla="*/ 475137 w 495139"/>
                <a:gd name="connsiteY23" fmla="*/ 151543 h 554831"/>
                <a:gd name="connsiteX24" fmla="*/ 450563 w 495139"/>
                <a:gd name="connsiteY24" fmla="*/ 176117 h 554831"/>
                <a:gd name="connsiteX25" fmla="*/ 417606 w 495139"/>
                <a:gd name="connsiteY25" fmla="*/ 184499 h 554831"/>
                <a:gd name="connsiteX26" fmla="*/ 386650 w 495139"/>
                <a:gd name="connsiteY26" fmla="*/ 177165 h 554831"/>
                <a:gd name="connsiteX27" fmla="*/ 366171 w 495139"/>
                <a:gd name="connsiteY27" fmla="*/ 151924 h 554831"/>
                <a:gd name="connsiteX28" fmla="*/ 333977 w 495139"/>
                <a:gd name="connsiteY28" fmla="*/ 119348 h 554831"/>
                <a:gd name="connsiteX29" fmla="*/ 285780 w 495139"/>
                <a:gd name="connsiteY29" fmla="*/ 106204 h 554831"/>
                <a:gd name="connsiteX30" fmla="*/ 241108 w 495139"/>
                <a:gd name="connsiteY30" fmla="*/ 103632 h 554831"/>
                <a:gd name="connsiteX31" fmla="*/ 156526 w 495139"/>
                <a:gd name="connsiteY31" fmla="*/ 121539 h 554831"/>
                <a:gd name="connsiteX32" fmla="*/ 124617 w 495139"/>
                <a:gd name="connsiteY32" fmla="*/ 168783 h 554831"/>
                <a:gd name="connsiteX33" fmla="*/ 141476 w 495139"/>
                <a:gd name="connsiteY33" fmla="*/ 202883 h 554831"/>
                <a:gd name="connsiteX34" fmla="*/ 187101 w 495139"/>
                <a:gd name="connsiteY34" fmla="*/ 213360 h 554831"/>
                <a:gd name="connsiteX35" fmla="*/ 251585 w 495139"/>
                <a:gd name="connsiteY35" fmla="*/ 219075 h 554831"/>
                <a:gd name="connsiteX36" fmla="*/ 338739 w 495139"/>
                <a:gd name="connsiteY36" fmla="*/ 230600 h 554831"/>
                <a:gd name="connsiteX37" fmla="*/ 417511 w 495139"/>
                <a:gd name="connsiteY37" fmla="*/ 252222 h 554831"/>
                <a:gd name="connsiteX38" fmla="*/ 474089 w 495139"/>
                <a:gd name="connsiteY38" fmla="*/ 297275 h 554831"/>
                <a:gd name="connsiteX39" fmla="*/ 495139 w 495139"/>
                <a:gd name="connsiteY39" fmla="*/ 379667 h 554831"/>
                <a:gd name="connsiteX40" fmla="*/ 464183 w 495139"/>
                <a:gd name="connsiteY40" fmla="*/ 470916 h 554831"/>
                <a:gd name="connsiteX41" fmla="*/ 378077 w 495139"/>
                <a:gd name="connsiteY41" fmla="*/ 532829 h 554831"/>
                <a:gd name="connsiteX42" fmla="*/ 249680 w 495139"/>
                <a:gd name="connsiteY42" fmla="*/ 554831 h 554831"/>
                <a:gd name="connsiteX43" fmla="*/ 178814 w 495139"/>
                <a:gd name="connsiteY43" fmla="*/ 550069 h 554831"/>
                <a:gd name="connsiteX44" fmla="*/ 104234 w 495139"/>
                <a:gd name="connsiteY44" fmla="*/ 531209 h 554831"/>
                <a:gd name="connsiteX45" fmla="*/ 40702 w 495139"/>
                <a:gd name="connsiteY45" fmla="*/ 490347 h 554831"/>
                <a:gd name="connsiteX46" fmla="*/ 2030 w 495139"/>
                <a:gd name="connsiteY46" fmla="*/ 419481 h 5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495139" h="554831">
                  <a:moveTo>
                    <a:pt x="1935" y="419862"/>
                  </a:moveTo>
                  <a:cubicBezTo>
                    <a:pt x="-3018" y="400336"/>
                    <a:pt x="1554" y="384524"/>
                    <a:pt x="15461" y="372618"/>
                  </a:cubicBezTo>
                  <a:cubicBezTo>
                    <a:pt x="29462" y="360712"/>
                    <a:pt x="44893" y="354711"/>
                    <a:pt x="61657" y="354711"/>
                  </a:cubicBezTo>
                  <a:cubicBezTo>
                    <a:pt x="74230" y="354711"/>
                    <a:pt x="85374" y="358426"/>
                    <a:pt x="95185" y="365855"/>
                  </a:cubicBezTo>
                  <a:cubicBezTo>
                    <a:pt x="104996" y="373190"/>
                    <a:pt x="112330" y="384143"/>
                    <a:pt x="117188" y="398812"/>
                  </a:cubicBezTo>
                  <a:cubicBezTo>
                    <a:pt x="121379" y="411385"/>
                    <a:pt x="130522" y="421767"/>
                    <a:pt x="144620" y="429768"/>
                  </a:cubicBezTo>
                  <a:cubicBezTo>
                    <a:pt x="158621" y="437864"/>
                    <a:pt x="174909" y="443675"/>
                    <a:pt x="193483" y="447199"/>
                  </a:cubicBezTo>
                  <a:cubicBezTo>
                    <a:pt x="211961" y="450628"/>
                    <a:pt x="230726" y="452342"/>
                    <a:pt x="249680" y="452342"/>
                  </a:cubicBezTo>
                  <a:cubicBezTo>
                    <a:pt x="287399" y="452342"/>
                    <a:pt x="317784" y="445580"/>
                    <a:pt x="340739" y="431863"/>
                  </a:cubicBezTo>
                  <a:cubicBezTo>
                    <a:pt x="363885" y="418147"/>
                    <a:pt x="375505" y="400812"/>
                    <a:pt x="375505" y="379857"/>
                  </a:cubicBezTo>
                  <a:cubicBezTo>
                    <a:pt x="375505" y="365188"/>
                    <a:pt x="369314" y="354330"/>
                    <a:pt x="357027" y="347282"/>
                  </a:cubicBezTo>
                  <a:cubicBezTo>
                    <a:pt x="344835" y="340328"/>
                    <a:pt x="328738" y="335375"/>
                    <a:pt x="308830" y="332613"/>
                  </a:cubicBezTo>
                  <a:cubicBezTo>
                    <a:pt x="289019" y="329851"/>
                    <a:pt x="267873" y="327755"/>
                    <a:pt x="245489" y="326231"/>
                  </a:cubicBezTo>
                  <a:cubicBezTo>
                    <a:pt x="215962" y="323469"/>
                    <a:pt x="187006" y="319945"/>
                    <a:pt x="158812" y="315754"/>
                  </a:cubicBezTo>
                  <a:cubicBezTo>
                    <a:pt x="130522" y="311563"/>
                    <a:pt x="104710" y="304419"/>
                    <a:pt x="81659" y="294322"/>
                  </a:cubicBezTo>
                  <a:cubicBezTo>
                    <a:pt x="58609" y="284131"/>
                    <a:pt x="40130" y="269081"/>
                    <a:pt x="26129" y="249269"/>
                  </a:cubicBezTo>
                  <a:cubicBezTo>
                    <a:pt x="12222" y="229362"/>
                    <a:pt x="5269" y="202216"/>
                    <a:pt x="5269" y="167926"/>
                  </a:cubicBezTo>
                  <a:cubicBezTo>
                    <a:pt x="5269" y="133636"/>
                    <a:pt x="15079" y="104966"/>
                    <a:pt x="34606" y="79820"/>
                  </a:cubicBezTo>
                  <a:cubicBezTo>
                    <a:pt x="54132" y="54578"/>
                    <a:pt x="81755" y="34957"/>
                    <a:pt x="117378" y="21050"/>
                  </a:cubicBezTo>
                  <a:cubicBezTo>
                    <a:pt x="153097" y="7049"/>
                    <a:pt x="194340" y="0"/>
                    <a:pt x="241203" y="0"/>
                  </a:cubicBezTo>
                  <a:cubicBezTo>
                    <a:pt x="268635" y="0"/>
                    <a:pt x="297972" y="2667"/>
                    <a:pt x="329500" y="7906"/>
                  </a:cubicBezTo>
                  <a:cubicBezTo>
                    <a:pt x="360932" y="13049"/>
                    <a:pt x="390079" y="23717"/>
                    <a:pt x="417035" y="39815"/>
                  </a:cubicBezTo>
                  <a:cubicBezTo>
                    <a:pt x="443990" y="55817"/>
                    <a:pt x="463802" y="80677"/>
                    <a:pt x="476375" y="114205"/>
                  </a:cubicBezTo>
                  <a:cubicBezTo>
                    <a:pt x="481233" y="128207"/>
                    <a:pt x="480852" y="140684"/>
                    <a:pt x="475137" y="151543"/>
                  </a:cubicBezTo>
                  <a:cubicBezTo>
                    <a:pt x="469613" y="162401"/>
                    <a:pt x="461326" y="170593"/>
                    <a:pt x="450563" y="176117"/>
                  </a:cubicBezTo>
                  <a:cubicBezTo>
                    <a:pt x="439704" y="181642"/>
                    <a:pt x="428750" y="184499"/>
                    <a:pt x="417606" y="184499"/>
                  </a:cubicBezTo>
                  <a:cubicBezTo>
                    <a:pt x="405033" y="184499"/>
                    <a:pt x="394651" y="182023"/>
                    <a:pt x="386650" y="177165"/>
                  </a:cubicBezTo>
                  <a:cubicBezTo>
                    <a:pt x="378554" y="172307"/>
                    <a:pt x="371791" y="163830"/>
                    <a:pt x="366171" y="151924"/>
                  </a:cubicBezTo>
                  <a:cubicBezTo>
                    <a:pt x="359789" y="137255"/>
                    <a:pt x="349121" y="126397"/>
                    <a:pt x="333977" y="119348"/>
                  </a:cubicBezTo>
                  <a:cubicBezTo>
                    <a:pt x="319022" y="112395"/>
                    <a:pt x="302925" y="108013"/>
                    <a:pt x="285780" y="106204"/>
                  </a:cubicBezTo>
                  <a:cubicBezTo>
                    <a:pt x="268730" y="104489"/>
                    <a:pt x="253871" y="103632"/>
                    <a:pt x="241108" y="103632"/>
                  </a:cubicBezTo>
                  <a:cubicBezTo>
                    <a:pt x="206151" y="103632"/>
                    <a:pt x="177957" y="109633"/>
                    <a:pt x="156526" y="121539"/>
                  </a:cubicBezTo>
                  <a:cubicBezTo>
                    <a:pt x="135190" y="133445"/>
                    <a:pt x="124617" y="149257"/>
                    <a:pt x="124617" y="168783"/>
                  </a:cubicBezTo>
                  <a:cubicBezTo>
                    <a:pt x="124617" y="185642"/>
                    <a:pt x="130237" y="196977"/>
                    <a:pt x="141476" y="202883"/>
                  </a:cubicBezTo>
                  <a:cubicBezTo>
                    <a:pt x="152716" y="208883"/>
                    <a:pt x="167956" y="212312"/>
                    <a:pt x="187101" y="213360"/>
                  </a:cubicBezTo>
                  <a:cubicBezTo>
                    <a:pt x="206246" y="214408"/>
                    <a:pt x="227773" y="216313"/>
                    <a:pt x="251585" y="219075"/>
                  </a:cubicBezTo>
                  <a:cubicBezTo>
                    <a:pt x="280922" y="222504"/>
                    <a:pt x="309974" y="226409"/>
                    <a:pt x="338739" y="230600"/>
                  </a:cubicBezTo>
                  <a:cubicBezTo>
                    <a:pt x="367409" y="234887"/>
                    <a:pt x="393698" y="242030"/>
                    <a:pt x="417511" y="252222"/>
                  </a:cubicBezTo>
                  <a:cubicBezTo>
                    <a:pt x="441323" y="262319"/>
                    <a:pt x="460183" y="277368"/>
                    <a:pt x="474089" y="297275"/>
                  </a:cubicBezTo>
                  <a:cubicBezTo>
                    <a:pt x="488091" y="317087"/>
                    <a:pt x="495139" y="344615"/>
                    <a:pt x="495139" y="379667"/>
                  </a:cubicBezTo>
                  <a:cubicBezTo>
                    <a:pt x="495139" y="414719"/>
                    <a:pt x="484853" y="444341"/>
                    <a:pt x="464183" y="470916"/>
                  </a:cubicBezTo>
                  <a:cubicBezTo>
                    <a:pt x="443514" y="497491"/>
                    <a:pt x="414844" y="518160"/>
                    <a:pt x="378077" y="532829"/>
                  </a:cubicBezTo>
                  <a:cubicBezTo>
                    <a:pt x="341406" y="547497"/>
                    <a:pt x="298639" y="554831"/>
                    <a:pt x="249680" y="554831"/>
                  </a:cubicBezTo>
                  <a:cubicBezTo>
                    <a:pt x="227963" y="554831"/>
                    <a:pt x="204341" y="553212"/>
                    <a:pt x="178814" y="550069"/>
                  </a:cubicBezTo>
                  <a:cubicBezTo>
                    <a:pt x="153287" y="546926"/>
                    <a:pt x="128427" y="540639"/>
                    <a:pt x="104234" y="531209"/>
                  </a:cubicBezTo>
                  <a:cubicBezTo>
                    <a:pt x="80135" y="521875"/>
                    <a:pt x="58990" y="508159"/>
                    <a:pt x="40702" y="490347"/>
                  </a:cubicBezTo>
                  <a:cubicBezTo>
                    <a:pt x="22509" y="472440"/>
                    <a:pt x="9650" y="448913"/>
                    <a:pt x="2030" y="419481"/>
                  </a:cubicBezTo>
                  <a:close/>
                </a:path>
              </a:pathLst>
            </a:custGeom>
            <a:solidFill>
              <a:srgbClr val="4E966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B8441702-5194-B1D4-E2CA-207B6167BD83}"/>
                </a:ext>
              </a:extLst>
            </p:cNvPr>
            <p:cNvSpPr/>
            <p:nvPr/>
          </p:nvSpPr>
          <p:spPr>
            <a:xfrm>
              <a:off x="4777067" y="3262709"/>
              <a:ext cx="370858" cy="370745"/>
            </a:xfrm>
            <a:custGeom>
              <a:avLst/>
              <a:gdLst>
                <a:gd name="connsiteX0" fmla="*/ 1927193 w 3012185"/>
                <a:gd name="connsiteY0" fmla="*/ 3011281 h 3011281"/>
                <a:gd name="connsiteX1" fmla="*/ 1159955 w 3012185"/>
                <a:gd name="connsiteY1" fmla="*/ 2694003 h 3011281"/>
                <a:gd name="connsiteX2" fmla="*/ 317754 w 3012185"/>
                <a:gd name="connsiteY2" fmla="*/ 1851803 h 3011281"/>
                <a:gd name="connsiteX3" fmla="*/ 0 w 3012185"/>
                <a:gd name="connsiteY3" fmla="*/ 1084564 h 3011281"/>
                <a:gd name="connsiteX4" fmla="*/ 317754 w 3012185"/>
                <a:gd name="connsiteY4" fmla="*/ 317325 h 3011281"/>
                <a:gd name="connsiteX5" fmla="*/ 1852232 w 3012185"/>
                <a:gd name="connsiteY5" fmla="*/ 317325 h 3011281"/>
                <a:gd name="connsiteX6" fmla="*/ 2694432 w 3012185"/>
                <a:gd name="connsiteY6" fmla="*/ 1159526 h 3011281"/>
                <a:gd name="connsiteX7" fmla="*/ 3012186 w 3012185"/>
                <a:gd name="connsiteY7" fmla="*/ 1926765 h 3011281"/>
                <a:gd name="connsiteX8" fmla="*/ 2694432 w 3012185"/>
                <a:gd name="connsiteY8" fmla="*/ 2694003 h 3011281"/>
                <a:gd name="connsiteX9" fmla="*/ 1927193 w 3012185"/>
                <a:gd name="connsiteY9" fmla="*/ 3011281 h 3011281"/>
                <a:gd name="connsiteX10" fmla="*/ 1084993 w 3012185"/>
                <a:gd name="connsiteY10" fmla="*/ 480012 h 3011281"/>
                <a:gd name="connsiteX11" fmla="*/ 657320 w 3012185"/>
                <a:gd name="connsiteY11" fmla="*/ 656892 h 3011281"/>
                <a:gd name="connsiteX12" fmla="*/ 480155 w 3012185"/>
                <a:gd name="connsiteY12" fmla="*/ 1084564 h 3011281"/>
                <a:gd name="connsiteX13" fmla="*/ 657320 w 3012185"/>
                <a:gd name="connsiteY13" fmla="*/ 1512237 h 3011281"/>
                <a:gd name="connsiteX14" fmla="*/ 1499521 w 3012185"/>
                <a:gd name="connsiteY14" fmla="*/ 2354437 h 3011281"/>
                <a:gd name="connsiteX15" fmla="*/ 2354961 w 3012185"/>
                <a:gd name="connsiteY15" fmla="*/ 2354437 h 3011281"/>
                <a:gd name="connsiteX16" fmla="*/ 2532126 w 3012185"/>
                <a:gd name="connsiteY16" fmla="*/ 1926765 h 3011281"/>
                <a:gd name="connsiteX17" fmla="*/ 2354961 w 3012185"/>
                <a:gd name="connsiteY17" fmla="*/ 1499092 h 3011281"/>
                <a:gd name="connsiteX18" fmla="*/ 1512761 w 3012185"/>
                <a:gd name="connsiteY18" fmla="*/ 656892 h 3011281"/>
                <a:gd name="connsiteX19" fmla="*/ 1084993 w 3012185"/>
                <a:gd name="connsiteY19" fmla="*/ 480012 h 301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12185" h="3011281">
                  <a:moveTo>
                    <a:pt x="1927193" y="3011281"/>
                  </a:moveTo>
                  <a:cubicBezTo>
                    <a:pt x="1649349" y="3011281"/>
                    <a:pt x="1371505" y="2905554"/>
                    <a:pt x="1159955" y="2694003"/>
                  </a:cubicBezTo>
                  <a:lnTo>
                    <a:pt x="317754" y="1851803"/>
                  </a:lnTo>
                  <a:cubicBezTo>
                    <a:pt x="112871" y="1646825"/>
                    <a:pt x="0" y="1374410"/>
                    <a:pt x="0" y="1084564"/>
                  </a:cubicBezTo>
                  <a:cubicBezTo>
                    <a:pt x="0" y="794718"/>
                    <a:pt x="112871" y="522303"/>
                    <a:pt x="317754" y="317325"/>
                  </a:cubicBezTo>
                  <a:cubicBezTo>
                    <a:pt x="740855" y="-105775"/>
                    <a:pt x="1429131" y="-105775"/>
                    <a:pt x="1852232" y="317325"/>
                  </a:cubicBezTo>
                  <a:lnTo>
                    <a:pt x="2694432" y="1159526"/>
                  </a:lnTo>
                  <a:cubicBezTo>
                    <a:pt x="2899410" y="1364504"/>
                    <a:pt x="3012186" y="1636919"/>
                    <a:pt x="3012186" y="1926765"/>
                  </a:cubicBezTo>
                  <a:cubicBezTo>
                    <a:pt x="3012186" y="2216611"/>
                    <a:pt x="2899315" y="2489025"/>
                    <a:pt x="2694432" y="2694003"/>
                  </a:cubicBezTo>
                  <a:cubicBezTo>
                    <a:pt x="2489549" y="2898982"/>
                    <a:pt x="2205038" y="3011281"/>
                    <a:pt x="1927193" y="3011281"/>
                  </a:cubicBezTo>
                  <a:close/>
                  <a:moveTo>
                    <a:pt x="1084993" y="480012"/>
                  </a:moveTo>
                  <a:cubicBezTo>
                    <a:pt x="930116" y="480012"/>
                    <a:pt x="775240" y="538972"/>
                    <a:pt x="657320" y="656892"/>
                  </a:cubicBezTo>
                  <a:cubicBezTo>
                    <a:pt x="543116" y="771096"/>
                    <a:pt x="480155" y="923020"/>
                    <a:pt x="480155" y="1084564"/>
                  </a:cubicBezTo>
                  <a:cubicBezTo>
                    <a:pt x="480155" y="1246108"/>
                    <a:pt x="543020" y="1398032"/>
                    <a:pt x="657320" y="1512237"/>
                  </a:cubicBezTo>
                  <a:lnTo>
                    <a:pt x="1499521" y="2354437"/>
                  </a:lnTo>
                  <a:cubicBezTo>
                    <a:pt x="1735360" y="2590276"/>
                    <a:pt x="2119122" y="2590276"/>
                    <a:pt x="2354961" y="2354437"/>
                  </a:cubicBezTo>
                  <a:cubicBezTo>
                    <a:pt x="2469166" y="2240233"/>
                    <a:pt x="2532126" y="2088309"/>
                    <a:pt x="2532126" y="1926765"/>
                  </a:cubicBezTo>
                  <a:cubicBezTo>
                    <a:pt x="2532126" y="1765221"/>
                    <a:pt x="2469261" y="1613297"/>
                    <a:pt x="2354961" y="1499092"/>
                  </a:cubicBezTo>
                  <a:lnTo>
                    <a:pt x="1512761" y="656892"/>
                  </a:lnTo>
                  <a:cubicBezTo>
                    <a:pt x="1394841" y="538972"/>
                    <a:pt x="1239964" y="480012"/>
                    <a:pt x="1084993" y="480012"/>
                  </a:cubicBezTo>
                  <a:close/>
                </a:path>
              </a:pathLst>
            </a:custGeom>
            <a:solidFill>
              <a:srgbClr val="555D7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444A64"/>
                </a:solidFill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29C2170E-49C6-0D61-2540-3D051041958A}"/>
                </a:ext>
              </a:extLst>
            </p:cNvPr>
            <p:cNvSpPr/>
            <p:nvPr/>
          </p:nvSpPr>
          <p:spPr>
            <a:xfrm>
              <a:off x="4881485" y="3262709"/>
              <a:ext cx="370846" cy="370745"/>
            </a:xfrm>
            <a:custGeom>
              <a:avLst/>
              <a:gdLst>
                <a:gd name="connsiteX0" fmla="*/ 1084993 w 3012090"/>
                <a:gd name="connsiteY0" fmla="*/ 3011281 h 3011281"/>
                <a:gd name="connsiteX1" fmla="*/ 317754 w 3012090"/>
                <a:gd name="connsiteY1" fmla="*/ 2694003 h 3011281"/>
                <a:gd name="connsiteX2" fmla="*/ 0 w 3012090"/>
                <a:gd name="connsiteY2" fmla="*/ 1926765 h 3011281"/>
                <a:gd name="connsiteX3" fmla="*/ 317754 w 3012090"/>
                <a:gd name="connsiteY3" fmla="*/ 1159526 h 3011281"/>
                <a:gd name="connsiteX4" fmla="*/ 1159955 w 3012090"/>
                <a:gd name="connsiteY4" fmla="*/ 317325 h 3011281"/>
                <a:gd name="connsiteX5" fmla="*/ 2694337 w 3012090"/>
                <a:gd name="connsiteY5" fmla="*/ 317325 h 3011281"/>
                <a:gd name="connsiteX6" fmla="*/ 3012091 w 3012090"/>
                <a:gd name="connsiteY6" fmla="*/ 1084564 h 3011281"/>
                <a:gd name="connsiteX7" fmla="*/ 2694337 w 3012090"/>
                <a:gd name="connsiteY7" fmla="*/ 1851803 h 3011281"/>
                <a:gd name="connsiteX8" fmla="*/ 1852136 w 3012090"/>
                <a:gd name="connsiteY8" fmla="*/ 2694003 h 3011281"/>
                <a:gd name="connsiteX9" fmla="*/ 1084898 w 3012090"/>
                <a:gd name="connsiteY9" fmla="*/ 3011281 h 3011281"/>
                <a:gd name="connsiteX10" fmla="*/ 1927098 w 3012090"/>
                <a:gd name="connsiteY10" fmla="*/ 480012 h 3011281"/>
                <a:gd name="connsiteX11" fmla="*/ 1499426 w 3012090"/>
                <a:gd name="connsiteY11" fmla="*/ 656892 h 3011281"/>
                <a:gd name="connsiteX12" fmla="*/ 657225 w 3012090"/>
                <a:gd name="connsiteY12" fmla="*/ 1499092 h 3011281"/>
                <a:gd name="connsiteX13" fmla="*/ 480060 w 3012090"/>
                <a:gd name="connsiteY13" fmla="*/ 1926765 h 3011281"/>
                <a:gd name="connsiteX14" fmla="*/ 657225 w 3012090"/>
                <a:gd name="connsiteY14" fmla="*/ 2354437 h 3011281"/>
                <a:gd name="connsiteX15" fmla="*/ 1512570 w 3012090"/>
                <a:gd name="connsiteY15" fmla="*/ 2354437 h 3011281"/>
                <a:gd name="connsiteX16" fmla="*/ 2354771 w 3012090"/>
                <a:gd name="connsiteY16" fmla="*/ 1512237 h 3011281"/>
                <a:gd name="connsiteX17" fmla="*/ 2531935 w 3012090"/>
                <a:gd name="connsiteY17" fmla="*/ 1084564 h 3011281"/>
                <a:gd name="connsiteX18" fmla="*/ 2354771 w 3012090"/>
                <a:gd name="connsiteY18" fmla="*/ 656892 h 3011281"/>
                <a:gd name="connsiteX19" fmla="*/ 1927098 w 3012090"/>
                <a:gd name="connsiteY19" fmla="*/ 480012 h 301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12090" h="3011281">
                  <a:moveTo>
                    <a:pt x="1084993" y="3011281"/>
                  </a:moveTo>
                  <a:cubicBezTo>
                    <a:pt x="807149" y="3011281"/>
                    <a:pt x="529304" y="2905554"/>
                    <a:pt x="317754" y="2694003"/>
                  </a:cubicBezTo>
                  <a:cubicBezTo>
                    <a:pt x="106204" y="2482453"/>
                    <a:pt x="0" y="2216611"/>
                    <a:pt x="0" y="1926765"/>
                  </a:cubicBezTo>
                  <a:cubicBezTo>
                    <a:pt x="0" y="1636919"/>
                    <a:pt x="112871" y="1364504"/>
                    <a:pt x="317754" y="1159526"/>
                  </a:cubicBezTo>
                  <a:lnTo>
                    <a:pt x="1159955" y="317325"/>
                  </a:lnTo>
                  <a:cubicBezTo>
                    <a:pt x="1582960" y="-105775"/>
                    <a:pt x="2271332" y="-105775"/>
                    <a:pt x="2694337" y="317325"/>
                  </a:cubicBezTo>
                  <a:cubicBezTo>
                    <a:pt x="2899315" y="522303"/>
                    <a:pt x="3012091" y="794718"/>
                    <a:pt x="3012091" y="1084564"/>
                  </a:cubicBezTo>
                  <a:cubicBezTo>
                    <a:pt x="3012091" y="1374410"/>
                    <a:pt x="2899220" y="1646825"/>
                    <a:pt x="2694337" y="1851803"/>
                  </a:cubicBezTo>
                  <a:lnTo>
                    <a:pt x="1852136" y="2694003"/>
                  </a:lnTo>
                  <a:cubicBezTo>
                    <a:pt x="1640586" y="2905554"/>
                    <a:pt x="1362742" y="3011281"/>
                    <a:pt x="1084898" y="3011281"/>
                  </a:cubicBezTo>
                  <a:close/>
                  <a:moveTo>
                    <a:pt x="1927098" y="480012"/>
                  </a:moveTo>
                  <a:cubicBezTo>
                    <a:pt x="1772222" y="480012"/>
                    <a:pt x="1617345" y="538972"/>
                    <a:pt x="1499426" y="656892"/>
                  </a:cubicBezTo>
                  <a:lnTo>
                    <a:pt x="657225" y="1499092"/>
                  </a:lnTo>
                  <a:cubicBezTo>
                    <a:pt x="543020" y="1613297"/>
                    <a:pt x="480060" y="1765221"/>
                    <a:pt x="480060" y="1926765"/>
                  </a:cubicBezTo>
                  <a:cubicBezTo>
                    <a:pt x="480060" y="2088309"/>
                    <a:pt x="542925" y="2240233"/>
                    <a:pt x="657225" y="2354437"/>
                  </a:cubicBezTo>
                  <a:cubicBezTo>
                    <a:pt x="893064" y="2590276"/>
                    <a:pt x="1276731" y="2590276"/>
                    <a:pt x="1512570" y="2354437"/>
                  </a:cubicBezTo>
                  <a:lnTo>
                    <a:pt x="2354771" y="1512237"/>
                  </a:lnTo>
                  <a:cubicBezTo>
                    <a:pt x="2468975" y="1398032"/>
                    <a:pt x="2531935" y="1246108"/>
                    <a:pt x="2531935" y="1084564"/>
                  </a:cubicBezTo>
                  <a:cubicBezTo>
                    <a:pt x="2531935" y="923020"/>
                    <a:pt x="2469071" y="771096"/>
                    <a:pt x="2354771" y="656892"/>
                  </a:cubicBezTo>
                  <a:cubicBezTo>
                    <a:pt x="2236851" y="538972"/>
                    <a:pt x="2081975" y="480012"/>
                    <a:pt x="1927098" y="480012"/>
                  </a:cubicBezTo>
                  <a:close/>
                </a:path>
              </a:pathLst>
            </a:custGeom>
            <a:solidFill>
              <a:srgbClr val="4E966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sp>
        <p:nvSpPr>
          <p:cNvPr id="28" name="ZoneTexte 27">
            <a:extLst>
              <a:ext uri="{FF2B5EF4-FFF2-40B4-BE49-F238E27FC236}">
                <a16:creationId xmlns:a16="http://schemas.microsoft.com/office/drawing/2014/main" id="{0DED1B29-A0CF-4BB7-6260-24D224B4EA75}"/>
              </a:ext>
            </a:extLst>
          </p:cNvPr>
          <p:cNvSpPr txBox="1"/>
          <p:nvPr/>
        </p:nvSpPr>
        <p:spPr>
          <a:xfrm>
            <a:off x="1253744" y="3150792"/>
            <a:ext cx="3587962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fr-FR" sz="1600" b="1" spc="-20">
                <a:solidFill>
                  <a:srgbClr val="444A64"/>
                </a:solidFill>
              </a:rPr>
              <a:t>Changeons notre rapport </a:t>
            </a:r>
            <a:br>
              <a:rPr lang="fr-FR" sz="1600" b="1" spc="-20">
                <a:solidFill>
                  <a:srgbClr val="444A64"/>
                </a:solidFill>
              </a:rPr>
            </a:br>
            <a:r>
              <a:rPr lang="fr-FR" sz="1600" b="1" spc="-20">
                <a:solidFill>
                  <a:srgbClr val="444A64"/>
                </a:solidFill>
              </a:rPr>
              <a:t>aux médicaments pour en </a:t>
            </a:r>
            <a:br>
              <a:rPr lang="fr-FR" sz="1600" b="1" spc="-20">
                <a:solidFill>
                  <a:srgbClr val="444A64"/>
                </a:solidFill>
              </a:rPr>
            </a:br>
            <a:r>
              <a:rPr lang="fr-FR" sz="1600" b="1" spc="-20">
                <a:solidFill>
                  <a:srgbClr val="444A64"/>
                </a:solidFill>
              </a:rPr>
              <a:t>faire un levier de santé durable</a:t>
            </a:r>
            <a:r>
              <a:rPr lang="fr-FR" sz="1600" spc="-20">
                <a:solidFill>
                  <a:srgbClr val="444A64"/>
                </a:solidFill>
              </a:rPr>
              <a:t> : </a:t>
            </a:r>
            <a:r>
              <a:rPr lang="fr-FR" sz="1600">
                <a:solidFill>
                  <a:srgbClr val="444A64"/>
                </a:solidFill>
              </a:rPr>
              <a:t>moins de gaspillage, moins d’empreinte carbone, plus   d’efficacité et une vraie maîtrise des coûts liés à notre santé.</a:t>
            </a:r>
          </a:p>
        </p:txBody>
      </p:sp>
      <p:pic>
        <p:nvPicPr>
          <p:cNvPr id="33" name="Image 32">
            <a:extLst>
              <a:ext uri="{FF2B5EF4-FFF2-40B4-BE49-F238E27FC236}">
                <a16:creationId xmlns:a16="http://schemas.microsoft.com/office/drawing/2014/main" id="{C2F7922D-4BAA-4662-0DE1-D3FD9A09C49D}"/>
              </a:ext>
            </a:extLst>
          </p:cNvPr>
          <p:cNvPicPr preferRelativeResize="0">
            <a:picLocks/>
          </p:cNvPicPr>
          <p:nvPr/>
        </p:nvPicPr>
        <p:blipFill>
          <a:blip r:embed="rId3">
            <a:alphaModFix amt="30000"/>
          </a:blip>
          <a:stretch>
            <a:fillRect/>
          </a:stretch>
        </p:blipFill>
        <p:spPr>
          <a:xfrm>
            <a:off x="6087917" y="4805533"/>
            <a:ext cx="6240607" cy="290991"/>
          </a:xfrm>
          <a:prstGeom prst="rect">
            <a:avLst/>
          </a:prstGeom>
        </p:spPr>
      </p:pic>
      <p:pic>
        <p:nvPicPr>
          <p:cNvPr id="14" name="Image 13" descr="Une image contenant capture d’écran, noir et blanc, monochrome&#10;&#10;Le contenu généré par l’IA peut être incorrect.">
            <a:extLst>
              <a:ext uri="{FF2B5EF4-FFF2-40B4-BE49-F238E27FC236}">
                <a16:creationId xmlns:a16="http://schemas.microsoft.com/office/drawing/2014/main" id="{2D5356F3-5385-C5FA-4F75-7DC50C511E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660000">
            <a:off x="6534244" y="4283444"/>
            <a:ext cx="4739458" cy="703019"/>
          </a:xfrm>
          <a:prstGeom prst="rect">
            <a:avLst/>
          </a:prstGeom>
        </p:spPr>
      </p:pic>
      <p:pic>
        <p:nvPicPr>
          <p:cNvPr id="35" name="Image 34" descr="Une image contenant nourriture, friandise, confiserie, Colorants alimentaires&#10;&#10;Le contenu généré par l’IA peut être incorrect.">
            <a:extLst>
              <a:ext uri="{FF2B5EF4-FFF2-40B4-BE49-F238E27FC236}">
                <a16:creationId xmlns:a16="http://schemas.microsoft.com/office/drawing/2014/main" id="{4C6999D2-81EB-509A-58A0-9030975E07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660000">
            <a:off x="6675258" y="2562214"/>
            <a:ext cx="2295050" cy="1652435"/>
          </a:xfrm>
          <a:prstGeom prst="rect">
            <a:avLst/>
          </a:prstGeom>
        </p:spPr>
      </p:pic>
      <p:pic>
        <p:nvPicPr>
          <p:cNvPr id="96" name="Image 95">
            <a:extLst>
              <a:ext uri="{FF2B5EF4-FFF2-40B4-BE49-F238E27FC236}">
                <a16:creationId xmlns:a16="http://schemas.microsoft.com/office/drawing/2014/main" id="{7150948A-FAD5-224E-06AE-B3AF216C78D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660000">
            <a:off x="10140856" y="3087653"/>
            <a:ext cx="1301844" cy="1566964"/>
          </a:xfrm>
          <a:prstGeom prst="rect">
            <a:avLst/>
          </a:prstGeom>
        </p:spPr>
      </p:pic>
      <p:pic>
        <p:nvPicPr>
          <p:cNvPr id="38" name="Image 37" descr="Une image contenant médicament, Médicament, médecine, pilule&#10;&#10;Le contenu généré par l’IA peut être incorrect.">
            <a:extLst>
              <a:ext uri="{FF2B5EF4-FFF2-40B4-BE49-F238E27FC236}">
                <a16:creationId xmlns:a16="http://schemas.microsoft.com/office/drawing/2014/main" id="{F8153555-4211-7A00-A1E9-F4D8F2CCD45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660000">
            <a:off x="10226219" y="3902186"/>
            <a:ext cx="294147" cy="670816"/>
          </a:xfrm>
          <a:prstGeom prst="rect">
            <a:avLst/>
          </a:prstGeom>
        </p:spPr>
      </p:pic>
      <p:pic>
        <p:nvPicPr>
          <p:cNvPr id="92" name="Image 91" descr="Une image contenant Conteneurs de stockage alimentaire, médicament, nourriture, intérieur&#10;&#10;Le contenu généré par l’IA peut être incorrect.">
            <a:extLst>
              <a:ext uri="{FF2B5EF4-FFF2-40B4-BE49-F238E27FC236}">
                <a16:creationId xmlns:a16="http://schemas.microsoft.com/office/drawing/2014/main" id="{59BEBF8A-8AFD-F3EA-18AA-39EC98C4129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660000">
            <a:off x="9994765" y="3784242"/>
            <a:ext cx="345985" cy="768855"/>
          </a:xfrm>
          <a:prstGeom prst="rect">
            <a:avLst/>
          </a:prstGeom>
        </p:spPr>
      </p:pic>
      <p:pic>
        <p:nvPicPr>
          <p:cNvPr id="90" name="Image 89" descr="Une image contenant médicament, Médicament sous ordonnance, Médicament, médecine&#10;&#10;Le contenu généré par l’IA peut être incorrect.">
            <a:extLst>
              <a:ext uri="{FF2B5EF4-FFF2-40B4-BE49-F238E27FC236}">
                <a16:creationId xmlns:a16="http://schemas.microsoft.com/office/drawing/2014/main" id="{95DC7129-791E-4CC9-2679-377D691FA73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660000">
            <a:off x="9726636" y="3698747"/>
            <a:ext cx="351053" cy="805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091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4.375E-6 4.07407E-6 L 4.375E-6 -0.07454 " pathEditMode="relative" rAng="0" ptsTypes="AA">
                                      <p:cBhvr>
                                        <p:cTn id="9" dur="2000" spd="-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727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14" dur="750" fill="hold"/>
                                        <p:tgtEl>
                                          <p:spTgt spid="25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6" presetClass="emp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16" dur="1000" fill="hold"/>
                                        <p:tgtEl>
                                          <p:spTgt spid="25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0 1.85185E-6 L 0 0.06991 " pathEditMode="relative" rAng="0" ptsTypes="AA">
                                      <p:cBhvr>
                                        <p:cTn id="21" dur="2000" spd="-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495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3.125E-6 3.7037E-6 L 0.11133 3.7037E-6 " pathEditMode="relative" rAng="0" ptsTypes="AA">
                                      <p:cBhvr>
                                        <p:cTn id="26" dur="2000" spd="-10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560" y="0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42" presetClass="pat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-3.75E-6 -1.85185E-6 L 0.11133 -1.85185E-6 " pathEditMode="relative" rAng="0" ptsTypes="AA">
                                      <p:cBhvr>
                                        <p:cTn id="31" dur="2000" spd="-100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560" y="0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1" presetClass="entr" presetSubtype="0" fill="hold" grpId="0" nodeType="withEffect">
                                  <p:stCondLst>
                                    <p:cond delay="3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grpId="0" nodeType="withEffect">
                                  <p:stCondLst>
                                    <p:cond delay="3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grpId="0" nodeType="withEffect">
                                  <p:stCondLst>
                                    <p:cond delay="32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42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0 1.85185E-6 L 0 0.06991 " pathEditMode="relative" rAng="0" ptsTypes="AA">
                                      <p:cBhvr>
                                        <p:cTn id="42" dur="20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495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42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1.45833E-6 -4.44444E-6 L 1.45833E-6 -0.05162 " pathEditMode="relative" rAng="0" ptsTypes="AA">
                                      <p:cBhvr>
                                        <p:cTn id="47" dur="20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593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42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1.45833E-6 -4.44444E-6 L 1.45833E-6 -0.05162 " pathEditMode="relative" rAng="0" ptsTypes="AA">
                                      <p:cBhvr>
                                        <p:cTn id="52" dur="2000" spd="-100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593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6.25E-7 3.33333E-6 L 6.25E-7 -0.05162 " pathEditMode="relative" rAng="0" ptsTypes="AA">
                                      <p:cBhvr>
                                        <p:cTn id="57" dur="2000" spd="-100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593"/>
                                    </p:animMotion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42" presetClass="pat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-4.375E-6 -3.7037E-7 L -4.375E-6 -0.05162 " pathEditMode="relative" rAng="0" ptsTypes="AA">
                                      <p:cBhvr>
                                        <p:cTn id="62" dur="2000" spd="-100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593"/>
                                    </p:animMotion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42" presetClass="path" presetSubtype="0" decel="10000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animMotion origin="layout" path="M 1.45833E-6 -4.44444E-6 L 1.45833E-6 -0.05162 " pathEditMode="relative" rAng="0" ptsTypes="AA">
                                      <p:cBhvr>
                                        <p:cTn id="67" dur="2000" spd="-100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593"/>
                                    </p:animMotion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42" presetClass="path" presetSubtype="0" decel="100000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animMotion origin="layout" path="M 1.45833E-6 -4.44444E-6 L 1.45833E-6 -0.05162 " pathEditMode="relative" rAng="0" ptsTypes="AA">
                                      <p:cBhvr>
                                        <p:cTn id="72" dur="2000" spd="-1000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59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27" grpId="0"/>
      <p:bldP spid="29" grpId="0"/>
      <p:bldP spid="26" grpId="0"/>
      <p:bldP spid="26" grpId="1"/>
      <p:bldP spid="28" grpId="0"/>
      <p:bldP spid="28" grpId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097B3">
            <a:alpha val="10000"/>
          </a:srgb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53FC510-0A46-B39A-3C74-44C75B37C8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!!_txt01_!!">
            <a:extLst>
              <a:ext uri="{FF2B5EF4-FFF2-40B4-BE49-F238E27FC236}">
                <a16:creationId xmlns:a16="http://schemas.microsoft.com/office/drawing/2014/main" id="{37826BCC-8B82-7C6F-3879-1A7E7F8DC777}"/>
              </a:ext>
            </a:extLst>
          </p:cNvPr>
          <p:cNvSpPr txBox="1"/>
          <p:nvPr/>
        </p:nvSpPr>
        <p:spPr>
          <a:xfrm>
            <a:off x="1232620" y="3306469"/>
            <a:ext cx="371674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3600">
                <a:solidFill>
                  <a:srgbClr val="444A64"/>
                </a:solidFill>
                <a:latin typeface="Montserrat Alternates SemiBold" panose="00000700000000000000" pitchFamily="2" charset="0"/>
              </a:rPr>
              <a:t>est </a:t>
            </a:r>
            <a:r>
              <a:rPr lang="fr-FR" sz="3600">
                <a:latin typeface="Montserrat Alternates SemiBold" panose="00000700000000000000" pitchFamily="2" charset="0"/>
              </a:rPr>
              <a:t>LA</a:t>
            </a:r>
            <a:r>
              <a:rPr lang="fr-FR" sz="3600">
                <a:solidFill>
                  <a:srgbClr val="444A64"/>
                </a:solidFill>
                <a:latin typeface="Montserrat Alternates SemiBold" panose="00000700000000000000" pitchFamily="2" charset="0"/>
              </a:rPr>
              <a:t> solution </a:t>
            </a:r>
          </a:p>
        </p:txBody>
      </p:sp>
      <p:sp>
        <p:nvSpPr>
          <p:cNvPr id="27" name="!!_txt02_!!">
            <a:extLst>
              <a:ext uri="{FF2B5EF4-FFF2-40B4-BE49-F238E27FC236}">
                <a16:creationId xmlns:a16="http://schemas.microsoft.com/office/drawing/2014/main" id="{FBF87CA8-0614-902F-1936-DCDBD33E8A24}"/>
              </a:ext>
            </a:extLst>
          </p:cNvPr>
          <p:cNvSpPr txBox="1"/>
          <p:nvPr/>
        </p:nvSpPr>
        <p:spPr>
          <a:xfrm>
            <a:off x="1232620" y="3916069"/>
            <a:ext cx="3716749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700">
                <a:latin typeface="Montserrat Alternates SemiBold" panose="00000700000000000000" pitchFamily="2" charset="0"/>
              </a:rPr>
              <a:t>innovante &amp; unique </a:t>
            </a:r>
          </a:p>
        </p:txBody>
      </p:sp>
      <p:sp>
        <p:nvSpPr>
          <p:cNvPr id="29" name="!!_txt03_!!">
            <a:extLst>
              <a:ext uri="{FF2B5EF4-FFF2-40B4-BE49-F238E27FC236}">
                <a16:creationId xmlns:a16="http://schemas.microsoft.com/office/drawing/2014/main" id="{BC39462E-1D3F-A491-36CD-28BEC5AE4974}"/>
              </a:ext>
            </a:extLst>
          </p:cNvPr>
          <p:cNvSpPr txBox="1"/>
          <p:nvPr/>
        </p:nvSpPr>
        <p:spPr>
          <a:xfrm>
            <a:off x="1232620" y="4411369"/>
            <a:ext cx="3716749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360">
                <a:solidFill>
                  <a:schemeClr val="tx2"/>
                </a:solidFill>
                <a:latin typeface="Montserrat Alternates SemiBold" panose="00000700000000000000" pitchFamily="2" charset="0"/>
              </a:rPr>
              <a:t>contre le gaspillage des médicaments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23CEA33-468E-93E2-AB54-8A99C463B68B}"/>
              </a:ext>
            </a:extLst>
          </p:cNvPr>
          <p:cNvSpPr/>
          <p:nvPr/>
        </p:nvSpPr>
        <p:spPr>
          <a:xfrm>
            <a:off x="0" y="0"/>
            <a:ext cx="12192000" cy="3457500"/>
          </a:xfrm>
          <a:prstGeom prst="rect">
            <a:avLst/>
          </a:prstGeom>
          <a:solidFill>
            <a:srgbClr val="F4F4F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80822D49-59ED-DFF7-498E-BFAB801457F1}"/>
              </a:ext>
            </a:extLst>
          </p:cNvPr>
          <p:cNvSpPr txBox="1"/>
          <p:nvPr/>
        </p:nvSpPr>
        <p:spPr>
          <a:xfrm>
            <a:off x="1232620" y="8641398"/>
            <a:ext cx="3716749" cy="6848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3850">
                <a:solidFill>
                  <a:srgbClr val="444A64"/>
                </a:solidFill>
                <a:latin typeface="Montserrat Alternates SemiBold" panose="00000700000000000000" pitchFamily="2" charset="0"/>
              </a:rPr>
              <a:t>n</a:t>
            </a:r>
            <a:r>
              <a:rPr kumimoji="0" lang="fr-FR" sz="385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 SemiBold" panose="00000700000000000000" pitchFamily="2" charset="0"/>
              </a:rPr>
              <a:t>otre mission</a:t>
            </a:r>
            <a:endParaRPr lang="fr-FR" sz="3850">
              <a:solidFill>
                <a:srgbClr val="444A64"/>
              </a:solidFill>
              <a:latin typeface="Montserrat Alternates SemiBold" panose="00000700000000000000" pitchFamily="2" charset="0"/>
            </a:endParaRPr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6DAE2759-60AB-3CE0-69C0-AF29D725C026}"/>
              </a:ext>
            </a:extLst>
          </p:cNvPr>
          <p:cNvGrpSpPr/>
          <p:nvPr/>
        </p:nvGrpSpPr>
        <p:grpSpPr>
          <a:xfrm>
            <a:off x="572667" y="487521"/>
            <a:ext cx="364153" cy="284070"/>
            <a:chOff x="1148496" y="1062130"/>
            <a:chExt cx="364153" cy="284070"/>
          </a:xfrm>
        </p:grpSpPr>
        <p:sp>
          <p:nvSpPr>
            <p:cNvPr id="3" name="Forme libre : forme 2">
              <a:extLst>
                <a:ext uri="{FF2B5EF4-FFF2-40B4-BE49-F238E27FC236}">
                  <a16:creationId xmlns:a16="http://schemas.microsoft.com/office/drawing/2014/main" id="{E327CFF4-A727-DE76-EEFB-F661A51AE2DF}"/>
                </a:ext>
              </a:extLst>
            </p:cNvPr>
            <p:cNvSpPr/>
            <p:nvPr/>
          </p:nvSpPr>
          <p:spPr>
            <a:xfrm>
              <a:off x="1148496" y="1062130"/>
              <a:ext cx="284156" cy="284070"/>
            </a:xfrm>
            <a:custGeom>
              <a:avLst/>
              <a:gdLst>
                <a:gd name="connsiteX0" fmla="*/ 1927193 w 3012185"/>
                <a:gd name="connsiteY0" fmla="*/ 3011281 h 3011281"/>
                <a:gd name="connsiteX1" fmla="*/ 1159955 w 3012185"/>
                <a:gd name="connsiteY1" fmla="*/ 2694003 h 3011281"/>
                <a:gd name="connsiteX2" fmla="*/ 317754 w 3012185"/>
                <a:gd name="connsiteY2" fmla="*/ 1851803 h 3011281"/>
                <a:gd name="connsiteX3" fmla="*/ 0 w 3012185"/>
                <a:gd name="connsiteY3" fmla="*/ 1084564 h 3011281"/>
                <a:gd name="connsiteX4" fmla="*/ 317754 w 3012185"/>
                <a:gd name="connsiteY4" fmla="*/ 317325 h 3011281"/>
                <a:gd name="connsiteX5" fmla="*/ 1852232 w 3012185"/>
                <a:gd name="connsiteY5" fmla="*/ 317325 h 3011281"/>
                <a:gd name="connsiteX6" fmla="*/ 2694432 w 3012185"/>
                <a:gd name="connsiteY6" fmla="*/ 1159526 h 3011281"/>
                <a:gd name="connsiteX7" fmla="*/ 3012186 w 3012185"/>
                <a:gd name="connsiteY7" fmla="*/ 1926765 h 3011281"/>
                <a:gd name="connsiteX8" fmla="*/ 2694432 w 3012185"/>
                <a:gd name="connsiteY8" fmla="*/ 2694003 h 3011281"/>
                <a:gd name="connsiteX9" fmla="*/ 1927193 w 3012185"/>
                <a:gd name="connsiteY9" fmla="*/ 3011281 h 3011281"/>
                <a:gd name="connsiteX10" fmla="*/ 1084993 w 3012185"/>
                <a:gd name="connsiteY10" fmla="*/ 480012 h 3011281"/>
                <a:gd name="connsiteX11" fmla="*/ 657320 w 3012185"/>
                <a:gd name="connsiteY11" fmla="*/ 656892 h 3011281"/>
                <a:gd name="connsiteX12" fmla="*/ 480155 w 3012185"/>
                <a:gd name="connsiteY12" fmla="*/ 1084564 h 3011281"/>
                <a:gd name="connsiteX13" fmla="*/ 657320 w 3012185"/>
                <a:gd name="connsiteY13" fmla="*/ 1512237 h 3011281"/>
                <a:gd name="connsiteX14" fmla="*/ 1499521 w 3012185"/>
                <a:gd name="connsiteY14" fmla="*/ 2354437 h 3011281"/>
                <a:gd name="connsiteX15" fmla="*/ 2354961 w 3012185"/>
                <a:gd name="connsiteY15" fmla="*/ 2354437 h 3011281"/>
                <a:gd name="connsiteX16" fmla="*/ 2532126 w 3012185"/>
                <a:gd name="connsiteY16" fmla="*/ 1926765 h 3011281"/>
                <a:gd name="connsiteX17" fmla="*/ 2354961 w 3012185"/>
                <a:gd name="connsiteY17" fmla="*/ 1499092 h 3011281"/>
                <a:gd name="connsiteX18" fmla="*/ 1512761 w 3012185"/>
                <a:gd name="connsiteY18" fmla="*/ 656892 h 3011281"/>
                <a:gd name="connsiteX19" fmla="*/ 1084993 w 3012185"/>
                <a:gd name="connsiteY19" fmla="*/ 480012 h 301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12185" h="3011281">
                  <a:moveTo>
                    <a:pt x="1927193" y="3011281"/>
                  </a:moveTo>
                  <a:cubicBezTo>
                    <a:pt x="1649349" y="3011281"/>
                    <a:pt x="1371505" y="2905554"/>
                    <a:pt x="1159955" y="2694003"/>
                  </a:cubicBezTo>
                  <a:lnTo>
                    <a:pt x="317754" y="1851803"/>
                  </a:lnTo>
                  <a:cubicBezTo>
                    <a:pt x="112871" y="1646825"/>
                    <a:pt x="0" y="1374410"/>
                    <a:pt x="0" y="1084564"/>
                  </a:cubicBezTo>
                  <a:cubicBezTo>
                    <a:pt x="0" y="794718"/>
                    <a:pt x="112871" y="522303"/>
                    <a:pt x="317754" y="317325"/>
                  </a:cubicBezTo>
                  <a:cubicBezTo>
                    <a:pt x="740855" y="-105775"/>
                    <a:pt x="1429131" y="-105775"/>
                    <a:pt x="1852232" y="317325"/>
                  </a:cubicBezTo>
                  <a:lnTo>
                    <a:pt x="2694432" y="1159526"/>
                  </a:lnTo>
                  <a:cubicBezTo>
                    <a:pt x="2899410" y="1364504"/>
                    <a:pt x="3012186" y="1636919"/>
                    <a:pt x="3012186" y="1926765"/>
                  </a:cubicBezTo>
                  <a:cubicBezTo>
                    <a:pt x="3012186" y="2216611"/>
                    <a:pt x="2899315" y="2489025"/>
                    <a:pt x="2694432" y="2694003"/>
                  </a:cubicBezTo>
                  <a:cubicBezTo>
                    <a:pt x="2489549" y="2898982"/>
                    <a:pt x="2205038" y="3011281"/>
                    <a:pt x="1927193" y="3011281"/>
                  </a:cubicBezTo>
                  <a:close/>
                  <a:moveTo>
                    <a:pt x="1084993" y="480012"/>
                  </a:moveTo>
                  <a:cubicBezTo>
                    <a:pt x="930116" y="480012"/>
                    <a:pt x="775240" y="538972"/>
                    <a:pt x="657320" y="656892"/>
                  </a:cubicBezTo>
                  <a:cubicBezTo>
                    <a:pt x="543116" y="771096"/>
                    <a:pt x="480155" y="923020"/>
                    <a:pt x="480155" y="1084564"/>
                  </a:cubicBezTo>
                  <a:cubicBezTo>
                    <a:pt x="480155" y="1246108"/>
                    <a:pt x="543020" y="1398032"/>
                    <a:pt x="657320" y="1512237"/>
                  </a:cubicBezTo>
                  <a:lnTo>
                    <a:pt x="1499521" y="2354437"/>
                  </a:lnTo>
                  <a:cubicBezTo>
                    <a:pt x="1735360" y="2590276"/>
                    <a:pt x="2119122" y="2590276"/>
                    <a:pt x="2354961" y="2354437"/>
                  </a:cubicBezTo>
                  <a:cubicBezTo>
                    <a:pt x="2469166" y="2240233"/>
                    <a:pt x="2532126" y="2088309"/>
                    <a:pt x="2532126" y="1926765"/>
                  </a:cubicBezTo>
                  <a:cubicBezTo>
                    <a:pt x="2532126" y="1765221"/>
                    <a:pt x="2469261" y="1613297"/>
                    <a:pt x="2354961" y="1499092"/>
                  </a:cubicBezTo>
                  <a:lnTo>
                    <a:pt x="1512761" y="656892"/>
                  </a:lnTo>
                  <a:cubicBezTo>
                    <a:pt x="1394841" y="538972"/>
                    <a:pt x="1239964" y="480012"/>
                    <a:pt x="1084993" y="480012"/>
                  </a:cubicBezTo>
                  <a:close/>
                </a:path>
              </a:pathLst>
            </a:custGeom>
            <a:solidFill>
              <a:srgbClr val="9097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" name="Forme libre : forme 3">
              <a:extLst>
                <a:ext uri="{FF2B5EF4-FFF2-40B4-BE49-F238E27FC236}">
                  <a16:creationId xmlns:a16="http://schemas.microsoft.com/office/drawing/2014/main" id="{B1751164-C360-2527-62D7-C6E22200F9E2}"/>
                </a:ext>
              </a:extLst>
            </p:cNvPr>
            <p:cNvSpPr/>
            <p:nvPr/>
          </p:nvSpPr>
          <p:spPr>
            <a:xfrm>
              <a:off x="1228502" y="1062130"/>
              <a:ext cx="284147" cy="284070"/>
            </a:xfrm>
            <a:custGeom>
              <a:avLst/>
              <a:gdLst>
                <a:gd name="connsiteX0" fmla="*/ 1084993 w 3012090"/>
                <a:gd name="connsiteY0" fmla="*/ 3011281 h 3011281"/>
                <a:gd name="connsiteX1" fmla="*/ 317754 w 3012090"/>
                <a:gd name="connsiteY1" fmla="*/ 2694003 h 3011281"/>
                <a:gd name="connsiteX2" fmla="*/ 0 w 3012090"/>
                <a:gd name="connsiteY2" fmla="*/ 1926765 h 3011281"/>
                <a:gd name="connsiteX3" fmla="*/ 317754 w 3012090"/>
                <a:gd name="connsiteY3" fmla="*/ 1159526 h 3011281"/>
                <a:gd name="connsiteX4" fmla="*/ 1159955 w 3012090"/>
                <a:gd name="connsiteY4" fmla="*/ 317325 h 3011281"/>
                <a:gd name="connsiteX5" fmla="*/ 2694337 w 3012090"/>
                <a:gd name="connsiteY5" fmla="*/ 317325 h 3011281"/>
                <a:gd name="connsiteX6" fmla="*/ 3012091 w 3012090"/>
                <a:gd name="connsiteY6" fmla="*/ 1084564 h 3011281"/>
                <a:gd name="connsiteX7" fmla="*/ 2694337 w 3012090"/>
                <a:gd name="connsiteY7" fmla="*/ 1851803 h 3011281"/>
                <a:gd name="connsiteX8" fmla="*/ 1852136 w 3012090"/>
                <a:gd name="connsiteY8" fmla="*/ 2694003 h 3011281"/>
                <a:gd name="connsiteX9" fmla="*/ 1084898 w 3012090"/>
                <a:gd name="connsiteY9" fmla="*/ 3011281 h 3011281"/>
                <a:gd name="connsiteX10" fmla="*/ 1927098 w 3012090"/>
                <a:gd name="connsiteY10" fmla="*/ 480012 h 3011281"/>
                <a:gd name="connsiteX11" fmla="*/ 1499426 w 3012090"/>
                <a:gd name="connsiteY11" fmla="*/ 656892 h 3011281"/>
                <a:gd name="connsiteX12" fmla="*/ 657225 w 3012090"/>
                <a:gd name="connsiteY12" fmla="*/ 1499092 h 3011281"/>
                <a:gd name="connsiteX13" fmla="*/ 480060 w 3012090"/>
                <a:gd name="connsiteY13" fmla="*/ 1926765 h 3011281"/>
                <a:gd name="connsiteX14" fmla="*/ 657225 w 3012090"/>
                <a:gd name="connsiteY14" fmla="*/ 2354437 h 3011281"/>
                <a:gd name="connsiteX15" fmla="*/ 1512570 w 3012090"/>
                <a:gd name="connsiteY15" fmla="*/ 2354437 h 3011281"/>
                <a:gd name="connsiteX16" fmla="*/ 2354771 w 3012090"/>
                <a:gd name="connsiteY16" fmla="*/ 1512237 h 3011281"/>
                <a:gd name="connsiteX17" fmla="*/ 2531935 w 3012090"/>
                <a:gd name="connsiteY17" fmla="*/ 1084564 h 3011281"/>
                <a:gd name="connsiteX18" fmla="*/ 2354771 w 3012090"/>
                <a:gd name="connsiteY18" fmla="*/ 656892 h 3011281"/>
                <a:gd name="connsiteX19" fmla="*/ 1927098 w 3012090"/>
                <a:gd name="connsiteY19" fmla="*/ 480012 h 301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12090" h="3011281">
                  <a:moveTo>
                    <a:pt x="1084993" y="3011281"/>
                  </a:moveTo>
                  <a:cubicBezTo>
                    <a:pt x="807149" y="3011281"/>
                    <a:pt x="529304" y="2905554"/>
                    <a:pt x="317754" y="2694003"/>
                  </a:cubicBezTo>
                  <a:cubicBezTo>
                    <a:pt x="106204" y="2482453"/>
                    <a:pt x="0" y="2216611"/>
                    <a:pt x="0" y="1926765"/>
                  </a:cubicBezTo>
                  <a:cubicBezTo>
                    <a:pt x="0" y="1636919"/>
                    <a:pt x="112871" y="1364504"/>
                    <a:pt x="317754" y="1159526"/>
                  </a:cubicBezTo>
                  <a:lnTo>
                    <a:pt x="1159955" y="317325"/>
                  </a:lnTo>
                  <a:cubicBezTo>
                    <a:pt x="1582960" y="-105775"/>
                    <a:pt x="2271332" y="-105775"/>
                    <a:pt x="2694337" y="317325"/>
                  </a:cubicBezTo>
                  <a:cubicBezTo>
                    <a:pt x="2899315" y="522303"/>
                    <a:pt x="3012091" y="794718"/>
                    <a:pt x="3012091" y="1084564"/>
                  </a:cubicBezTo>
                  <a:cubicBezTo>
                    <a:pt x="3012091" y="1374410"/>
                    <a:pt x="2899220" y="1646825"/>
                    <a:pt x="2694337" y="1851803"/>
                  </a:cubicBezTo>
                  <a:lnTo>
                    <a:pt x="1852136" y="2694003"/>
                  </a:lnTo>
                  <a:cubicBezTo>
                    <a:pt x="1640586" y="2905554"/>
                    <a:pt x="1362742" y="3011281"/>
                    <a:pt x="1084898" y="3011281"/>
                  </a:cubicBezTo>
                  <a:close/>
                  <a:moveTo>
                    <a:pt x="1927098" y="480012"/>
                  </a:moveTo>
                  <a:cubicBezTo>
                    <a:pt x="1772222" y="480012"/>
                    <a:pt x="1617345" y="538972"/>
                    <a:pt x="1499426" y="656892"/>
                  </a:cubicBezTo>
                  <a:lnTo>
                    <a:pt x="657225" y="1499092"/>
                  </a:lnTo>
                  <a:cubicBezTo>
                    <a:pt x="543020" y="1613297"/>
                    <a:pt x="480060" y="1765221"/>
                    <a:pt x="480060" y="1926765"/>
                  </a:cubicBezTo>
                  <a:cubicBezTo>
                    <a:pt x="480060" y="2088309"/>
                    <a:pt x="542925" y="2240233"/>
                    <a:pt x="657225" y="2354437"/>
                  </a:cubicBezTo>
                  <a:cubicBezTo>
                    <a:pt x="893064" y="2590276"/>
                    <a:pt x="1276731" y="2590276"/>
                    <a:pt x="1512570" y="2354437"/>
                  </a:cubicBezTo>
                  <a:lnTo>
                    <a:pt x="2354771" y="1512237"/>
                  </a:lnTo>
                  <a:cubicBezTo>
                    <a:pt x="2468975" y="1398032"/>
                    <a:pt x="2531935" y="1246108"/>
                    <a:pt x="2531935" y="1084564"/>
                  </a:cubicBezTo>
                  <a:cubicBezTo>
                    <a:pt x="2531935" y="923020"/>
                    <a:pt x="2469071" y="771096"/>
                    <a:pt x="2354771" y="656892"/>
                  </a:cubicBezTo>
                  <a:cubicBezTo>
                    <a:pt x="2236851" y="538972"/>
                    <a:pt x="2081975" y="480012"/>
                    <a:pt x="1927098" y="480012"/>
                  </a:cubicBezTo>
                  <a:close/>
                </a:path>
              </a:pathLst>
            </a:custGeom>
            <a:solidFill>
              <a:srgbClr val="4E966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368F8B2E-9F75-E3E1-E181-22D0BD4ED131}"/>
              </a:ext>
            </a:extLst>
          </p:cNvPr>
          <p:cNvGrpSpPr/>
          <p:nvPr/>
        </p:nvGrpSpPr>
        <p:grpSpPr>
          <a:xfrm>
            <a:off x="1253744" y="449942"/>
            <a:ext cx="10444847" cy="359228"/>
            <a:chOff x="1253744" y="406400"/>
            <a:chExt cx="10444847" cy="359228"/>
          </a:xfrm>
        </p:grpSpPr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BD9DB061-455F-7AEF-0539-7F7D605BDF81}"/>
                </a:ext>
              </a:extLst>
            </p:cNvPr>
            <p:cNvSpPr/>
            <p:nvPr/>
          </p:nvSpPr>
          <p:spPr>
            <a:xfrm>
              <a:off x="1253744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rgbClr val="C4C7D6"/>
                  </a:solidFill>
                </a:rPr>
                <a:t>Enjeu</a:t>
              </a:r>
            </a:p>
          </p:txBody>
        </p:sp>
        <p:sp>
          <p:nvSpPr>
            <p:cNvPr id="7" name="Rectangle : coins arrondis 6">
              <a:extLst>
                <a:ext uri="{FF2B5EF4-FFF2-40B4-BE49-F238E27FC236}">
                  <a16:creationId xmlns:a16="http://schemas.microsoft.com/office/drawing/2014/main" id="{42AE8FC5-1C56-D48E-7448-014B27BC6D73}"/>
                </a:ext>
              </a:extLst>
            </p:cNvPr>
            <p:cNvSpPr/>
            <p:nvPr/>
          </p:nvSpPr>
          <p:spPr>
            <a:xfrm>
              <a:off x="3047725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rgbClr val="C4C7D6"/>
                  </a:solidFill>
                </a:rPr>
                <a:t>Mission</a:t>
              </a:r>
            </a:p>
          </p:txBody>
        </p:sp>
        <p:sp>
          <p:nvSpPr>
            <p:cNvPr id="8" name="Rectangle : coins arrondis 7">
              <a:extLst>
                <a:ext uri="{FF2B5EF4-FFF2-40B4-BE49-F238E27FC236}">
                  <a16:creationId xmlns:a16="http://schemas.microsoft.com/office/drawing/2014/main" id="{75C1B6AE-E558-0E8A-F6B6-2BB1E6EADF37}"/>
                </a:ext>
              </a:extLst>
            </p:cNvPr>
            <p:cNvSpPr/>
            <p:nvPr/>
          </p:nvSpPr>
          <p:spPr>
            <a:xfrm>
              <a:off x="6635687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rgbClr val="C4C7D6"/>
                  </a:solidFill>
                </a:rPr>
                <a:t>Fonctionnement</a:t>
              </a:r>
            </a:p>
          </p:txBody>
        </p:sp>
        <p:sp>
          <p:nvSpPr>
            <p:cNvPr id="9" name="Rectangle : coins arrondis 8">
              <a:extLst>
                <a:ext uri="{FF2B5EF4-FFF2-40B4-BE49-F238E27FC236}">
                  <a16:creationId xmlns:a16="http://schemas.microsoft.com/office/drawing/2014/main" id="{62E0180D-9B56-B38F-571A-F4329842FA7A}"/>
                </a:ext>
              </a:extLst>
            </p:cNvPr>
            <p:cNvSpPr/>
            <p:nvPr/>
          </p:nvSpPr>
          <p:spPr>
            <a:xfrm>
              <a:off x="8429668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rgbClr val="C4C7D6"/>
                  </a:solidFill>
                </a:rPr>
                <a:t>Offre</a:t>
              </a:r>
            </a:p>
          </p:txBody>
        </p:sp>
        <p:sp>
          <p:nvSpPr>
            <p:cNvPr id="10" name="Rectangle : coins arrondis 9">
              <a:extLst>
                <a:ext uri="{FF2B5EF4-FFF2-40B4-BE49-F238E27FC236}">
                  <a16:creationId xmlns:a16="http://schemas.microsoft.com/office/drawing/2014/main" id="{5842F67B-AC7E-D0A4-1883-2D335A5CFB71}"/>
                </a:ext>
              </a:extLst>
            </p:cNvPr>
            <p:cNvSpPr/>
            <p:nvPr/>
          </p:nvSpPr>
          <p:spPr>
            <a:xfrm>
              <a:off x="4841706" y="406400"/>
              <a:ext cx="1474942" cy="359228"/>
            </a:xfrm>
            <a:prstGeom prst="roundRect">
              <a:avLst>
                <a:gd name="adj" fmla="val 50000"/>
              </a:avLst>
            </a:prstGeom>
            <a:solidFill>
              <a:srgbClr val="4E966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chemeClr val="bg1"/>
                  </a:solidFill>
                  <a:latin typeface="Montserrat Alternates SemiBold" panose="00000700000000000000" pitchFamily="2" charset="0"/>
                </a:rPr>
                <a:t>Solution</a:t>
              </a:r>
            </a:p>
          </p:txBody>
        </p:sp>
        <p:sp>
          <p:nvSpPr>
            <p:cNvPr id="11" name="Rectangle : coins arrondis 10">
              <a:extLst>
                <a:ext uri="{FF2B5EF4-FFF2-40B4-BE49-F238E27FC236}">
                  <a16:creationId xmlns:a16="http://schemas.microsoft.com/office/drawing/2014/main" id="{172E9C4F-A906-51D3-0CD8-C00BF634A563}"/>
                </a:ext>
              </a:extLst>
            </p:cNvPr>
            <p:cNvSpPr/>
            <p:nvPr/>
          </p:nvSpPr>
          <p:spPr>
            <a:xfrm>
              <a:off x="10223649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rgbClr val="C4C7D6"/>
                  </a:solidFill>
                </a:rPr>
                <a:t>Fondateur</a:t>
              </a:r>
            </a:p>
          </p:txBody>
        </p:sp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1A3ADF22-812C-8B86-B894-C3691BABB9B3}"/>
              </a:ext>
            </a:extLst>
          </p:cNvPr>
          <p:cNvGrpSpPr/>
          <p:nvPr/>
        </p:nvGrpSpPr>
        <p:grpSpPr>
          <a:xfrm>
            <a:off x="1363249" y="2667417"/>
            <a:ext cx="3382922" cy="524401"/>
            <a:chOff x="4777067" y="3224547"/>
            <a:chExt cx="2637867" cy="408907"/>
          </a:xfrm>
        </p:grpSpPr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308206D7-DB29-6553-A52C-1E6F1A76B305}"/>
                </a:ext>
              </a:extLst>
            </p:cNvPr>
            <p:cNvSpPr/>
            <p:nvPr/>
          </p:nvSpPr>
          <p:spPr>
            <a:xfrm>
              <a:off x="5339077" y="3230626"/>
              <a:ext cx="312433" cy="384284"/>
            </a:xfrm>
            <a:custGeom>
              <a:avLst/>
              <a:gdLst>
                <a:gd name="connsiteX0" fmla="*/ 485680 w 543401"/>
                <a:gd name="connsiteY0" fmla="*/ 563308 h 668369"/>
                <a:gd name="connsiteX1" fmla="*/ 528161 w 543401"/>
                <a:gd name="connsiteY1" fmla="*/ 580739 h 668369"/>
                <a:gd name="connsiteX2" fmla="*/ 543401 w 543401"/>
                <a:gd name="connsiteY2" fmla="*/ 617887 h 668369"/>
                <a:gd name="connsiteX3" fmla="*/ 529114 w 543401"/>
                <a:gd name="connsiteY3" fmla="*/ 652653 h 668369"/>
                <a:gd name="connsiteX4" fmla="*/ 485680 w 543401"/>
                <a:gd name="connsiteY4" fmla="*/ 668369 h 668369"/>
                <a:gd name="connsiteX5" fmla="*/ 69247 w 543401"/>
                <a:gd name="connsiteY5" fmla="*/ 668369 h 668369"/>
                <a:gd name="connsiteX6" fmla="*/ 18860 w 543401"/>
                <a:gd name="connsiteY6" fmla="*/ 650081 h 668369"/>
                <a:gd name="connsiteX7" fmla="*/ 0 w 543401"/>
                <a:gd name="connsiteY7" fmla="*/ 605409 h 668369"/>
                <a:gd name="connsiteX8" fmla="*/ 0 w 543401"/>
                <a:gd name="connsiteY8" fmla="*/ 61913 h 668369"/>
                <a:gd name="connsiteX9" fmla="*/ 18860 w 543401"/>
                <a:gd name="connsiteY9" fmla="*/ 18479 h 668369"/>
                <a:gd name="connsiteX10" fmla="*/ 69247 w 543401"/>
                <a:gd name="connsiteY10" fmla="*/ 0 h 668369"/>
                <a:gd name="connsiteX11" fmla="*/ 485775 w 543401"/>
                <a:gd name="connsiteY11" fmla="*/ 0 h 668369"/>
                <a:gd name="connsiteX12" fmla="*/ 527685 w 543401"/>
                <a:gd name="connsiteY12" fmla="*/ 15240 h 668369"/>
                <a:gd name="connsiteX13" fmla="*/ 541401 w 543401"/>
                <a:gd name="connsiteY13" fmla="*/ 50197 h 668369"/>
                <a:gd name="connsiteX14" fmla="*/ 527304 w 543401"/>
                <a:gd name="connsiteY14" fmla="*/ 86106 h 668369"/>
                <a:gd name="connsiteX15" fmla="*/ 485870 w 543401"/>
                <a:gd name="connsiteY15" fmla="*/ 102775 h 668369"/>
                <a:gd name="connsiteX16" fmla="*/ 119634 w 543401"/>
                <a:gd name="connsiteY16" fmla="*/ 102775 h 668369"/>
                <a:gd name="connsiteX17" fmla="*/ 119634 w 543401"/>
                <a:gd name="connsiteY17" fmla="*/ 286321 h 668369"/>
                <a:gd name="connsiteX18" fmla="*/ 466916 w 543401"/>
                <a:gd name="connsiteY18" fmla="*/ 286321 h 668369"/>
                <a:gd name="connsiteX19" fmla="*/ 507778 w 543401"/>
                <a:gd name="connsiteY19" fmla="*/ 302609 h 668369"/>
                <a:gd name="connsiteX20" fmla="*/ 521494 w 543401"/>
                <a:gd name="connsiteY20" fmla="*/ 338899 h 668369"/>
                <a:gd name="connsiteX21" fmla="*/ 507778 w 543401"/>
                <a:gd name="connsiteY21" fmla="*/ 373475 h 668369"/>
                <a:gd name="connsiteX22" fmla="*/ 466916 w 543401"/>
                <a:gd name="connsiteY22" fmla="*/ 389191 h 668369"/>
                <a:gd name="connsiteX23" fmla="*/ 119634 w 543401"/>
                <a:gd name="connsiteY23" fmla="*/ 389191 h 668369"/>
                <a:gd name="connsiteX24" fmla="*/ 119634 w 543401"/>
                <a:gd name="connsiteY24" fmla="*/ 563404 h 668369"/>
                <a:gd name="connsiteX25" fmla="*/ 485775 w 543401"/>
                <a:gd name="connsiteY25" fmla="*/ 563404 h 668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43401" h="668369">
                  <a:moveTo>
                    <a:pt x="485680" y="563308"/>
                  </a:moveTo>
                  <a:cubicBezTo>
                    <a:pt x="503968" y="563308"/>
                    <a:pt x="518065" y="569119"/>
                    <a:pt x="528161" y="580739"/>
                  </a:cubicBezTo>
                  <a:cubicBezTo>
                    <a:pt x="538353" y="592264"/>
                    <a:pt x="543401" y="604647"/>
                    <a:pt x="543401" y="617887"/>
                  </a:cubicBezTo>
                  <a:cubicBezTo>
                    <a:pt x="543401" y="631126"/>
                    <a:pt x="538639" y="642080"/>
                    <a:pt x="529114" y="652653"/>
                  </a:cubicBezTo>
                  <a:cubicBezTo>
                    <a:pt x="519684" y="663130"/>
                    <a:pt x="505206" y="668369"/>
                    <a:pt x="485680" y="668369"/>
                  </a:cubicBezTo>
                  <a:lnTo>
                    <a:pt x="69247" y="668369"/>
                  </a:lnTo>
                  <a:cubicBezTo>
                    <a:pt x="48197" y="668369"/>
                    <a:pt x="31433" y="662273"/>
                    <a:pt x="18860" y="650081"/>
                  </a:cubicBezTo>
                  <a:cubicBezTo>
                    <a:pt x="6286" y="637794"/>
                    <a:pt x="0" y="622935"/>
                    <a:pt x="0" y="605409"/>
                  </a:cubicBezTo>
                  <a:lnTo>
                    <a:pt x="0" y="61913"/>
                  </a:lnTo>
                  <a:cubicBezTo>
                    <a:pt x="0" y="45148"/>
                    <a:pt x="6286" y="30671"/>
                    <a:pt x="18860" y="18479"/>
                  </a:cubicBezTo>
                  <a:cubicBezTo>
                    <a:pt x="31433" y="6191"/>
                    <a:pt x="48197" y="0"/>
                    <a:pt x="69247" y="0"/>
                  </a:cubicBezTo>
                  <a:lnTo>
                    <a:pt x="485775" y="0"/>
                  </a:lnTo>
                  <a:cubicBezTo>
                    <a:pt x="504635" y="0"/>
                    <a:pt x="518636" y="5143"/>
                    <a:pt x="527685" y="15240"/>
                  </a:cubicBezTo>
                  <a:cubicBezTo>
                    <a:pt x="536829" y="25337"/>
                    <a:pt x="541401" y="36957"/>
                    <a:pt x="541401" y="50197"/>
                  </a:cubicBezTo>
                  <a:cubicBezTo>
                    <a:pt x="541401" y="63437"/>
                    <a:pt x="536734" y="74866"/>
                    <a:pt x="527304" y="86106"/>
                  </a:cubicBezTo>
                  <a:cubicBezTo>
                    <a:pt x="517874" y="97250"/>
                    <a:pt x="504063" y="102775"/>
                    <a:pt x="485870" y="102775"/>
                  </a:cubicBezTo>
                  <a:lnTo>
                    <a:pt x="119634" y="102775"/>
                  </a:lnTo>
                  <a:lnTo>
                    <a:pt x="119634" y="286321"/>
                  </a:lnTo>
                  <a:lnTo>
                    <a:pt x="466916" y="286321"/>
                  </a:lnTo>
                  <a:cubicBezTo>
                    <a:pt x="485013" y="286321"/>
                    <a:pt x="498634" y="291751"/>
                    <a:pt x="507778" y="302609"/>
                  </a:cubicBezTo>
                  <a:cubicBezTo>
                    <a:pt x="516922" y="313468"/>
                    <a:pt x="521494" y="325564"/>
                    <a:pt x="521494" y="338899"/>
                  </a:cubicBezTo>
                  <a:cubicBezTo>
                    <a:pt x="521494" y="351472"/>
                    <a:pt x="516922" y="362998"/>
                    <a:pt x="507778" y="373475"/>
                  </a:cubicBezTo>
                  <a:cubicBezTo>
                    <a:pt x="498634" y="383953"/>
                    <a:pt x="485013" y="389191"/>
                    <a:pt x="466916" y="389191"/>
                  </a:cubicBezTo>
                  <a:lnTo>
                    <a:pt x="119634" y="389191"/>
                  </a:lnTo>
                  <a:lnTo>
                    <a:pt x="119634" y="563404"/>
                  </a:lnTo>
                  <a:lnTo>
                    <a:pt x="485775" y="563404"/>
                  </a:lnTo>
                  <a:close/>
                </a:path>
              </a:pathLst>
            </a:custGeom>
            <a:solidFill>
              <a:srgbClr val="4E966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AD469C53-A6B9-0610-B6E5-978A06B069AD}"/>
                </a:ext>
              </a:extLst>
            </p:cNvPr>
            <p:cNvSpPr/>
            <p:nvPr/>
          </p:nvSpPr>
          <p:spPr>
            <a:xfrm>
              <a:off x="5700853" y="3301656"/>
              <a:ext cx="287032" cy="319168"/>
            </a:xfrm>
            <a:custGeom>
              <a:avLst/>
              <a:gdLst>
                <a:gd name="connsiteX0" fmla="*/ 394811 w 499223"/>
                <a:gd name="connsiteY0" fmla="*/ 154400 h 555116"/>
                <a:gd name="connsiteX1" fmla="*/ 338042 w 499223"/>
                <a:gd name="connsiteY1" fmla="*/ 114490 h 555116"/>
                <a:gd name="connsiteX2" fmla="*/ 274130 w 499223"/>
                <a:gd name="connsiteY2" fmla="*/ 102965 h 555116"/>
                <a:gd name="connsiteX3" fmla="*/ 162782 w 499223"/>
                <a:gd name="connsiteY3" fmla="*/ 150781 h 555116"/>
                <a:gd name="connsiteX4" fmla="*/ 120872 w 499223"/>
                <a:gd name="connsiteY4" fmla="*/ 279178 h 555116"/>
                <a:gd name="connsiteX5" fmla="*/ 164306 w 499223"/>
                <a:gd name="connsiteY5" fmla="*/ 403955 h 555116"/>
                <a:gd name="connsiteX6" fmla="*/ 278225 w 499223"/>
                <a:gd name="connsiteY6" fmla="*/ 451199 h 555116"/>
                <a:gd name="connsiteX7" fmla="*/ 342138 w 499223"/>
                <a:gd name="connsiteY7" fmla="*/ 440246 h 555116"/>
                <a:gd name="connsiteX8" fmla="*/ 399860 w 499223"/>
                <a:gd name="connsiteY8" fmla="*/ 403955 h 555116"/>
                <a:gd name="connsiteX9" fmla="*/ 445484 w 499223"/>
                <a:gd name="connsiteY9" fmla="*/ 379952 h 555116"/>
                <a:gd name="connsiteX10" fmla="*/ 482822 w 499223"/>
                <a:gd name="connsiteY10" fmla="*/ 392430 h 555116"/>
                <a:gd name="connsiteX11" fmla="*/ 499110 w 499223"/>
                <a:gd name="connsiteY11" fmla="*/ 427768 h 555116"/>
                <a:gd name="connsiteX12" fmla="*/ 480632 w 499223"/>
                <a:gd name="connsiteY12" fmla="*/ 471202 h 555116"/>
                <a:gd name="connsiteX13" fmla="*/ 386810 w 499223"/>
                <a:gd name="connsiteY13" fmla="*/ 535686 h 555116"/>
                <a:gd name="connsiteX14" fmla="*/ 277273 w 499223"/>
                <a:gd name="connsiteY14" fmla="*/ 555117 h 555116"/>
                <a:gd name="connsiteX15" fmla="*/ 131826 w 499223"/>
                <a:gd name="connsiteY15" fmla="*/ 520541 h 555116"/>
                <a:gd name="connsiteX16" fmla="*/ 34576 w 499223"/>
                <a:gd name="connsiteY16" fmla="*/ 423863 h 555116"/>
                <a:gd name="connsiteX17" fmla="*/ 0 w 499223"/>
                <a:gd name="connsiteY17" fmla="*/ 280035 h 555116"/>
                <a:gd name="connsiteX18" fmla="*/ 34100 w 499223"/>
                <a:gd name="connsiteY18" fmla="*/ 132207 h 555116"/>
                <a:gd name="connsiteX19" fmla="*/ 130112 w 499223"/>
                <a:gd name="connsiteY19" fmla="*/ 34766 h 555116"/>
                <a:gd name="connsiteX20" fmla="*/ 273939 w 499223"/>
                <a:gd name="connsiteY20" fmla="*/ 0 h 555116"/>
                <a:gd name="connsiteX21" fmla="*/ 381286 w 499223"/>
                <a:gd name="connsiteY21" fmla="*/ 17907 h 555116"/>
                <a:gd name="connsiteX22" fmla="*/ 473202 w 499223"/>
                <a:gd name="connsiteY22" fmla="*/ 84963 h 555116"/>
                <a:gd name="connsiteX23" fmla="*/ 489490 w 499223"/>
                <a:gd name="connsiteY23" fmla="*/ 128016 h 555116"/>
                <a:gd name="connsiteX24" fmla="*/ 471011 w 499223"/>
                <a:gd name="connsiteY24" fmla="*/ 162592 h 555116"/>
                <a:gd name="connsiteX25" fmla="*/ 433864 w 499223"/>
                <a:gd name="connsiteY25" fmla="*/ 175927 h 555116"/>
                <a:gd name="connsiteX26" fmla="*/ 394526 w 499223"/>
                <a:gd name="connsiteY26" fmla="*/ 154305 h 555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99223" h="555116">
                  <a:moveTo>
                    <a:pt x="394811" y="154400"/>
                  </a:moveTo>
                  <a:cubicBezTo>
                    <a:pt x="378619" y="135541"/>
                    <a:pt x="359759" y="122206"/>
                    <a:pt x="338042" y="114490"/>
                  </a:cubicBezTo>
                  <a:cubicBezTo>
                    <a:pt x="316325" y="106871"/>
                    <a:pt x="294989" y="102965"/>
                    <a:pt x="274130" y="102965"/>
                  </a:cubicBezTo>
                  <a:cubicBezTo>
                    <a:pt x="227933" y="102965"/>
                    <a:pt x="190881" y="118967"/>
                    <a:pt x="162782" y="150781"/>
                  </a:cubicBezTo>
                  <a:cubicBezTo>
                    <a:pt x="134874" y="182499"/>
                    <a:pt x="120872" y="225361"/>
                    <a:pt x="120872" y="279178"/>
                  </a:cubicBezTo>
                  <a:cubicBezTo>
                    <a:pt x="120872" y="332994"/>
                    <a:pt x="135350" y="372523"/>
                    <a:pt x="164306" y="403955"/>
                  </a:cubicBezTo>
                  <a:cubicBezTo>
                    <a:pt x="193262" y="435483"/>
                    <a:pt x="231267" y="451199"/>
                    <a:pt x="278225" y="451199"/>
                  </a:cubicBezTo>
                  <a:cubicBezTo>
                    <a:pt x="299085" y="451199"/>
                    <a:pt x="320421" y="447580"/>
                    <a:pt x="342138" y="440246"/>
                  </a:cubicBezTo>
                  <a:cubicBezTo>
                    <a:pt x="363855" y="432816"/>
                    <a:pt x="383096" y="420719"/>
                    <a:pt x="399860" y="403955"/>
                  </a:cubicBezTo>
                  <a:cubicBezTo>
                    <a:pt x="415385" y="388620"/>
                    <a:pt x="430530" y="380619"/>
                    <a:pt x="445484" y="379952"/>
                  </a:cubicBezTo>
                  <a:cubicBezTo>
                    <a:pt x="460534" y="379190"/>
                    <a:pt x="473012" y="383286"/>
                    <a:pt x="482822" y="392430"/>
                  </a:cubicBezTo>
                  <a:cubicBezTo>
                    <a:pt x="492633" y="401574"/>
                    <a:pt x="497967" y="413385"/>
                    <a:pt x="499110" y="427768"/>
                  </a:cubicBezTo>
                  <a:cubicBezTo>
                    <a:pt x="500158" y="442055"/>
                    <a:pt x="493967" y="456533"/>
                    <a:pt x="480632" y="471202"/>
                  </a:cubicBezTo>
                  <a:cubicBezTo>
                    <a:pt x="453390" y="501301"/>
                    <a:pt x="422053" y="522732"/>
                    <a:pt x="386810" y="535686"/>
                  </a:cubicBezTo>
                  <a:cubicBezTo>
                    <a:pt x="351568" y="548640"/>
                    <a:pt x="314992" y="555117"/>
                    <a:pt x="277273" y="555117"/>
                  </a:cubicBezTo>
                  <a:cubicBezTo>
                    <a:pt x="221933" y="555117"/>
                    <a:pt x="173450" y="543592"/>
                    <a:pt x="131826" y="520541"/>
                  </a:cubicBezTo>
                  <a:cubicBezTo>
                    <a:pt x="90107" y="497396"/>
                    <a:pt x="57722" y="465201"/>
                    <a:pt x="34576" y="423863"/>
                  </a:cubicBezTo>
                  <a:cubicBezTo>
                    <a:pt x="11525" y="382619"/>
                    <a:pt x="0" y="334708"/>
                    <a:pt x="0" y="280035"/>
                  </a:cubicBezTo>
                  <a:cubicBezTo>
                    <a:pt x="0" y="225361"/>
                    <a:pt x="11335" y="174212"/>
                    <a:pt x="34100" y="132207"/>
                  </a:cubicBezTo>
                  <a:cubicBezTo>
                    <a:pt x="56864" y="90297"/>
                    <a:pt x="88868" y="57817"/>
                    <a:pt x="130112" y="34766"/>
                  </a:cubicBezTo>
                  <a:cubicBezTo>
                    <a:pt x="171355" y="11621"/>
                    <a:pt x="219266" y="0"/>
                    <a:pt x="273939" y="0"/>
                  </a:cubicBezTo>
                  <a:cubicBezTo>
                    <a:pt x="312325" y="0"/>
                    <a:pt x="348044" y="6001"/>
                    <a:pt x="381286" y="17907"/>
                  </a:cubicBezTo>
                  <a:cubicBezTo>
                    <a:pt x="414623" y="29718"/>
                    <a:pt x="445199" y="52006"/>
                    <a:pt x="473202" y="84963"/>
                  </a:cubicBezTo>
                  <a:cubicBezTo>
                    <a:pt x="485870" y="99631"/>
                    <a:pt x="491300" y="114014"/>
                    <a:pt x="489490" y="128016"/>
                  </a:cubicBezTo>
                  <a:cubicBezTo>
                    <a:pt x="487775" y="141922"/>
                    <a:pt x="481584" y="153448"/>
                    <a:pt x="471011" y="162592"/>
                  </a:cubicBezTo>
                  <a:cubicBezTo>
                    <a:pt x="460534" y="171736"/>
                    <a:pt x="448151" y="176213"/>
                    <a:pt x="433864" y="175927"/>
                  </a:cubicBezTo>
                  <a:cubicBezTo>
                    <a:pt x="419576" y="175546"/>
                    <a:pt x="406432" y="168307"/>
                    <a:pt x="394526" y="154305"/>
                  </a:cubicBezTo>
                  <a:close/>
                </a:path>
              </a:pathLst>
            </a:custGeom>
            <a:solidFill>
              <a:srgbClr val="4E966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E635C44B-7CA4-059C-913C-197AE4CC6F1F}"/>
                </a:ext>
              </a:extLst>
            </p:cNvPr>
            <p:cNvSpPr/>
            <p:nvPr/>
          </p:nvSpPr>
          <p:spPr>
            <a:xfrm>
              <a:off x="6026210" y="3301766"/>
              <a:ext cx="320921" cy="319168"/>
            </a:xfrm>
            <a:custGeom>
              <a:avLst/>
              <a:gdLst>
                <a:gd name="connsiteX0" fmla="*/ 278892 w 558165"/>
                <a:gd name="connsiteY0" fmla="*/ 0 h 555116"/>
                <a:gd name="connsiteX1" fmla="*/ 425767 w 558165"/>
                <a:gd name="connsiteY1" fmla="*/ 35147 h 555116"/>
                <a:gd name="connsiteX2" fmla="*/ 523399 w 558165"/>
                <a:gd name="connsiteY2" fmla="*/ 133160 h 555116"/>
                <a:gd name="connsiteX3" fmla="*/ 558165 w 558165"/>
                <a:gd name="connsiteY3" fmla="*/ 280035 h 555116"/>
                <a:gd name="connsiteX4" fmla="*/ 521875 w 558165"/>
                <a:gd name="connsiteY4" fmla="*/ 423863 h 555116"/>
                <a:gd name="connsiteX5" fmla="*/ 424243 w 558165"/>
                <a:gd name="connsiteY5" fmla="*/ 520541 h 555116"/>
                <a:gd name="connsiteX6" fmla="*/ 278987 w 558165"/>
                <a:gd name="connsiteY6" fmla="*/ 555117 h 555116"/>
                <a:gd name="connsiteX7" fmla="*/ 134112 w 558165"/>
                <a:gd name="connsiteY7" fmla="*/ 520541 h 555116"/>
                <a:gd name="connsiteX8" fmla="*/ 36100 w 558165"/>
                <a:gd name="connsiteY8" fmla="*/ 423863 h 555116"/>
                <a:gd name="connsiteX9" fmla="*/ 0 w 558165"/>
                <a:gd name="connsiteY9" fmla="*/ 280035 h 555116"/>
                <a:gd name="connsiteX10" fmla="*/ 35147 w 558165"/>
                <a:gd name="connsiteY10" fmla="*/ 133160 h 555116"/>
                <a:gd name="connsiteX11" fmla="*/ 133159 w 558165"/>
                <a:gd name="connsiteY11" fmla="*/ 35147 h 555116"/>
                <a:gd name="connsiteX12" fmla="*/ 278987 w 558165"/>
                <a:gd name="connsiteY12" fmla="*/ 0 h 555116"/>
                <a:gd name="connsiteX13" fmla="*/ 278892 w 558165"/>
                <a:gd name="connsiteY13" fmla="*/ 450056 h 555116"/>
                <a:gd name="connsiteX14" fmla="*/ 392811 w 558165"/>
                <a:gd name="connsiteY14" fmla="*/ 402812 h 555116"/>
                <a:gd name="connsiteX15" fmla="*/ 435292 w 558165"/>
                <a:gd name="connsiteY15" fmla="*/ 279940 h 555116"/>
                <a:gd name="connsiteX16" fmla="*/ 392811 w 558165"/>
                <a:gd name="connsiteY16" fmla="*/ 153543 h 555116"/>
                <a:gd name="connsiteX17" fmla="*/ 278892 w 558165"/>
                <a:gd name="connsiteY17" fmla="*/ 104680 h 555116"/>
                <a:gd name="connsiteX18" fmla="*/ 165545 w 558165"/>
                <a:gd name="connsiteY18" fmla="*/ 153543 h 555116"/>
                <a:gd name="connsiteX19" fmla="*/ 122492 w 558165"/>
                <a:gd name="connsiteY19" fmla="*/ 279940 h 555116"/>
                <a:gd name="connsiteX20" fmla="*/ 165545 w 558165"/>
                <a:gd name="connsiteY20" fmla="*/ 402812 h 555116"/>
                <a:gd name="connsiteX21" fmla="*/ 278892 w 558165"/>
                <a:gd name="connsiteY21" fmla="*/ 450056 h 555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58165" h="555116">
                  <a:moveTo>
                    <a:pt x="278892" y="0"/>
                  </a:moveTo>
                  <a:cubicBezTo>
                    <a:pt x="334899" y="0"/>
                    <a:pt x="383762" y="11716"/>
                    <a:pt x="425767" y="35147"/>
                  </a:cubicBezTo>
                  <a:cubicBezTo>
                    <a:pt x="467868" y="58579"/>
                    <a:pt x="500348" y="91249"/>
                    <a:pt x="523399" y="133160"/>
                  </a:cubicBezTo>
                  <a:cubicBezTo>
                    <a:pt x="546545" y="175165"/>
                    <a:pt x="558165" y="224028"/>
                    <a:pt x="558165" y="280035"/>
                  </a:cubicBezTo>
                  <a:cubicBezTo>
                    <a:pt x="557498" y="334708"/>
                    <a:pt x="545401" y="382619"/>
                    <a:pt x="521875" y="423863"/>
                  </a:cubicBezTo>
                  <a:cubicBezTo>
                    <a:pt x="498443" y="465106"/>
                    <a:pt x="465868" y="497396"/>
                    <a:pt x="424243" y="520541"/>
                  </a:cubicBezTo>
                  <a:cubicBezTo>
                    <a:pt x="382714" y="543592"/>
                    <a:pt x="334232" y="555117"/>
                    <a:pt x="278987" y="555117"/>
                  </a:cubicBezTo>
                  <a:cubicBezTo>
                    <a:pt x="223742" y="555117"/>
                    <a:pt x="176213" y="543592"/>
                    <a:pt x="134112" y="520541"/>
                  </a:cubicBezTo>
                  <a:cubicBezTo>
                    <a:pt x="92107" y="497396"/>
                    <a:pt x="59531" y="465201"/>
                    <a:pt x="36100" y="423863"/>
                  </a:cubicBezTo>
                  <a:cubicBezTo>
                    <a:pt x="12668" y="382524"/>
                    <a:pt x="667" y="334708"/>
                    <a:pt x="0" y="280035"/>
                  </a:cubicBezTo>
                  <a:cubicBezTo>
                    <a:pt x="0" y="224028"/>
                    <a:pt x="11716" y="175165"/>
                    <a:pt x="35147" y="133160"/>
                  </a:cubicBezTo>
                  <a:cubicBezTo>
                    <a:pt x="58579" y="91249"/>
                    <a:pt x="91250" y="58579"/>
                    <a:pt x="133159" y="35147"/>
                  </a:cubicBezTo>
                  <a:cubicBezTo>
                    <a:pt x="175260" y="11716"/>
                    <a:pt x="223838" y="0"/>
                    <a:pt x="278987" y="0"/>
                  </a:cubicBezTo>
                  <a:close/>
                  <a:moveTo>
                    <a:pt x="278892" y="450056"/>
                  </a:moveTo>
                  <a:cubicBezTo>
                    <a:pt x="326517" y="450056"/>
                    <a:pt x="364426" y="434340"/>
                    <a:pt x="392811" y="402812"/>
                  </a:cubicBezTo>
                  <a:cubicBezTo>
                    <a:pt x="421100" y="371380"/>
                    <a:pt x="435292" y="330422"/>
                    <a:pt x="435292" y="279940"/>
                  </a:cubicBezTo>
                  <a:cubicBezTo>
                    <a:pt x="435292" y="229457"/>
                    <a:pt x="421100" y="186119"/>
                    <a:pt x="392811" y="153543"/>
                  </a:cubicBezTo>
                  <a:cubicBezTo>
                    <a:pt x="364522" y="120968"/>
                    <a:pt x="326517" y="104680"/>
                    <a:pt x="278892" y="104680"/>
                  </a:cubicBezTo>
                  <a:cubicBezTo>
                    <a:pt x="231267" y="104680"/>
                    <a:pt x="194215" y="120968"/>
                    <a:pt x="165545" y="153543"/>
                  </a:cubicBezTo>
                  <a:cubicBezTo>
                    <a:pt x="136779" y="186119"/>
                    <a:pt x="122492" y="228219"/>
                    <a:pt x="122492" y="279940"/>
                  </a:cubicBezTo>
                  <a:cubicBezTo>
                    <a:pt x="122492" y="331661"/>
                    <a:pt x="136874" y="371285"/>
                    <a:pt x="165545" y="402812"/>
                  </a:cubicBezTo>
                  <a:cubicBezTo>
                    <a:pt x="194215" y="434340"/>
                    <a:pt x="232029" y="450056"/>
                    <a:pt x="278892" y="450056"/>
                  </a:cubicBezTo>
                  <a:close/>
                </a:path>
              </a:pathLst>
            </a:custGeom>
            <a:solidFill>
              <a:srgbClr val="4E966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AABA1912-AFF4-4CF9-81E6-166EF2305DDD}"/>
                </a:ext>
              </a:extLst>
            </p:cNvPr>
            <p:cNvSpPr/>
            <p:nvPr/>
          </p:nvSpPr>
          <p:spPr>
            <a:xfrm>
              <a:off x="6406880" y="3230572"/>
              <a:ext cx="316759" cy="384339"/>
            </a:xfrm>
            <a:custGeom>
              <a:avLst/>
              <a:gdLst>
                <a:gd name="connsiteX0" fmla="*/ 120587 w 550926"/>
                <a:gd name="connsiteY0" fmla="*/ 482632 h 668464"/>
                <a:gd name="connsiteX1" fmla="*/ 120587 w 550926"/>
                <a:gd name="connsiteY1" fmla="*/ 614839 h 668464"/>
                <a:gd name="connsiteX2" fmla="*/ 101156 w 550926"/>
                <a:gd name="connsiteY2" fmla="*/ 655320 h 668464"/>
                <a:gd name="connsiteX3" fmla="*/ 59722 w 550926"/>
                <a:gd name="connsiteY3" fmla="*/ 668464 h 668464"/>
                <a:gd name="connsiteX4" fmla="*/ 18288 w 550926"/>
                <a:gd name="connsiteY4" fmla="*/ 655320 h 668464"/>
                <a:gd name="connsiteX5" fmla="*/ 0 w 550926"/>
                <a:gd name="connsiteY5" fmla="*/ 615982 h 668464"/>
                <a:gd name="connsiteX6" fmla="*/ 0 w 550926"/>
                <a:gd name="connsiteY6" fmla="*/ 54578 h 668464"/>
                <a:gd name="connsiteX7" fmla="*/ 17621 w 550926"/>
                <a:gd name="connsiteY7" fmla="*/ 15240 h 668464"/>
                <a:gd name="connsiteX8" fmla="*/ 60674 w 550926"/>
                <a:gd name="connsiteY8" fmla="*/ 0 h 668464"/>
                <a:gd name="connsiteX9" fmla="*/ 274796 w 550926"/>
                <a:gd name="connsiteY9" fmla="*/ 0 h 668464"/>
                <a:gd name="connsiteX10" fmla="*/ 423863 w 550926"/>
                <a:gd name="connsiteY10" fmla="*/ 30956 h 668464"/>
                <a:gd name="connsiteX11" fmla="*/ 518350 w 550926"/>
                <a:gd name="connsiteY11" fmla="*/ 117062 h 668464"/>
                <a:gd name="connsiteX12" fmla="*/ 550926 w 550926"/>
                <a:gd name="connsiteY12" fmla="*/ 246412 h 668464"/>
                <a:gd name="connsiteX13" fmla="*/ 477488 w 550926"/>
                <a:gd name="connsiteY13" fmla="*/ 417481 h 668464"/>
                <a:gd name="connsiteX14" fmla="*/ 271748 w 550926"/>
                <a:gd name="connsiteY14" fmla="*/ 482537 h 668464"/>
                <a:gd name="connsiteX15" fmla="*/ 120777 w 550926"/>
                <a:gd name="connsiteY15" fmla="*/ 482537 h 668464"/>
                <a:gd name="connsiteX16" fmla="*/ 120587 w 550926"/>
                <a:gd name="connsiteY16" fmla="*/ 103822 h 668464"/>
                <a:gd name="connsiteX17" fmla="*/ 120587 w 550926"/>
                <a:gd name="connsiteY17" fmla="*/ 378905 h 668464"/>
                <a:gd name="connsiteX18" fmla="*/ 271558 w 550926"/>
                <a:gd name="connsiteY18" fmla="*/ 378905 h 668464"/>
                <a:gd name="connsiteX19" fmla="*/ 390239 w 550926"/>
                <a:gd name="connsiteY19" fmla="*/ 342805 h 668464"/>
                <a:gd name="connsiteX20" fmla="*/ 431102 w 550926"/>
                <a:gd name="connsiteY20" fmla="*/ 246602 h 668464"/>
                <a:gd name="connsiteX21" fmla="*/ 390620 w 550926"/>
                <a:gd name="connsiteY21" fmla="*/ 142780 h 668464"/>
                <a:gd name="connsiteX22" fmla="*/ 275749 w 550926"/>
                <a:gd name="connsiteY22" fmla="*/ 103918 h 668464"/>
                <a:gd name="connsiteX23" fmla="*/ 120587 w 550926"/>
                <a:gd name="connsiteY23" fmla="*/ 103918 h 668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50926" h="668464">
                  <a:moveTo>
                    <a:pt x="120587" y="482632"/>
                  </a:moveTo>
                  <a:lnTo>
                    <a:pt x="120587" y="614839"/>
                  </a:lnTo>
                  <a:cubicBezTo>
                    <a:pt x="120587" y="633127"/>
                    <a:pt x="114110" y="646557"/>
                    <a:pt x="101156" y="655320"/>
                  </a:cubicBezTo>
                  <a:cubicBezTo>
                    <a:pt x="88202" y="664083"/>
                    <a:pt x="74390" y="668464"/>
                    <a:pt x="59722" y="668464"/>
                  </a:cubicBezTo>
                  <a:cubicBezTo>
                    <a:pt x="45053" y="668464"/>
                    <a:pt x="30575" y="664083"/>
                    <a:pt x="18288" y="655320"/>
                  </a:cubicBezTo>
                  <a:cubicBezTo>
                    <a:pt x="6096" y="646557"/>
                    <a:pt x="0" y="633508"/>
                    <a:pt x="0" y="615982"/>
                  </a:cubicBezTo>
                  <a:lnTo>
                    <a:pt x="0" y="54578"/>
                  </a:lnTo>
                  <a:cubicBezTo>
                    <a:pt x="0" y="38481"/>
                    <a:pt x="5810" y="25337"/>
                    <a:pt x="17621" y="15240"/>
                  </a:cubicBezTo>
                  <a:cubicBezTo>
                    <a:pt x="29528" y="5048"/>
                    <a:pt x="43910" y="0"/>
                    <a:pt x="60674" y="0"/>
                  </a:cubicBezTo>
                  <a:lnTo>
                    <a:pt x="274796" y="0"/>
                  </a:lnTo>
                  <a:cubicBezTo>
                    <a:pt x="332804" y="0"/>
                    <a:pt x="382524" y="10287"/>
                    <a:pt x="423863" y="30956"/>
                  </a:cubicBezTo>
                  <a:cubicBezTo>
                    <a:pt x="465201" y="51626"/>
                    <a:pt x="496634" y="80296"/>
                    <a:pt x="518350" y="117062"/>
                  </a:cubicBezTo>
                  <a:cubicBezTo>
                    <a:pt x="540068" y="153733"/>
                    <a:pt x="550926" y="196882"/>
                    <a:pt x="550926" y="246412"/>
                  </a:cubicBezTo>
                  <a:cubicBezTo>
                    <a:pt x="550926" y="317087"/>
                    <a:pt x="526447" y="374142"/>
                    <a:pt x="477488" y="417481"/>
                  </a:cubicBezTo>
                  <a:cubicBezTo>
                    <a:pt x="428530" y="460915"/>
                    <a:pt x="359950" y="482537"/>
                    <a:pt x="271748" y="482537"/>
                  </a:cubicBezTo>
                  <a:lnTo>
                    <a:pt x="120777" y="482537"/>
                  </a:lnTo>
                  <a:close/>
                  <a:moveTo>
                    <a:pt x="120587" y="103822"/>
                  </a:moveTo>
                  <a:lnTo>
                    <a:pt x="120587" y="378905"/>
                  </a:lnTo>
                  <a:lnTo>
                    <a:pt x="271558" y="378905"/>
                  </a:lnTo>
                  <a:cubicBezTo>
                    <a:pt x="323374" y="378905"/>
                    <a:pt x="362903" y="366903"/>
                    <a:pt x="390239" y="342805"/>
                  </a:cubicBezTo>
                  <a:cubicBezTo>
                    <a:pt x="417481" y="318611"/>
                    <a:pt x="431102" y="286512"/>
                    <a:pt x="431102" y="246602"/>
                  </a:cubicBezTo>
                  <a:cubicBezTo>
                    <a:pt x="431102" y="203263"/>
                    <a:pt x="417576" y="168593"/>
                    <a:pt x="390620" y="142780"/>
                  </a:cubicBezTo>
                  <a:cubicBezTo>
                    <a:pt x="363760" y="116872"/>
                    <a:pt x="325469" y="103918"/>
                    <a:pt x="275749" y="103918"/>
                  </a:cubicBezTo>
                  <a:lnTo>
                    <a:pt x="120587" y="103918"/>
                  </a:lnTo>
                  <a:close/>
                </a:path>
              </a:pathLst>
            </a:custGeom>
            <a:solidFill>
              <a:srgbClr val="4E966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4C78BC57-845C-541B-2EAC-EDB6D2A19F54}"/>
                </a:ext>
              </a:extLst>
            </p:cNvPr>
            <p:cNvSpPr/>
            <p:nvPr/>
          </p:nvSpPr>
          <p:spPr>
            <a:xfrm>
              <a:off x="6778458" y="3224547"/>
              <a:ext cx="69934" cy="390309"/>
            </a:xfrm>
            <a:custGeom>
              <a:avLst/>
              <a:gdLst>
                <a:gd name="connsiteX0" fmla="*/ 121634 w 121634"/>
                <a:gd name="connsiteY0" fmla="*/ 66104 h 678846"/>
                <a:gd name="connsiteX1" fmla="*/ 102203 w 121634"/>
                <a:gd name="connsiteY1" fmla="*/ 105442 h 678846"/>
                <a:gd name="connsiteX2" fmla="*/ 60770 w 121634"/>
                <a:gd name="connsiteY2" fmla="*/ 118586 h 678846"/>
                <a:gd name="connsiteX3" fmla="*/ 18860 w 121634"/>
                <a:gd name="connsiteY3" fmla="*/ 105442 h 678846"/>
                <a:gd name="connsiteX4" fmla="*/ 0 w 121634"/>
                <a:gd name="connsiteY4" fmla="*/ 66104 h 678846"/>
                <a:gd name="connsiteX5" fmla="*/ 0 w 121634"/>
                <a:gd name="connsiteY5" fmla="*/ 52388 h 678846"/>
                <a:gd name="connsiteX6" fmla="*/ 18860 w 121634"/>
                <a:gd name="connsiteY6" fmla="*/ 12668 h 678846"/>
                <a:gd name="connsiteX7" fmla="*/ 60770 w 121634"/>
                <a:gd name="connsiteY7" fmla="*/ 0 h 678846"/>
                <a:gd name="connsiteX8" fmla="*/ 102203 w 121634"/>
                <a:gd name="connsiteY8" fmla="*/ 12668 h 678846"/>
                <a:gd name="connsiteX9" fmla="*/ 121634 w 121634"/>
                <a:gd name="connsiteY9" fmla="*/ 52388 h 678846"/>
                <a:gd name="connsiteX10" fmla="*/ 121634 w 121634"/>
                <a:gd name="connsiteY10" fmla="*/ 66104 h 678846"/>
                <a:gd name="connsiteX11" fmla="*/ 953 w 121634"/>
                <a:gd name="connsiteY11" fmla="*/ 196215 h 678846"/>
                <a:gd name="connsiteX12" fmla="*/ 20384 w 121634"/>
                <a:gd name="connsiteY12" fmla="*/ 157925 h 678846"/>
                <a:gd name="connsiteX13" fmla="*/ 60674 w 121634"/>
                <a:gd name="connsiteY13" fmla="*/ 144589 h 678846"/>
                <a:gd name="connsiteX14" fmla="*/ 101727 w 121634"/>
                <a:gd name="connsiteY14" fmla="*/ 157925 h 678846"/>
                <a:gd name="connsiteX15" fmla="*/ 120587 w 121634"/>
                <a:gd name="connsiteY15" fmla="*/ 195072 h 678846"/>
                <a:gd name="connsiteX16" fmla="*/ 120587 w 121634"/>
                <a:gd name="connsiteY16" fmla="*/ 627507 h 678846"/>
                <a:gd name="connsiteX17" fmla="*/ 101727 w 121634"/>
                <a:gd name="connsiteY17" fmla="*/ 666369 h 678846"/>
                <a:gd name="connsiteX18" fmla="*/ 60674 w 121634"/>
                <a:gd name="connsiteY18" fmla="*/ 678847 h 678846"/>
                <a:gd name="connsiteX19" fmla="*/ 20384 w 121634"/>
                <a:gd name="connsiteY19" fmla="*/ 666369 h 678846"/>
                <a:gd name="connsiteX20" fmla="*/ 953 w 121634"/>
                <a:gd name="connsiteY20" fmla="*/ 627507 h 678846"/>
                <a:gd name="connsiteX21" fmla="*/ 953 w 121634"/>
                <a:gd name="connsiteY21" fmla="*/ 196310 h 678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634" h="678846">
                  <a:moveTo>
                    <a:pt x="121634" y="66104"/>
                  </a:moveTo>
                  <a:cubicBezTo>
                    <a:pt x="121634" y="83534"/>
                    <a:pt x="115158" y="96679"/>
                    <a:pt x="102203" y="105442"/>
                  </a:cubicBezTo>
                  <a:cubicBezTo>
                    <a:pt x="89345" y="114205"/>
                    <a:pt x="75533" y="118586"/>
                    <a:pt x="60770" y="118586"/>
                  </a:cubicBezTo>
                  <a:cubicBezTo>
                    <a:pt x="46006" y="118586"/>
                    <a:pt x="31433" y="114205"/>
                    <a:pt x="18860" y="105442"/>
                  </a:cubicBezTo>
                  <a:cubicBezTo>
                    <a:pt x="6287" y="96679"/>
                    <a:pt x="0" y="83629"/>
                    <a:pt x="0" y="66104"/>
                  </a:cubicBezTo>
                  <a:lnTo>
                    <a:pt x="0" y="52388"/>
                  </a:lnTo>
                  <a:cubicBezTo>
                    <a:pt x="0" y="34290"/>
                    <a:pt x="6287" y="21050"/>
                    <a:pt x="18860" y="12668"/>
                  </a:cubicBezTo>
                  <a:cubicBezTo>
                    <a:pt x="31433" y="4191"/>
                    <a:pt x="45339" y="0"/>
                    <a:pt x="60770" y="0"/>
                  </a:cubicBezTo>
                  <a:cubicBezTo>
                    <a:pt x="76200" y="0"/>
                    <a:pt x="89440" y="4286"/>
                    <a:pt x="102203" y="12668"/>
                  </a:cubicBezTo>
                  <a:cubicBezTo>
                    <a:pt x="115158" y="21050"/>
                    <a:pt x="121634" y="34290"/>
                    <a:pt x="121634" y="52388"/>
                  </a:cubicBezTo>
                  <a:lnTo>
                    <a:pt x="121634" y="66104"/>
                  </a:lnTo>
                  <a:close/>
                  <a:moveTo>
                    <a:pt x="953" y="196215"/>
                  </a:moveTo>
                  <a:cubicBezTo>
                    <a:pt x="953" y="179451"/>
                    <a:pt x="7430" y="166688"/>
                    <a:pt x="20384" y="157925"/>
                  </a:cubicBezTo>
                  <a:cubicBezTo>
                    <a:pt x="33338" y="149066"/>
                    <a:pt x="46768" y="144589"/>
                    <a:pt x="60674" y="144589"/>
                  </a:cubicBezTo>
                  <a:cubicBezTo>
                    <a:pt x="75438" y="144589"/>
                    <a:pt x="89154" y="149066"/>
                    <a:pt x="101727" y="157925"/>
                  </a:cubicBezTo>
                  <a:cubicBezTo>
                    <a:pt x="114300" y="166688"/>
                    <a:pt x="120587" y="179070"/>
                    <a:pt x="120587" y="195072"/>
                  </a:cubicBezTo>
                  <a:lnTo>
                    <a:pt x="120587" y="627507"/>
                  </a:lnTo>
                  <a:cubicBezTo>
                    <a:pt x="120587" y="644938"/>
                    <a:pt x="114300" y="657987"/>
                    <a:pt x="101727" y="666369"/>
                  </a:cubicBezTo>
                  <a:cubicBezTo>
                    <a:pt x="89154" y="674751"/>
                    <a:pt x="75438" y="678847"/>
                    <a:pt x="60674" y="678847"/>
                  </a:cubicBezTo>
                  <a:cubicBezTo>
                    <a:pt x="46768" y="678847"/>
                    <a:pt x="33338" y="674656"/>
                    <a:pt x="20384" y="666369"/>
                  </a:cubicBezTo>
                  <a:cubicBezTo>
                    <a:pt x="7430" y="657892"/>
                    <a:pt x="953" y="644938"/>
                    <a:pt x="953" y="627507"/>
                  </a:cubicBezTo>
                  <a:lnTo>
                    <a:pt x="953" y="196310"/>
                  </a:lnTo>
                  <a:close/>
                </a:path>
              </a:pathLst>
            </a:custGeom>
            <a:solidFill>
              <a:srgbClr val="4E966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D298B788-8343-265A-5813-329E0B0618EC}"/>
                </a:ext>
              </a:extLst>
            </p:cNvPr>
            <p:cNvSpPr/>
            <p:nvPr/>
          </p:nvSpPr>
          <p:spPr>
            <a:xfrm>
              <a:off x="6900858" y="3224547"/>
              <a:ext cx="68784" cy="390309"/>
            </a:xfrm>
            <a:custGeom>
              <a:avLst/>
              <a:gdLst>
                <a:gd name="connsiteX0" fmla="*/ 119634 w 119633"/>
                <a:gd name="connsiteY0" fmla="*/ 626459 h 678846"/>
                <a:gd name="connsiteX1" fmla="*/ 102203 w 119633"/>
                <a:gd name="connsiteY1" fmla="*/ 663130 h 678846"/>
                <a:gd name="connsiteX2" fmla="*/ 59722 w 119633"/>
                <a:gd name="connsiteY2" fmla="*/ 678847 h 678846"/>
                <a:gd name="connsiteX3" fmla="*/ 16669 w 119633"/>
                <a:gd name="connsiteY3" fmla="*/ 663130 h 678846"/>
                <a:gd name="connsiteX4" fmla="*/ 0 w 119633"/>
                <a:gd name="connsiteY4" fmla="*/ 626459 h 678846"/>
                <a:gd name="connsiteX5" fmla="*/ 0 w 119633"/>
                <a:gd name="connsiteY5" fmla="*/ 52388 h 678846"/>
                <a:gd name="connsiteX6" fmla="*/ 16669 w 119633"/>
                <a:gd name="connsiteY6" fmla="*/ 15716 h 678846"/>
                <a:gd name="connsiteX7" fmla="*/ 59722 w 119633"/>
                <a:gd name="connsiteY7" fmla="*/ 0 h 678846"/>
                <a:gd name="connsiteX8" fmla="*/ 102203 w 119633"/>
                <a:gd name="connsiteY8" fmla="*/ 15716 h 678846"/>
                <a:gd name="connsiteX9" fmla="*/ 119634 w 119633"/>
                <a:gd name="connsiteY9" fmla="*/ 52388 h 678846"/>
                <a:gd name="connsiteX10" fmla="*/ 119634 w 119633"/>
                <a:gd name="connsiteY10" fmla="*/ 626459 h 678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633" h="678846">
                  <a:moveTo>
                    <a:pt x="119634" y="626459"/>
                  </a:moveTo>
                  <a:cubicBezTo>
                    <a:pt x="119634" y="640366"/>
                    <a:pt x="113824" y="652558"/>
                    <a:pt x="102203" y="663130"/>
                  </a:cubicBezTo>
                  <a:cubicBezTo>
                    <a:pt x="90678" y="673608"/>
                    <a:pt x="76486" y="678847"/>
                    <a:pt x="59722" y="678847"/>
                  </a:cubicBezTo>
                  <a:cubicBezTo>
                    <a:pt x="42958" y="678847"/>
                    <a:pt x="27908" y="673608"/>
                    <a:pt x="16669" y="663130"/>
                  </a:cubicBezTo>
                  <a:cubicBezTo>
                    <a:pt x="5525" y="652558"/>
                    <a:pt x="0" y="640271"/>
                    <a:pt x="0" y="626459"/>
                  </a:cubicBezTo>
                  <a:lnTo>
                    <a:pt x="0" y="52388"/>
                  </a:lnTo>
                  <a:cubicBezTo>
                    <a:pt x="0" y="38386"/>
                    <a:pt x="5525" y="26098"/>
                    <a:pt x="16669" y="15716"/>
                  </a:cubicBezTo>
                  <a:cubicBezTo>
                    <a:pt x="27908" y="5334"/>
                    <a:pt x="42291" y="0"/>
                    <a:pt x="59722" y="0"/>
                  </a:cubicBezTo>
                  <a:cubicBezTo>
                    <a:pt x="77153" y="0"/>
                    <a:pt x="90678" y="5239"/>
                    <a:pt x="102203" y="15716"/>
                  </a:cubicBezTo>
                  <a:cubicBezTo>
                    <a:pt x="113824" y="26194"/>
                    <a:pt x="119634" y="38481"/>
                    <a:pt x="119634" y="52388"/>
                  </a:cubicBezTo>
                  <a:lnTo>
                    <a:pt x="119634" y="626459"/>
                  </a:lnTo>
                  <a:close/>
                </a:path>
              </a:pathLst>
            </a:custGeom>
            <a:solidFill>
              <a:srgbClr val="4E966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73C257FB-4BF5-039B-063D-A36BB4951764}"/>
                </a:ext>
              </a:extLst>
            </p:cNvPr>
            <p:cNvSpPr/>
            <p:nvPr/>
          </p:nvSpPr>
          <p:spPr>
            <a:xfrm>
              <a:off x="7022764" y="3224547"/>
              <a:ext cx="68784" cy="390309"/>
            </a:xfrm>
            <a:custGeom>
              <a:avLst/>
              <a:gdLst>
                <a:gd name="connsiteX0" fmla="*/ 119634 w 119633"/>
                <a:gd name="connsiteY0" fmla="*/ 626459 h 678846"/>
                <a:gd name="connsiteX1" fmla="*/ 102203 w 119633"/>
                <a:gd name="connsiteY1" fmla="*/ 663130 h 678846"/>
                <a:gd name="connsiteX2" fmla="*/ 59722 w 119633"/>
                <a:gd name="connsiteY2" fmla="*/ 678847 h 678846"/>
                <a:gd name="connsiteX3" fmla="*/ 16669 w 119633"/>
                <a:gd name="connsiteY3" fmla="*/ 663130 h 678846"/>
                <a:gd name="connsiteX4" fmla="*/ 0 w 119633"/>
                <a:gd name="connsiteY4" fmla="*/ 626459 h 678846"/>
                <a:gd name="connsiteX5" fmla="*/ 0 w 119633"/>
                <a:gd name="connsiteY5" fmla="*/ 52388 h 678846"/>
                <a:gd name="connsiteX6" fmla="*/ 16669 w 119633"/>
                <a:gd name="connsiteY6" fmla="*/ 15716 h 678846"/>
                <a:gd name="connsiteX7" fmla="*/ 59722 w 119633"/>
                <a:gd name="connsiteY7" fmla="*/ 0 h 678846"/>
                <a:gd name="connsiteX8" fmla="*/ 102203 w 119633"/>
                <a:gd name="connsiteY8" fmla="*/ 15716 h 678846"/>
                <a:gd name="connsiteX9" fmla="*/ 119634 w 119633"/>
                <a:gd name="connsiteY9" fmla="*/ 52388 h 678846"/>
                <a:gd name="connsiteX10" fmla="*/ 119634 w 119633"/>
                <a:gd name="connsiteY10" fmla="*/ 626459 h 678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633" h="678846">
                  <a:moveTo>
                    <a:pt x="119634" y="626459"/>
                  </a:moveTo>
                  <a:cubicBezTo>
                    <a:pt x="119634" y="640366"/>
                    <a:pt x="113824" y="652558"/>
                    <a:pt x="102203" y="663130"/>
                  </a:cubicBezTo>
                  <a:cubicBezTo>
                    <a:pt x="90678" y="673608"/>
                    <a:pt x="76486" y="678847"/>
                    <a:pt x="59722" y="678847"/>
                  </a:cubicBezTo>
                  <a:cubicBezTo>
                    <a:pt x="42958" y="678847"/>
                    <a:pt x="27908" y="673608"/>
                    <a:pt x="16669" y="663130"/>
                  </a:cubicBezTo>
                  <a:cubicBezTo>
                    <a:pt x="5524" y="652558"/>
                    <a:pt x="0" y="640271"/>
                    <a:pt x="0" y="626459"/>
                  </a:cubicBezTo>
                  <a:lnTo>
                    <a:pt x="0" y="52388"/>
                  </a:lnTo>
                  <a:cubicBezTo>
                    <a:pt x="0" y="38386"/>
                    <a:pt x="5524" y="26098"/>
                    <a:pt x="16669" y="15716"/>
                  </a:cubicBezTo>
                  <a:cubicBezTo>
                    <a:pt x="27908" y="5334"/>
                    <a:pt x="42291" y="0"/>
                    <a:pt x="59722" y="0"/>
                  </a:cubicBezTo>
                  <a:cubicBezTo>
                    <a:pt x="77153" y="0"/>
                    <a:pt x="90678" y="5239"/>
                    <a:pt x="102203" y="15716"/>
                  </a:cubicBezTo>
                  <a:cubicBezTo>
                    <a:pt x="113824" y="26194"/>
                    <a:pt x="119634" y="38481"/>
                    <a:pt x="119634" y="52388"/>
                  </a:cubicBezTo>
                  <a:lnTo>
                    <a:pt x="119634" y="626459"/>
                  </a:lnTo>
                  <a:close/>
                </a:path>
              </a:pathLst>
            </a:custGeom>
            <a:solidFill>
              <a:srgbClr val="4E966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57E23418-56FB-B11D-676B-23A79D45D853}"/>
                </a:ext>
              </a:extLst>
            </p:cNvPr>
            <p:cNvSpPr/>
            <p:nvPr/>
          </p:nvSpPr>
          <p:spPr>
            <a:xfrm>
              <a:off x="7130250" y="3301711"/>
              <a:ext cx="284684" cy="319005"/>
            </a:xfrm>
            <a:custGeom>
              <a:avLst/>
              <a:gdLst>
                <a:gd name="connsiteX0" fmla="*/ 1935 w 495139"/>
                <a:gd name="connsiteY0" fmla="*/ 419862 h 554831"/>
                <a:gd name="connsiteX1" fmla="*/ 15461 w 495139"/>
                <a:gd name="connsiteY1" fmla="*/ 372618 h 554831"/>
                <a:gd name="connsiteX2" fmla="*/ 61657 w 495139"/>
                <a:gd name="connsiteY2" fmla="*/ 354711 h 554831"/>
                <a:gd name="connsiteX3" fmla="*/ 95185 w 495139"/>
                <a:gd name="connsiteY3" fmla="*/ 365855 h 554831"/>
                <a:gd name="connsiteX4" fmla="*/ 117188 w 495139"/>
                <a:gd name="connsiteY4" fmla="*/ 398812 h 554831"/>
                <a:gd name="connsiteX5" fmla="*/ 144620 w 495139"/>
                <a:gd name="connsiteY5" fmla="*/ 429768 h 554831"/>
                <a:gd name="connsiteX6" fmla="*/ 193483 w 495139"/>
                <a:gd name="connsiteY6" fmla="*/ 447199 h 554831"/>
                <a:gd name="connsiteX7" fmla="*/ 249680 w 495139"/>
                <a:gd name="connsiteY7" fmla="*/ 452342 h 554831"/>
                <a:gd name="connsiteX8" fmla="*/ 340739 w 495139"/>
                <a:gd name="connsiteY8" fmla="*/ 431863 h 554831"/>
                <a:gd name="connsiteX9" fmla="*/ 375505 w 495139"/>
                <a:gd name="connsiteY9" fmla="*/ 379857 h 554831"/>
                <a:gd name="connsiteX10" fmla="*/ 357027 w 495139"/>
                <a:gd name="connsiteY10" fmla="*/ 347282 h 554831"/>
                <a:gd name="connsiteX11" fmla="*/ 308830 w 495139"/>
                <a:gd name="connsiteY11" fmla="*/ 332613 h 554831"/>
                <a:gd name="connsiteX12" fmla="*/ 245489 w 495139"/>
                <a:gd name="connsiteY12" fmla="*/ 326231 h 554831"/>
                <a:gd name="connsiteX13" fmla="*/ 158812 w 495139"/>
                <a:gd name="connsiteY13" fmla="*/ 315754 h 554831"/>
                <a:gd name="connsiteX14" fmla="*/ 81659 w 495139"/>
                <a:gd name="connsiteY14" fmla="*/ 294322 h 554831"/>
                <a:gd name="connsiteX15" fmla="*/ 26129 w 495139"/>
                <a:gd name="connsiteY15" fmla="*/ 249269 h 554831"/>
                <a:gd name="connsiteX16" fmla="*/ 5269 w 495139"/>
                <a:gd name="connsiteY16" fmla="*/ 167926 h 554831"/>
                <a:gd name="connsiteX17" fmla="*/ 34606 w 495139"/>
                <a:gd name="connsiteY17" fmla="*/ 79820 h 554831"/>
                <a:gd name="connsiteX18" fmla="*/ 117378 w 495139"/>
                <a:gd name="connsiteY18" fmla="*/ 21050 h 554831"/>
                <a:gd name="connsiteX19" fmla="*/ 241203 w 495139"/>
                <a:gd name="connsiteY19" fmla="*/ 0 h 554831"/>
                <a:gd name="connsiteX20" fmla="*/ 329500 w 495139"/>
                <a:gd name="connsiteY20" fmla="*/ 7906 h 554831"/>
                <a:gd name="connsiteX21" fmla="*/ 417035 w 495139"/>
                <a:gd name="connsiteY21" fmla="*/ 39815 h 554831"/>
                <a:gd name="connsiteX22" fmla="*/ 476375 w 495139"/>
                <a:gd name="connsiteY22" fmla="*/ 114205 h 554831"/>
                <a:gd name="connsiteX23" fmla="*/ 475137 w 495139"/>
                <a:gd name="connsiteY23" fmla="*/ 151543 h 554831"/>
                <a:gd name="connsiteX24" fmla="*/ 450563 w 495139"/>
                <a:gd name="connsiteY24" fmla="*/ 176117 h 554831"/>
                <a:gd name="connsiteX25" fmla="*/ 417606 w 495139"/>
                <a:gd name="connsiteY25" fmla="*/ 184499 h 554831"/>
                <a:gd name="connsiteX26" fmla="*/ 386650 w 495139"/>
                <a:gd name="connsiteY26" fmla="*/ 177165 h 554831"/>
                <a:gd name="connsiteX27" fmla="*/ 366171 w 495139"/>
                <a:gd name="connsiteY27" fmla="*/ 151924 h 554831"/>
                <a:gd name="connsiteX28" fmla="*/ 333977 w 495139"/>
                <a:gd name="connsiteY28" fmla="*/ 119348 h 554831"/>
                <a:gd name="connsiteX29" fmla="*/ 285780 w 495139"/>
                <a:gd name="connsiteY29" fmla="*/ 106204 h 554831"/>
                <a:gd name="connsiteX30" fmla="*/ 241108 w 495139"/>
                <a:gd name="connsiteY30" fmla="*/ 103632 h 554831"/>
                <a:gd name="connsiteX31" fmla="*/ 156526 w 495139"/>
                <a:gd name="connsiteY31" fmla="*/ 121539 h 554831"/>
                <a:gd name="connsiteX32" fmla="*/ 124617 w 495139"/>
                <a:gd name="connsiteY32" fmla="*/ 168783 h 554831"/>
                <a:gd name="connsiteX33" fmla="*/ 141476 w 495139"/>
                <a:gd name="connsiteY33" fmla="*/ 202883 h 554831"/>
                <a:gd name="connsiteX34" fmla="*/ 187101 w 495139"/>
                <a:gd name="connsiteY34" fmla="*/ 213360 h 554831"/>
                <a:gd name="connsiteX35" fmla="*/ 251585 w 495139"/>
                <a:gd name="connsiteY35" fmla="*/ 219075 h 554831"/>
                <a:gd name="connsiteX36" fmla="*/ 338739 w 495139"/>
                <a:gd name="connsiteY36" fmla="*/ 230600 h 554831"/>
                <a:gd name="connsiteX37" fmla="*/ 417511 w 495139"/>
                <a:gd name="connsiteY37" fmla="*/ 252222 h 554831"/>
                <a:gd name="connsiteX38" fmla="*/ 474089 w 495139"/>
                <a:gd name="connsiteY38" fmla="*/ 297275 h 554831"/>
                <a:gd name="connsiteX39" fmla="*/ 495139 w 495139"/>
                <a:gd name="connsiteY39" fmla="*/ 379667 h 554831"/>
                <a:gd name="connsiteX40" fmla="*/ 464183 w 495139"/>
                <a:gd name="connsiteY40" fmla="*/ 470916 h 554831"/>
                <a:gd name="connsiteX41" fmla="*/ 378077 w 495139"/>
                <a:gd name="connsiteY41" fmla="*/ 532829 h 554831"/>
                <a:gd name="connsiteX42" fmla="*/ 249680 w 495139"/>
                <a:gd name="connsiteY42" fmla="*/ 554831 h 554831"/>
                <a:gd name="connsiteX43" fmla="*/ 178814 w 495139"/>
                <a:gd name="connsiteY43" fmla="*/ 550069 h 554831"/>
                <a:gd name="connsiteX44" fmla="*/ 104234 w 495139"/>
                <a:gd name="connsiteY44" fmla="*/ 531209 h 554831"/>
                <a:gd name="connsiteX45" fmla="*/ 40702 w 495139"/>
                <a:gd name="connsiteY45" fmla="*/ 490347 h 554831"/>
                <a:gd name="connsiteX46" fmla="*/ 2030 w 495139"/>
                <a:gd name="connsiteY46" fmla="*/ 419481 h 5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495139" h="554831">
                  <a:moveTo>
                    <a:pt x="1935" y="419862"/>
                  </a:moveTo>
                  <a:cubicBezTo>
                    <a:pt x="-3018" y="400336"/>
                    <a:pt x="1554" y="384524"/>
                    <a:pt x="15461" y="372618"/>
                  </a:cubicBezTo>
                  <a:cubicBezTo>
                    <a:pt x="29462" y="360712"/>
                    <a:pt x="44893" y="354711"/>
                    <a:pt x="61657" y="354711"/>
                  </a:cubicBezTo>
                  <a:cubicBezTo>
                    <a:pt x="74230" y="354711"/>
                    <a:pt x="85374" y="358426"/>
                    <a:pt x="95185" y="365855"/>
                  </a:cubicBezTo>
                  <a:cubicBezTo>
                    <a:pt x="104996" y="373190"/>
                    <a:pt x="112330" y="384143"/>
                    <a:pt x="117188" y="398812"/>
                  </a:cubicBezTo>
                  <a:cubicBezTo>
                    <a:pt x="121379" y="411385"/>
                    <a:pt x="130522" y="421767"/>
                    <a:pt x="144620" y="429768"/>
                  </a:cubicBezTo>
                  <a:cubicBezTo>
                    <a:pt x="158621" y="437864"/>
                    <a:pt x="174909" y="443675"/>
                    <a:pt x="193483" y="447199"/>
                  </a:cubicBezTo>
                  <a:cubicBezTo>
                    <a:pt x="211961" y="450628"/>
                    <a:pt x="230726" y="452342"/>
                    <a:pt x="249680" y="452342"/>
                  </a:cubicBezTo>
                  <a:cubicBezTo>
                    <a:pt x="287399" y="452342"/>
                    <a:pt x="317784" y="445580"/>
                    <a:pt x="340739" y="431863"/>
                  </a:cubicBezTo>
                  <a:cubicBezTo>
                    <a:pt x="363885" y="418147"/>
                    <a:pt x="375505" y="400812"/>
                    <a:pt x="375505" y="379857"/>
                  </a:cubicBezTo>
                  <a:cubicBezTo>
                    <a:pt x="375505" y="365188"/>
                    <a:pt x="369314" y="354330"/>
                    <a:pt x="357027" y="347282"/>
                  </a:cubicBezTo>
                  <a:cubicBezTo>
                    <a:pt x="344835" y="340328"/>
                    <a:pt x="328738" y="335375"/>
                    <a:pt x="308830" y="332613"/>
                  </a:cubicBezTo>
                  <a:cubicBezTo>
                    <a:pt x="289019" y="329851"/>
                    <a:pt x="267873" y="327755"/>
                    <a:pt x="245489" y="326231"/>
                  </a:cubicBezTo>
                  <a:cubicBezTo>
                    <a:pt x="215962" y="323469"/>
                    <a:pt x="187006" y="319945"/>
                    <a:pt x="158812" y="315754"/>
                  </a:cubicBezTo>
                  <a:cubicBezTo>
                    <a:pt x="130522" y="311563"/>
                    <a:pt x="104710" y="304419"/>
                    <a:pt x="81659" y="294322"/>
                  </a:cubicBezTo>
                  <a:cubicBezTo>
                    <a:pt x="58609" y="284131"/>
                    <a:pt x="40130" y="269081"/>
                    <a:pt x="26129" y="249269"/>
                  </a:cubicBezTo>
                  <a:cubicBezTo>
                    <a:pt x="12222" y="229362"/>
                    <a:pt x="5269" y="202216"/>
                    <a:pt x="5269" y="167926"/>
                  </a:cubicBezTo>
                  <a:cubicBezTo>
                    <a:pt x="5269" y="133636"/>
                    <a:pt x="15079" y="104966"/>
                    <a:pt x="34606" y="79820"/>
                  </a:cubicBezTo>
                  <a:cubicBezTo>
                    <a:pt x="54132" y="54578"/>
                    <a:pt x="81755" y="34957"/>
                    <a:pt x="117378" y="21050"/>
                  </a:cubicBezTo>
                  <a:cubicBezTo>
                    <a:pt x="153097" y="7049"/>
                    <a:pt x="194340" y="0"/>
                    <a:pt x="241203" y="0"/>
                  </a:cubicBezTo>
                  <a:cubicBezTo>
                    <a:pt x="268635" y="0"/>
                    <a:pt x="297972" y="2667"/>
                    <a:pt x="329500" y="7906"/>
                  </a:cubicBezTo>
                  <a:cubicBezTo>
                    <a:pt x="360932" y="13049"/>
                    <a:pt x="390079" y="23717"/>
                    <a:pt x="417035" y="39815"/>
                  </a:cubicBezTo>
                  <a:cubicBezTo>
                    <a:pt x="443990" y="55817"/>
                    <a:pt x="463802" y="80677"/>
                    <a:pt x="476375" y="114205"/>
                  </a:cubicBezTo>
                  <a:cubicBezTo>
                    <a:pt x="481233" y="128207"/>
                    <a:pt x="480852" y="140684"/>
                    <a:pt x="475137" y="151543"/>
                  </a:cubicBezTo>
                  <a:cubicBezTo>
                    <a:pt x="469613" y="162401"/>
                    <a:pt x="461326" y="170593"/>
                    <a:pt x="450563" y="176117"/>
                  </a:cubicBezTo>
                  <a:cubicBezTo>
                    <a:pt x="439704" y="181642"/>
                    <a:pt x="428750" y="184499"/>
                    <a:pt x="417606" y="184499"/>
                  </a:cubicBezTo>
                  <a:cubicBezTo>
                    <a:pt x="405033" y="184499"/>
                    <a:pt x="394651" y="182023"/>
                    <a:pt x="386650" y="177165"/>
                  </a:cubicBezTo>
                  <a:cubicBezTo>
                    <a:pt x="378554" y="172307"/>
                    <a:pt x="371791" y="163830"/>
                    <a:pt x="366171" y="151924"/>
                  </a:cubicBezTo>
                  <a:cubicBezTo>
                    <a:pt x="359789" y="137255"/>
                    <a:pt x="349121" y="126397"/>
                    <a:pt x="333977" y="119348"/>
                  </a:cubicBezTo>
                  <a:cubicBezTo>
                    <a:pt x="319022" y="112395"/>
                    <a:pt x="302925" y="108013"/>
                    <a:pt x="285780" y="106204"/>
                  </a:cubicBezTo>
                  <a:cubicBezTo>
                    <a:pt x="268730" y="104489"/>
                    <a:pt x="253871" y="103632"/>
                    <a:pt x="241108" y="103632"/>
                  </a:cubicBezTo>
                  <a:cubicBezTo>
                    <a:pt x="206151" y="103632"/>
                    <a:pt x="177957" y="109633"/>
                    <a:pt x="156526" y="121539"/>
                  </a:cubicBezTo>
                  <a:cubicBezTo>
                    <a:pt x="135190" y="133445"/>
                    <a:pt x="124617" y="149257"/>
                    <a:pt x="124617" y="168783"/>
                  </a:cubicBezTo>
                  <a:cubicBezTo>
                    <a:pt x="124617" y="185642"/>
                    <a:pt x="130237" y="196977"/>
                    <a:pt x="141476" y="202883"/>
                  </a:cubicBezTo>
                  <a:cubicBezTo>
                    <a:pt x="152716" y="208883"/>
                    <a:pt x="167956" y="212312"/>
                    <a:pt x="187101" y="213360"/>
                  </a:cubicBezTo>
                  <a:cubicBezTo>
                    <a:pt x="206246" y="214408"/>
                    <a:pt x="227773" y="216313"/>
                    <a:pt x="251585" y="219075"/>
                  </a:cubicBezTo>
                  <a:cubicBezTo>
                    <a:pt x="280922" y="222504"/>
                    <a:pt x="309974" y="226409"/>
                    <a:pt x="338739" y="230600"/>
                  </a:cubicBezTo>
                  <a:cubicBezTo>
                    <a:pt x="367409" y="234887"/>
                    <a:pt x="393698" y="242030"/>
                    <a:pt x="417511" y="252222"/>
                  </a:cubicBezTo>
                  <a:cubicBezTo>
                    <a:pt x="441323" y="262319"/>
                    <a:pt x="460183" y="277368"/>
                    <a:pt x="474089" y="297275"/>
                  </a:cubicBezTo>
                  <a:cubicBezTo>
                    <a:pt x="488091" y="317087"/>
                    <a:pt x="495139" y="344615"/>
                    <a:pt x="495139" y="379667"/>
                  </a:cubicBezTo>
                  <a:cubicBezTo>
                    <a:pt x="495139" y="414719"/>
                    <a:pt x="484853" y="444341"/>
                    <a:pt x="464183" y="470916"/>
                  </a:cubicBezTo>
                  <a:cubicBezTo>
                    <a:pt x="443514" y="497491"/>
                    <a:pt x="414844" y="518160"/>
                    <a:pt x="378077" y="532829"/>
                  </a:cubicBezTo>
                  <a:cubicBezTo>
                    <a:pt x="341406" y="547497"/>
                    <a:pt x="298639" y="554831"/>
                    <a:pt x="249680" y="554831"/>
                  </a:cubicBezTo>
                  <a:cubicBezTo>
                    <a:pt x="227963" y="554831"/>
                    <a:pt x="204341" y="553212"/>
                    <a:pt x="178814" y="550069"/>
                  </a:cubicBezTo>
                  <a:cubicBezTo>
                    <a:pt x="153287" y="546926"/>
                    <a:pt x="128427" y="540639"/>
                    <a:pt x="104234" y="531209"/>
                  </a:cubicBezTo>
                  <a:cubicBezTo>
                    <a:pt x="80135" y="521875"/>
                    <a:pt x="58990" y="508159"/>
                    <a:pt x="40702" y="490347"/>
                  </a:cubicBezTo>
                  <a:cubicBezTo>
                    <a:pt x="22509" y="472440"/>
                    <a:pt x="9650" y="448913"/>
                    <a:pt x="2030" y="419481"/>
                  </a:cubicBezTo>
                  <a:close/>
                </a:path>
              </a:pathLst>
            </a:custGeom>
            <a:solidFill>
              <a:srgbClr val="4E966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941C5CD6-AE41-9A59-B68B-C5ECA6228FDE}"/>
                </a:ext>
              </a:extLst>
            </p:cNvPr>
            <p:cNvSpPr/>
            <p:nvPr/>
          </p:nvSpPr>
          <p:spPr>
            <a:xfrm>
              <a:off x="4777067" y="3262709"/>
              <a:ext cx="370858" cy="370745"/>
            </a:xfrm>
            <a:custGeom>
              <a:avLst/>
              <a:gdLst>
                <a:gd name="connsiteX0" fmla="*/ 1927193 w 3012185"/>
                <a:gd name="connsiteY0" fmla="*/ 3011281 h 3011281"/>
                <a:gd name="connsiteX1" fmla="*/ 1159955 w 3012185"/>
                <a:gd name="connsiteY1" fmla="*/ 2694003 h 3011281"/>
                <a:gd name="connsiteX2" fmla="*/ 317754 w 3012185"/>
                <a:gd name="connsiteY2" fmla="*/ 1851803 h 3011281"/>
                <a:gd name="connsiteX3" fmla="*/ 0 w 3012185"/>
                <a:gd name="connsiteY3" fmla="*/ 1084564 h 3011281"/>
                <a:gd name="connsiteX4" fmla="*/ 317754 w 3012185"/>
                <a:gd name="connsiteY4" fmla="*/ 317325 h 3011281"/>
                <a:gd name="connsiteX5" fmla="*/ 1852232 w 3012185"/>
                <a:gd name="connsiteY5" fmla="*/ 317325 h 3011281"/>
                <a:gd name="connsiteX6" fmla="*/ 2694432 w 3012185"/>
                <a:gd name="connsiteY6" fmla="*/ 1159526 h 3011281"/>
                <a:gd name="connsiteX7" fmla="*/ 3012186 w 3012185"/>
                <a:gd name="connsiteY7" fmla="*/ 1926765 h 3011281"/>
                <a:gd name="connsiteX8" fmla="*/ 2694432 w 3012185"/>
                <a:gd name="connsiteY8" fmla="*/ 2694003 h 3011281"/>
                <a:gd name="connsiteX9" fmla="*/ 1927193 w 3012185"/>
                <a:gd name="connsiteY9" fmla="*/ 3011281 h 3011281"/>
                <a:gd name="connsiteX10" fmla="*/ 1084993 w 3012185"/>
                <a:gd name="connsiteY10" fmla="*/ 480012 h 3011281"/>
                <a:gd name="connsiteX11" fmla="*/ 657320 w 3012185"/>
                <a:gd name="connsiteY11" fmla="*/ 656892 h 3011281"/>
                <a:gd name="connsiteX12" fmla="*/ 480155 w 3012185"/>
                <a:gd name="connsiteY12" fmla="*/ 1084564 h 3011281"/>
                <a:gd name="connsiteX13" fmla="*/ 657320 w 3012185"/>
                <a:gd name="connsiteY13" fmla="*/ 1512237 h 3011281"/>
                <a:gd name="connsiteX14" fmla="*/ 1499521 w 3012185"/>
                <a:gd name="connsiteY14" fmla="*/ 2354437 h 3011281"/>
                <a:gd name="connsiteX15" fmla="*/ 2354961 w 3012185"/>
                <a:gd name="connsiteY15" fmla="*/ 2354437 h 3011281"/>
                <a:gd name="connsiteX16" fmla="*/ 2532126 w 3012185"/>
                <a:gd name="connsiteY16" fmla="*/ 1926765 h 3011281"/>
                <a:gd name="connsiteX17" fmla="*/ 2354961 w 3012185"/>
                <a:gd name="connsiteY17" fmla="*/ 1499092 h 3011281"/>
                <a:gd name="connsiteX18" fmla="*/ 1512761 w 3012185"/>
                <a:gd name="connsiteY18" fmla="*/ 656892 h 3011281"/>
                <a:gd name="connsiteX19" fmla="*/ 1084993 w 3012185"/>
                <a:gd name="connsiteY19" fmla="*/ 480012 h 301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12185" h="3011281">
                  <a:moveTo>
                    <a:pt x="1927193" y="3011281"/>
                  </a:moveTo>
                  <a:cubicBezTo>
                    <a:pt x="1649349" y="3011281"/>
                    <a:pt x="1371505" y="2905554"/>
                    <a:pt x="1159955" y="2694003"/>
                  </a:cubicBezTo>
                  <a:lnTo>
                    <a:pt x="317754" y="1851803"/>
                  </a:lnTo>
                  <a:cubicBezTo>
                    <a:pt x="112871" y="1646825"/>
                    <a:pt x="0" y="1374410"/>
                    <a:pt x="0" y="1084564"/>
                  </a:cubicBezTo>
                  <a:cubicBezTo>
                    <a:pt x="0" y="794718"/>
                    <a:pt x="112871" y="522303"/>
                    <a:pt x="317754" y="317325"/>
                  </a:cubicBezTo>
                  <a:cubicBezTo>
                    <a:pt x="740855" y="-105775"/>
                    <a:pt x="1429131" y="-105775"/>
                    <a:pt x="1852232" y="317325"/>
                  </a:cubicBezTo>
                  <a:lnTo>
                    <a:pt x="2694432" y="1159526"/>
                  </a:lnTo>
                  <a:cubicBezTo>
                    <a:pt x="2899410" y="1364504"/>
                    <a:pt x="3012186" y="1636919"/>
                    <a:pt x="3012186" y="1926765"/>
                  </a:cubicBezTo>
                  <a:cubicBezTo>
                    <a:pt x="3012186" y="2216611"/>
                    <a:pt x="2899315" y="2489025"/>
                    <a:pt x="2694432" y="2694003"/>
                  </a:cubicBezTo>
                  <a:cubicBezTo>
                    <a:pt x="2489549" y="2898982"/>
                    <a:pt x="2205038" y="3011281"/>
                    <a:pt x="1927193" y="3011281"/>
                  </a:cubicBezTo>
                  <a:close/>
                  <a:moveTo>
                    <a:pt x="1084993" y="480012"/>
                  </a:moveTo>
                  <a:cubicBezTo>
                    <a:pt x="930116" y="480012"/>
                    <a:pt x="775240" y="538972"/>
                    <a:pt x="657320" y="656892"/>
                  </a:cubicBezTo>
                  <a:cubicBezTo>
                    <a:pt x="543116" y="771096"/>
                    <a:pt x="480155" y="923020"/>
                    <a:pt x="480155" y="1084564"/>
                  </a:cubicBezTo>
                  <a:cubicBezTo>
                    <a:pt x="480155" y="1246108"/>
                    <a:pt x="543020" y="1398032"/>
                    <a:pt x="657320" y="1512237"/>
                  </a:cubicBezTo>
                  <a:lnTo>
                    <a:pt x="1499521" y="2354437"/>
                  </a:lnTo>
                  <a:cubicBezTo>
                    <a:pt x="1735360" y="2590276"/>
                    <a:pt x="2119122" y="2590276"/>
                    <a:pt x="2354961" y="2354437"/>
                  </a:cubicBezTo>
                  <a:cubicBezTo>
                    <a:pt x="2469166" y="2240233"/>
                    <a:pt x="2532126" y="2088309"/>
                    <a:pt x="2532126" y="1926765"/>
                  </a:cubicBezTo>
                  <a:cubicBezTo>
                    <a:pt x="2532126" y="1765221"/>
                    <a:pt x="2469261" y="1613297"/>
                    <a:pt x="2354961" y="1499092"/>
                  </a:cubicBezTo>
                  <a:lnTo>
                    <a:pt x="1512761" y="656892"/>
                  </a:lnTo>
                  <a:cubicBezTo>
                    <a:pt x="1394841" y="538972"/>
                    <a:pt x="1239964" y="480012"/>
                    <a:pt x="1084993" y="480012"/>
                  </a:cubicBezTo>
                  <a:close/>
                </a:path>
              </a:pathLst>
            </a:custGeom>
            <a:solidFill>
              <a:srgbClr val="555D7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rgbClr val="444A64"/>
                </a:solidFill>
              </a:endParaRPr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F79830D5-17A5-A068-55A6-7DEBDB7CC12B}"/>
                </a:ext>
              </a:extLst>
            </p:cNvPr>
            <p:cNvSpPr/>
            <p:nvPr/>
          </p:nvSpPr>
          <p:spPr>
            <a:xfrm>
              <a:off x="4881485" y="3262709"/>
              <a:ext cx="370846" cy="370745"/>
            </a:xfrm>
            <a:custGeom>
              <a:avLst/>
              <a:gdLst>
                <a:gd name="connsiteX0" fmla="*/ 1084993 w 3012090"/>
                <a:gd name="connsiteY0" fmla="*/ 3011281 h 3011281"/>
                <a:gd name="connsiteX1" fmla="*/ 317754 w 3012090"/>
                <a:gd name="connsiteY1" fmla="*/ 2694003 h 3011281"/>
                <a:gd name="connsiteX2" fmla="*/ 0 w 3012090"/>
                <a:gd name="connsiteY2" fmla="*/ 1926765 h 3011281"/>
                <a:gd name="connsiteX3" fmla="*/ 317754 w 3012090"/>
                <a:gd name="connsiteY3" fmla="*/ 1159526 h 3011281"/>
                <a:gd name="connsiteX4" fmla="*/ 1159955 w 3012090"/>
                <a:gd name="connsiteY4" fmla="*/ 317325 h 3011281"/>
                <a:gd name="connsiteX5" fmla="*/ 2694337 w 3012090"/>
                <a:gd name="connsiteY5" fmla="*/ 317325 h 3011281"/>
                <a:gd name="connsiteX6" fmla="*/ 3012091 w 3012090"/>
                <a:gd name="connsiteY6" fmla="*/ 1084564 h 3011281"/>
                <a:gd name="connsiteX7" fmla="*/ 2694337 w 3012090"/>
                <a:gd name="connsiteY7" fmla="*/ 1851803 h 3011281"/>
                <a:gd name="connsiteX8" fmla="*/ 1852136 w 3012090"/>
                <a:gd name="connsiteY8" fmla="*/ 2694003 h 3011281"/>
                <a:gd name="connsiteX9" fmla="*/ 1084898 w 3012090"/>
                <a:gd name="connsiteY9" fmla="*/ 3011281 h 3011281"/>
                <a:gd name="connsiteX10" fmla="*/ 1927098 w 3012090"/>
                <a:gd name="connsiteY10" fmla="*/ 480012 h 3011281"/>
                <a:gd name="connsiteX11" fmla="*/ 1499426 w 3012090"/>
                <a:gd name="connsiteY11" fmla="*/ 656892 h 3011281"/>
                <a:gd name="connsiteX12" fmla="*/ 657225 w 3012090"/>
                <a:gd name="connsiteY12" fmla="*/ 1499092 h 3011281"/>
                <a:gd name="connsiteX13" fmla="*/ 480060 w 3012090"/>
                <a:gd name="connsiteY13" fmla="*/ 1926765 h 3011281"/>
                <a:gd name="connsiteX14" fmla="*/ 657225 w 3012090"/>
                <a:gd name="connsiteY14" fmla="*/ 2354437 h 3011281"/>
                <a:gd name="connsiteX15" fmla="*/ 1512570 w 3012090"/>
                <a:gd name="connsiteY15" fmla="*/ 2354437 h 3011281"/>
                <a:gd name="connsiteX16" fmla="*/ 2354771 w 3012090"/>
                <a:gd name="connsiteY16" fmla="*/ 1512237 h 3011281"/>
                <a:gd name="connsiteX17" fmla="*/ 2531935 w 3012090"/>
                <a:gd name="connsiteY17" fmla="*/ 1084564 h 3011281"/>
                <a:gd name="connsiteX18" fmla="*/ 2354771 w 3012090"/>
                <a:gd name="connsiteY18" fmla="*/ 656892 h 3011281"/>
                <a:gd name="connsiteX19" fmla="*/ 1927098 w 3012090"/>
                <a:gd name="connsiteY19" fmla="*/ 480012 h 301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12090" h="3011281">
                  <a:moveTo>
                    <a:pt x="1084993" y="3011281"/>
                  </a:moveTo>
                  <a:cubicBezTo>
                    <a:pt x="807149" y="3011281"/>
                    <a:pt x="529304" y="2905554"/>
                    <a:pt x="317754" y="2694003"/>
                  </a:cubicBezTo>
                  <a:cubicBezTo>
                    <a:pt x="106204" y="2482453"/>
                    <a:pt x="0" y="2216611"/>
                    <a:pt x="0" y="1926765"/>
                  </a:cubicBezTo>
                  <a:cubicBezTo>
                    <a:pt x="0" y="1636919"/>
                    <a:pt x="112871" y="1364504"/>
                    <a:pt x="317754" y="1159526"/>
                  </a:cubicBezTo>
                  <a:lnTo>
                    <a:pt x="1159955" y="317325"/>
                  </a:lnTo>
                  <a:cubicBezTo>
                    <a:pt x="1582960" y="-105775"/>
                    <a:pt x="2271332" y="-105775"/>
                    <a:pt x="2694337" y="317325"/>
                  </a:cubicBezTo>
                  <a:cubicBezTo>
                    <a:pt x="2899315" y="522303"/>
                    <a:pt x="3012091" y="794718"/>
                    <a:pt x="3012091" y="1084564"/>
                  </a:cubicBezTo>
                  <a:cubicBezTo>
                    <a:pt x="3012091" y="1374410"/>
                    <a:pt x="2899220" y="1646825"/>
                    <a:pt x="2694337" y="1851803"/>
                  </a:cubicBezTo>
                  <a:lnTo>
                    <a:pt x="1852136" y="2694003"/>
                  </a:lnTo>
                  <a:cubicBezTo>
                    <a:pt x="1640586" y="2905554"/>
                    <a:pt x="1362742" y="3011281"/>
                    <a:pt x="1084898" y="3011281"/>
                  </a:cubicBezTo>
                  <a:close/>
                  <a:moveTo>
                    <a:pt x="1927098" y="480012"/>
                  </a:moveTo>
                  <a:cubicBezTo>
                    <a:pt x="1772222" y="480012"/>
                    <a:pt x="1617345" y="538972"/>
                    <a:pt x="1499426" y="656892"/>
                  </a:cubicBezTo>
                  <a:lnTo>
                    <a:pt x="657225" y="1499092"/>
                  </a:lnTo>
                  <a:cubicBezTo>
                    <a:pt x="543020" y="1613297"/>
                    <a:pt x="480060" y="1765221"/>
                    <a:pt x="480060" y="1926765"/>
                  </a:cubicBezTo>
                  <a:cubicBezTo>
                    <a:pt x="480060" y="2088309"/>
                    <a:pt x="542925" y="2240233"/>
                    <a:pt x="657225" y="2354437"/>
                  </a:cubicBezTo>
                  <a:cubicBezTo>
                    <a:pt x="893064" y="2590276"/>
                    <a:pt x="1276731" y="2590276"/>
                    <a:pt x="1512570" y="2354437"/>
                  </a:cubicBezTo>
                  <a:lnTo>
                    <a:pt x="2354771" y="1512237"/>
                  </a:lnTo>
                  <a:cubicBezTo>
                    <a:pt x="2468975" y="1398032"/>
                    <a:pt x="2531935" y="1246108"/>
                    <a:pt x="2531935" y="1084564"/>
                  </a:cubicBezTo>
                  <a:cubicBezTo>
                    <a:pt x="2531935" y="923020"/>
                    <a:pt x="2469071" y="771096"/>
                    <a:pt x="2354771" y="656892"/>
                  </a:cubicBezTo>
                  <a:cubicBezTo>
                    <a:pt x="2236851" y="538972"/>
                    <a:pt x="2081975" y="480012"/>
                    <a:pt x="1927098" y="480012"/>
                  </a:cubicBezTo>
                  <a:close/>
                </a:path>
              </a:pathLst>
            </a:custGeom>
            <a:solidFill>
              <a:srgbClr val="4E966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sp>
        <p:nvSpPr>
          <p:cNvPr id="28" name="ZoneTexte 27">
            <a:extLst>
              <a:ext uri="{FF2B5EF4-FFF2-40B4-BE49-F238E27FC236}">
                <a16:creationId xmlns:a16="http://schemas.microsoft.com/office/drawing/2014/main" id="{F2E0BFD6-731B-7CB0-0835-516A249CF1B7}"/>
              </a:ext>
            </a:extLst>
          </p:cNvPr>
          <p:cNvSpPr txBox="1"/>
          <p:nvPr/>
        </p:nvSpPr>
        <p:spPr>
          <a:xfrm>
            <a:off x="1253744" y="11547306"/>
            <a:ext cx="3587962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fr-FR" sz="1600" b="1">
                <a:solidFill>
                  <a:srgbClr val="444A64"/>
                </a:solidFill>
              </a:rPr>
              <a:t>Changeons notre rapport </a:t>
            </a:r>
            <a:br>
              <a:rPr lang="fr-FR" sz="1600" b="1">
                <a:solidFill>
                  <a:srgbClr val="444A64"/>
                </a:solidFill>
              </a:rPr>
            </a:br>
            <a:r>
              <a:rPr lang="fr-FR" sz="1600" b="1">
                <a:solidFill>
                  <a:srgbClr val="444A64"/>
                </a:solidFill>
              </a:rPr>
              <a:t>aux médicaments pour en </a:t>
            </a:r>
            <a:br>
              <a:rPr lang="fr-FR" sz="1600" b="1">
                <a:solidFill>
                  <a:srgbClr val="444A64"/>
                </a:solidFill>
              </a:rPr>
            </a:br>
            <a:r>
              <a:rPr lang="fr-FR" sz="1600" b="1">
                <a:solidFill>
                  <a:srgbClr val="444A64"/>
                </a:solidFill>
              </a:rPr>
              <a:t>faire un levier de santé durable</a:t>
            </a:r>
            <a:r>
              <a:rPr lang="fr-FR" sz="1600">
                <a:solidFill>
                  <a:srgbClr val="444A64"/>
                </a:solidFill>
              </a:rPr>
              <a:t> : moins de gaspillage, moins d’empreinte carbone, plus   d’efficacité et une vraie maîtrise des coûts liés à notre santé.</a:t>
            </a:r>
          </a:p>
        </p:txBody>
      </p:sp>
      <p:grpSp>
        <p:nvGrpSpPr>
          <p:cNvPr id="124" name="Groupe 123">
            <a:extLst>
              <a:ext uri="{FF2B5EF4-FFF2-40B4-BE49-F238E27FC236}">
                <a16:creationId xmlns:a16="http://schemas.microsoft.com/office/drawing/2014/main" id="{76AC6E80-FD94-6DA8-1D91-382F20A16D18}"/>
              </a:ext>
            </a:extLst>
          </p:cNvPr>
          <p:cNvGrpSpPr/>
          <p:nvPr/>
        </p:nvGrpSpPr>
        <p:grpSpPr>
          <a:xfrm>
            <a:off x="7644679" y="2627978"/>
            <a:ext cx="2389042" cy="2388388"/>
            <a:chOff x="8121989" y="2758607"/>
            <a:chExt cx="2389042" cy="2388388"/>
          </a:xfrm>
        </p:grpSpPr>
        <p:sp>
          <p:nvSpPr>
            <p:cNvPr id="37" name="Forme libre : forme 36">
              <a:extLst>
                <a:ext uri="{FF2B5EF4-FFF2-40B4-BE49-F238E27FC236}">
                  <a16:creationId xmlns:a16="http://schemas.microsoft.com/office/drawing/2014/main" id="{AE1E6A66-176B-9100-09AF-6F9FECF1D251}"/>
                </a:ext>
              </a:extLst>
            </p:cNvPr>
            <p:cNvSpPr/>
            <p:nvPr/>
          </p:nvSpPr>
          <p:spPr>
            <a:xfrm rot="8119537">
              <a:off x="8121989" y="2758607"/>
              <a:ext cx="2389042" cy="2388388"/>
            </a:xfrm>
            <a:custGeom>
              <a:avLst/>
              <a:gdLst>
                <a:gd name="connsiteX0" fmla="*/ 860487 w 2389042"/>
                <a:gd name="connsiteY0" fmla="*/ 2388388 h 2388388"/>
                <a:gd name="connsiteX1" fmla="*/ 860523 w 2389042"/>
                <a:gd name="connsiteY1" fmla="*/ 2388384 h 2388388"/>
                <a:gd name="connsiteX2" fmla="*/ 860563 w 2389042"/>
                <a:gd name="connsiteY2" fmla="*/ 2388388 h 2388388"/>
                <a:gd name="connsiteX3" fmla="*/ 252027 w 2389042"/>
                <a:gd name="connsiteY3" fmla="*/ 2136740 h 2388388"/>
                <a:gd name="connsiteX4" fmla="*/ 0 w 2389042"/>
                <a:gd name="connsiteY4" fmla="*/ 1528208 h 2388388"/>
                <a:gd name="connsiteX5" fmla="*/ 252027 w 2389042"/>
                <a:gd name="connsiteY5" fmla="*/ 919675 h 2388388"/>
                <a:gd name="connsiteX6" fmla="*/ 920019 w 2389042"/>
                <a:gd name="connsiteY6" fmla="*/ 251685 h 2388388"/>
                <a:gd name="connsiteX7" fmla="*/ 2137015 w 2389042"/>
                <a:gd name="connsiteY7" fmla="*/ 251685 h 2388388"/>
                <a:gd name="connsiteX8" fmla="*/ 2389042 w 2389042"/>
                <a:gd name="connsiteY8" fmla="*/ 860219 h 2388388"/>
                <a:gd name="connsiteX9" fmla="*/ 2137015 w 2389042"/>
                <a:gd name="connsiteY9" fmla="*/ 1468752 h 2388388"/>
                <a:gd name="connsiteX10" fmla="*/ 1469023 w 2389042"/>
                <a:gd name="connsiteY10" fmla="*/ 2136740 h 2388388"/>
                <a:gd name="connsiteX11" fmla="*/ 1024945 w 2389042"/>
                <a:gd name="connsiteY11" fmla="*/ 2372664 h 2388388"/>
                <a:gd name="connsiteX12" fmla="*/ 860523 w 2389042"/>
                <a:gd name="connsiteY12" fmla="*/ 2388384 h 2388388"/>
                <a:gd name="connsiteX13" fmla="*/ 696105 w 2389042"/>
                <a:gd name="connsiteY13" fmla="*/ 2372663 h 2388388"/>
                <a:gd name="connsiteX14" fmla="*/ 252027 w 2389042"/>
                <a:gd name="connsiteY14" fmla="*/ 2136740 h 2388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89042" h="2388388">
                  <a:moveTo>
                    <a:pt x="860487" y="2388388"/>
                  </a:moveTo>
                  <a:lnTo>
                    <a:pt x="860523" y="2388384"/>
                  </a:lnTo>
                  <a:lnTo>
                    <a:pt x="860563" y="2388388"/>
                  </a:lnTo>
                  <a:close/>
                  <a:moveTo>
                    <a:pt x="252027" y="2136740"/>
                  </a:moveTo>
                  <a:cubicBezTo>
                    <a:pt x="84235" y="1968949"/>
                    <a:pt x="0" y="1758098"/>
                    <a:pt x="0" y="1528208"/>
                  </a:cubicBezTo>
                  <a:cubicBezTo>
                    <a:pt x="0" y="1298317"/>
                    <a:pt x="89524" y="1082252"/>
                    <a:pt x="252027" y="919675"/>
                  </a:cubicBezTo>
                  <a:lnTo>
                    <a:pt x="920019" y="251685"/>
                  </a:lnTo>
                  <a:cubicBezTo>
                    <a:pt x="1255525" y="-83895"/>
                    <a:pt x="1801508" y="-83895"/>
                    <a:pt x="2137015" y="251685"/>
                  </a:cubicBezTo>
                  <a:cubicBezTo>
                    <a:pt x="2299594" y="414263"/>
                    <a:pt x="2389042" y="630328"/>
                    <a:pt x="2389042" y="860219"/>
                  </a:cubicBezTo>
                  <a:cubicBezTo>
                    <a:pt x="2389041" y="1090109"/>
                    <a:pt x="2299518" y="1306174"/>
                    <a:pt x="2137015" y="1468752"/>
                  </a:cubicBezTo>
                  <a:lnTo>
                    <a:pt x="1469023" y="2136740"/>
                  </a:lnTo>
                  <a:cubicBezTo>
                    <a:pt x="1343180" y="2262583"/>
                    <a:pt x="1187760" y="2341214"/>
                    <a:pt x="1024945" y="2372664"/>
                  </a:cubicBezTo>
                  <a:lnTo>
                    <a:pt x="860523" y="2388384"/>
                  </a:lnTo>
                  <a:lnTo>
                    <a:pt x="696105" y="2372663"/>
                  </a:lnTo>
                  <a:cubicBezTo>
                    <a:pt x="533291" y="2341214"/>
                    <a:pt x="377870" y="2262583"/>
                    <a:pt x="252027" y="2136740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fr-FR"/>
            </a:p>
          </p:txBody>
        </p:sp>
        <p:grpSp>
          <p:nvGrpSpPr>
            <p:cNvPr id="123" name="Groupe 122">
              <a:extLst>
                <a:ext uri="{FF2B5EF4-FFF2-40B4-BE49-F238E27FC236}">
                  <a16:creationId xmlns:a16="http://schemas.microsoft.com/office/drawing/2014/main" id="{C410DE75-22D6-4F73-A99A-C8D1AFB6008D}"/>
                </a:ext>
              </a:extLst>
            </p:cNvPr>
            <p:cNvGrpSpPr/>
            <p:nvPr/>
          </p:nvGrpSpPr>
          <p:grpSpPr>
            <a:xfrm>
              <a:off x="9088970" y="4513063"/>
              <a:ext cx="455080" cy="455090"/>
              <a:chOff x="3848100" y="1181101"/>
              <a:chExt cx="4495703" cy="4495798"/>
            </a:xfrm>
          </p:grpSpPr>
          <p:sp>
            <p:nvSpPr>
              <p:cNvPr id="118" name="Forme libre : forme 117">
                <a:extLst>
                  <a:ext uri="{FF2B5EF4-FFF2-40B4-BE49-F238E27FC236}">
                    <a16:creationId xmlns:a16="http://schemas.microsoft.com/office/drawing/2014/main" id="{6FE33D61-81AF-8C29-E6F0-5D15A6E54E96}"/>
                  </a:ext>
                </a:extLst>
              </p:cNvPr>
              <p:cNvSpPr/>
              <p:nvPr/>
            </p:nvSpPr>
            <p:spPr>
              <a:xfrm>
                <a:off x="6826943" y="1181101"/>
                <a:ext cx="1516860" cy="1285020"/>
              </a:xfrm>
              <a:custGeom>
                <a:avLst/>
                <a:gdLst>
                  <a:gd name="connsiteX0" fmla="*/ 1091279 w 1516856"/>
                  <a:gd name="connsiteY0" fmla="*/ 0 h 1285017"/>
                  <a:gd name="connsiteX1" fmla="*/ 758000 w 1516856"/>
                  <a:gd name="connsiteY1" fmla="*/ 197834 h 1285017"/>
                  <a:gd name="connsiteX2" fmla="*/ 425387 w 1516856"/>
                  <a:gd name="connsiteY2" fmla="*/ 0 h 1285017"/>
                  <a:gd name="connsiteX3" fmla="*/ 0 w 1516856"/>
                  <a:gd name="connsiteY3" fmla="*/ 436150 h 1285017"/>
                  <a:gd name="connsiteX4" fmla="*/ 87821 w 1516856"/>
                  <a:gd name="connsiteY4" fmla="*/ 756952 h 1285017"/>
                  <a:gd name="connsiteX5" fmla="*/ 757904 w 1516856"/>
                  <a:gd name="connsiteY5" fmla="*/ 1285018 h 1285017"/>
                  <a:gd name="connsiteX6" fmla="*/ 1429226 w 1516856"/>
                  <a:gd name="connsiteY6" fmla="*/ 756952 h 1285017"/>
                  <a:gd name="connsiteX7" fmla="*/ 1516856 w 1516856"/>
                  <a:gd name="connsiteY7" fmla="*/ 436150 h 1285017"/>
                  <a:gd name="connsiteX8" fmla="*/ 1091184 w 1516856"/>
                  <a:gd name="connsiteY8" fmla="*/ 0 h 1285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16856" h="1285017">
                    <a:moveTo>
                      <a:pt x="1091279" y="0"/>
                    </a:moveTo>
                    <a:cubicBezTo>
                      <a:pt x="868775" y="0"/>
                      <a:pt x="783717" y="139541"/>
                      <a:pt x="758000" y="197834"/>
                    </a:cubicBezTo>
                    <a:cubicBezTo>
                      <a:pt x="732377" y="139541"/>
                      <a:pt x="647891" y="0"/>
                      <a:pt x="425387" y="0"/>
                    </a:cubicBezTo>
                    <a:cubicBezTo>
                      <a:pt x="202883" y="0"/>
                      <a:pt x="0" y="154305"/>
                      <a:pt x="0" y="436150"/>
                    </a:cubicBezTo>
                    <a:cubicBezTo>
                      <a:pt x="0" y="550164"/>
                      <a:pt x="23241" y="647890"/>
                      <a:pt x="87821" y="756952"/>
                    </a:cubicBezTo>
                    <a:cubicBezTo>
                      <a:pt x="219361" y="979170"/>
                      <a:pt x="757904" y="1285018"/>
                      <a:pt x="757904" y="1285018"/>
                    </a:cubicBezTo>
                    <a:cubicBezTo>
                      <a:pt x="757904" y="1285018"/>
                      <a:pt x="1296543" y="980885"/>
                      <a:pt x="1429226" y="756952"/>
                    </a:cubicBezTo>
                    <a:cubicBezTo>
                      <a:pt x="1493806" y="647890"/>
                      <a:pt x="1516856" y="550259"/>
                      <a:pt x="1516856" y="436150"/>
                    </a:cubicBezTo>
                    <a:cubicBezTo>
                      <a:pt x="1516856" y="154305"/>
                      <a:pt x="1317498" y="0"/>
                      <a:pt x="1091184" y="0"/>
                    </a:cubicBezTo>
                    <a:close/>
                  </a:path>
                </a:pathLst>
              </a:custGeom>
              <a:noFill/>
              <a:ln w="254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grpSp>
            <p:nvGrpSpPr>
              <p:cNvPr id="119" name="Graphique 115">
                <a:extLst>
                  <a:ext uri="{FF2B5EF4-FFF2-40B4-BE49-F238E27FC236}">
                    <a16:creationId xmlns:a16="http://schemas.microsoft.com/office/drawing/2014/main" id="{AEFECEEC-07DB-2805-3451-608558E2BABD}"/>
                  </a:ext>
                </a:extLst>
              </p:cNvPr>
              <p:cNvGrpSpPr/>
              <p:nvPr/>
            </p:nvGrpSpPr>
            <p:grpSpPr>
              <a:xfrm>
                <a:off x="3848100" y="2372864"/>
                <a:ext cx="3304028" cy="3304035"/>
                <a:chOff x="3848100" y="2372867"/>
                <a:chExt cx="3304032" cy="3304032"/>
              </a:xfrm>
              <a:noFill/>
            </p:grpSpPr>
            <p:sp>
              <p:nvSpPr>
                <p:cNvPr id="120" name="Forme libre : forme 119">
                  <a:extLst>
                    <a:ext uri="{FF2B5EF4-FFF2-40B4-BE49-F238E27FC236}">
                      <a16:creationId xmlns:a16="http://schemas.microsoft.com/office/drawing/2014/main" id="{1FE8BC44-6933-0D2D-CE50-403E7BA3042A}"/>
                    </a:ext>
                  </a:extLst>
                </p:cNvPr>
                <p:cNvSpPr/>
                <p:nvPr/>
              </p:nvSpPr>
              <p:spPr>
                <a:xfrm>
                  <a:off x="3877436" y="2404395"/>
                  <a:ext cx="1842706" cy="1505426"/>
                </a:xfrm>
                <a:custGeom>
                  <a:avLst/>
                  <a:gdLst>
                    <a:gd name="connsiteX0" fmla="*/ 1842706 w 1842706"/>
                    <a:gd name="connsiteY0" fmla="*/ 0 h 1505426"/>
                    <a:gd name="connsiteX1" fmla="*/ 1764221 w 1842706"/>
                    <a:gd name="connsiteY1" fmla="*/ 512350 h 1505426"/>
                    <a:gd name="connsiteX2" fmla="*/ 1337691 w 1842706"/>
                    <a:gd name="connsiteY2" fmla="*/ 840010 h 1505426"/>
                    <a:gd name="connsiteX3" fmla="*/ 1337691 w 1842706"/>
                    <a:gd name="connsiteY3" fmla="*/ 840010 h 1505426"/>
                    <a:gd name="connsiteX4" fmla="*/ 905923 w 1842706"/>
                    <a:gd name="connsiteY4" fmla="*/ 1231773 h 1505426"/>
                    <a:gd name="connsiteX5" fmla="*/ 905923 w 1842706"/>
                    <a:gd name="connsiteY5" fmla="*/ 1231773 h 1505426"/>
                    <a:gd name="connsiteX6" fmla="*/ 632270 w 1842706"/>
                    <a:gd name="connsiteY6" fmla="*/ 1505426 h 1505426"/>
                    <a:gd name="connsiteX7" fmla="*/ 0 w 1842706"/>
                    <a:gd name="connsiteY7" fmla="*/ 1505426 h 15054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842706" h="1505426">
                      <a:moveTo>
                        <a:pt x="1842706" y="0"/>
                      </a:moveTo>
                      <a:lnTo>
                        <a:pt x="1764221" y="512350"/>
                      </a:lnTo>
                      <a:cubicBezTo>
                        <a:pt x="1730502" y="716852"/>
                        <a:pt x="1544002" y="860108"/>
                        <a:pt x="1337691" y="840010"/>
                      </a:cubicBezTo>
                      <a:lnTo>
                        <a:pt x="1337691" y="840010"/>
                      </a:lnTo>
                      <a:cubicBezTo>
                        <a:pt x="1106329" y="817436"/>
                        <a:pt x="905923" y="999268"/>
                        <a:pt x="905923" y="1231773"/>
                      </a:cubicBezTo>
                      <a:lnTo>
                        <a:pt x="905923" y="1231773"/>
                      </a:lnTo>
                      <a:cubicBezTo>
                        <a:pt x="905923" y="1382839"/>
                        <a:pt x="783431" y="1505426"/>
                        <a:pt x="632270" y="1505426"/>
                      </a:cubicBezTo>
                      <a:lnTo>
                        <a:pt x="0" y="1505426"/>
                      </a:lnTo>
                    </a:path>
                  </a:pathLst>
                </a:custGeom>
                <a:noFill/>
                <a:ln w="2540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121" name="Forme libre : forme 120">
                  <a:extLst>
                    <a:ext uri="{FF2B5EF4-FFF2-40B4-BE49-F238E27FC236}">
                      <a16:creationId xmlns:a16="http://schemas.microsoft.com/office/drawing/2014/main" id="{DE744A41-F56A-AE11-7181-CB889E14A4A2}"/>
                    </a:ext>
                  </a:extLst>
                </p:cNvPr>
                <p:cNvSpPr/>
                <p:nvPr/>
              </p:nvSpPr>
              <p:spPr>
                <a:xfrm>
                  <a:off x="5800167" y="3337083"/>
                  <a:ext cx="1199754" cy="2035301"/>
                </a:xfrm>
                <a:custGeom>
                  <a:avLst/>
                  <a:gdLst>
                    <a:gd name="connsiteX0" fmla="*/ 637875 w 1199754"/>
                    <a:gd name="connsiteY0" fmla="*/ 2035302 h 2035301"/>
                    <a:gd name="connsiteX1" fmla="*/ 195820 w 1199754"/>
                    <a:gd name="connsiteY1" fmla="*/ 1791367 h 2035301"/>
                    <a:gd name="connsiteX2" fmla="*/ 77900 w 1199754"/>
                    <a:gd name="connsiteY2" fmla="*/ 1234440 h 2035301"/>
                    <a:gd name="connsiteX3" fmla="*/ 144670 w 1199754"/>
                    <a:gd name="connsiteY3" fmla="*/ 1079564 h 2035301"/>
                    <a:gd name="connsiteX4" fmla="*/ 144670 w 1199754"/>
                    <a:gd name="connsiteY4" fmla="*/ 1079564 h 2035301"/>
                    <a:gd name="connsiteX5" fmla="*/ 848854 w 1199754"/>
                    <a:gd name="connsiteY5" fmla="*/ 113157 h 2035301"/>
                    <a:gd name="connsiteX6" fmla="*/ 1199755 w 1199754"/>
                    <a:gd name="connsiteY6" fmla="*/ 0 h 20353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99754" h="2035301">
                      <a:moveTo>
                        <a:pt x="637875" y="2035302"/>
                      </a:moveTo>
                      <a:lnTo>
                        <a:pt x="195820" y="1791367"/>
                      </a:lnTo>
                      <a:cubicBezTo>
                        <a:pt x="-5063" y="1680496"/>
                        <a:pt x="-63737" y="1414939"/>
                        <a:pt x="77900" y="1234440"/>
                      </a:cubicBezTo>
                      <a:cubicBezTo>
                        <a:pt x="118572" y="1182624"/>
                        <a:pt x="144670" y="1129474"/>
                        <a:pt x="144670" y="1079564"/>
                      </a:cubicBezTo>
                      <a:lnTo>
                        <a:pt x="144670" y="1079564"/>
                      </a:lnTo>
                      <a:cubicBezTo>
                        <a:pt x="144670" y="638651"/>
                        <a:pt x="429182" y="248221"/>
                        <a:pt x="848854" y="113157"/>
                      </a:cubicBezTo>
                      <a:lnTo>
                        <a:pt x="1199755" y="0"/>
                      </a:lnTo>
                    </a:path>
                  </a:pathLst>
                </a:custGeom>
                <a:noFill/>
                <a:ln w="2540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122" name="Forme libre : forme 121">
                  <a:extLst>
                    <a:ext uri="{FF2B5EF4-FFF2-40B4-BE49-F238E27FC236}">
                      <a16:creationId xmlns:a16="http://schemas.microsoft.com/office/drawing/2014/main" id="{B624BB48-7199-4585-59D0-D001FC0B915C}"/>
                    </a:ext>
                  </a:extLst>
                </p:cNvPr>
                <p:cNvSpPr/>
                <p:nvPr/>
              </p:nvSpPr>
              <p:spPr>
                <a:xfrm>
                  <a:off x="3848100" y="2372867"/>
                  <a:ext cx="3304032" cy="3304032"/>
                </a:xfrm>
                <a:custGeom>
                  <a:avLst/>
                  <a:gdLst>
                    <a:gd name="connsiteX0" fmla="*/ 3275171 w 3304032"/>
                    <a:gd name="connsiteY0" fmla="*/ 1961198 h 3304032"/>
                    <a:gd name="connsiteX1" fmla="*/ 3304032 w 3304032"/>
                    <a:gd name="connsiteY1" fmla="*/ 1652016 h 3304032"/>
                    <a:gd name="connsiteX2" fmla="*/ 1652016 w 3304032"/>
                    <a:gd name="connsiteY2" fmla="*/ 0 h 3304032"/>
                    <a:gd name="connsiteX3" fmla="*/ 0 w 3304032"/>
                    <a:gd name="connsiteY3" fmla="*/ 1652016 h 3304032"/>
                    <a:gd name="connsiteX4" fmla="*/ 1652016 w 3304032"/>
                    <a:gd name="connsiteY4" fmla="*/ 3304032 h 3304032"/>
                    <a:gd name="connsiteX5" fmla="*/ 2821877 w 3304032"/>
                    <a:gd name="connsiteY5" fmla="*/ 2818448 h 3304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304032" h="3304032">
                      <a:moveTo>
                        <a:pt x="3275171" y="1961198"/>
                      </a:moveTo>
                      <a:cubicBezTo>
                        <a:pt x="3294126" y="1860995"/>
                        <a:pt x="3304032" y="1757648"/>
                        <a:pt x="3304032" y="1652016"/>
                      </a:cubicBezTo>
                      <a:cubicBezTo>
                        <a:pt x="3304032" y="739616"/>
                        <a:pt x="2564416" y="0"/>
                        <a:pt x="1652016" y="0"/>
                      </a:cubicBezTo>
                      <a:cubicBezTo>
                        <a:pt x="739616" y="0"/>
                        <a:pt x="0" y="739616"/>
                        <a:pt x="0" y="1652016"/>
                      </a:cubicBezTo>
                      <a:cubicBezTo>
                        <a:pt x="0" y="2564416"/>
                        <a:pt x="739616" y="3304032"/>
                        <a:pt x="1652016" y="3304032"/>
                      </a:cubicBezTo>
                      <a:cubicBezTo>
                        <a:pt x="2109121" y="3304032"/>
                        <a:pt x="2522791" y="3118390"/>
                        <a:pt x="2821877" y="2818448"/>
                      </a:cubicBezTo>
                    </a:path>
                  </a:pathLst>
                </a:custGeom>
                <a:noFill/>
                <a:ln w="2540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</p:grpSp>
        </p:grpSp>
      </p:grpSp>
      <p:grpSp>
        <p:nvGrpSpPr>
          <p:cNvPr id="144" name="Groupe 143">
            <a:extLst>
              <a:ext uri="{FF2B5EF4-FFF2-40B4-BE49-F238E27FC236}">
                <a16:creationId xmlns:a16="http://schemas.microsoft.com/office/drawing/2014/main" id="{ADF72863-5B10-57E2-90D8-061CF5EBB29F}"/>
              </a:ext>
            </a:extLst>
          </p:cNvPr>
          <p:cNvGrpSpPr/>
          <p:nvPr/>
        </p:nvGrpSpPr>
        <p:grpSpPr>
          <a:xfrm>
            <a:off x="7990245" y="1828902"/>
            <a:ext cx="2388388" cy="2389042"/>
            <a:chOff x="8295045" y="1959531"/>
            <a:chExt cx="2388388" cy="2389042"/>
          </a:xfrm>
        </p:grpSpPr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id="{3A1F9793-7884-47D9-56C0-C6429FA1E8E1}"/>
                </a:ext>
              </a:extLst>
            </p:cNvPr>
            <p:cNvSpPr/>
            <p:nvPr/>
          </p:nvSpPr>
          <p:spPr>
            <a:xfrm rot="16200000" flipH="1">
              <a:off x="8294718" y="1959858"/>
              <a:ext cx="2389042" cy="2388388"/>
            </a:xfrm>
            <a:custGeom>
              <a:avLst/>
              <a:gdLst>
                <a:gd name="connsiteX0" fmla="*/ 860487 w 2389042"/>
                <a:gd name="connsiteY0" fmla="*/ 2388388 h 2388388"/>
                <a:gd name="connsiteX1" fmla="*/ 860523 w 2389042"/>
                <a:gd name="connsiteY1" fmla="*/ 2388384 h 2388388"/>
                <a:gd name="connsiteX2" fmla="*/ 860563 w 2389042"/>
                <a:gd name="connsiteY2" fmla="*/ 2388388 h 2388388"/>
                <a:gd name="connsiteX3" fmla="*/ 252027 w 2389042"/>
                <a:gd name="connsiteY3" fmla="*/ 2136740 h 2388388"/>
                <a:gd name="connsiteX4" fmla="*/ 0 w 2389042"/>
                <a:gd name="connsiteY4" fmla="*/ 1528208 h 2388388"/>
                <a:gd name="connsiteX5" fmla="*/ 252027 w 2389042"/>
                <a:gd name="connsiteY5" fmla="*/ 919675 h 2388388"/>
                <a:gd name="connsiteX6" fmla="*/ 920019 w 2389042"/>
                <a:gd name="connsiteY6" fmla="*/ 251685 h 2388388"/>
                <a:gd name="connsiteX7" fmla="*/ 2137015 w 2389042"/>
                <a:gd name="connsiteY7" fmla="*/ 251685 h 2388388"/>
                <a:gd name="connsiteX8" fmla="*/ 2389042 w 2389042"/>
                <a:gd name="connsiteY8" fmla="*/ 860219 h 2388388"/>
                <a:gd name="connsiteX9" fmla="*/ 2137015 w 2389042"/>
                <a:gd name="connsiteY9" fmla="*/ 1468752 h 2388388"/>
                <a:gd name="connsiteX10" fmla="*/ 1469023 w 2389042"/>
                <a:gd name="connsiteY10" fmla="*/ 2136740 h 2388388"/>
                <a:gd name="connsiteX11" fmla="*/ 1024945 w 2389042"/>
                <a:gd name="connsiteY11" fmla="*/ 2372664 h 2388388"/>
                <a:gd name="connsiteX12" fmla="*/ 860523 w 2389042"/>
                <a:gd name="connsiteY12" fmla="*/ 2388384 h 2388388"/>
                <a:gd name="connsiteX13" fmla="*/ 696105 w 2389042"/>
                <a:gd name="connsiteY13" fmla="*/ 2372663 h 2388388"/>
                <a:gd name="connsiteX14" fmla="*/ 252027 w 2389042"/>
                <a:gd name="connsiteY14" fmla="*/ 2136740 h 2388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89042" h="2388388">
                  <a:moveTo>
                    <a:pt x="860487" y="2388388"/>
                  </a:moveTo>
                  <a:lnTo>
                    <a:pt x="860523" y="2388384"/>
                  </a:lnTo>
                  <a:lnTo>
                    <a:pt x="860563" y="2388388"/>
                  </a:lnTo>
                  <a:close/>
                  <a:moveTo>
                    <a:pt x="252027" y="2136740"/>
                  </a:moveTo>
                  <a:cubicBezTo>
                    <a:pt x="84235" y="1968949"/>
                    <a:pt x="0" y="1758098"/>
                    <a:pt x="0" y="1528208"/>
                  </a:cubicBezTo>
                  <a:cubicBezTo>
                    <a:pt x="0" y="1298317"/>
                    <a:pt x="89524" y="1082252"/>
                    <a:pt x="252027" y="919675"/>
                  </a:cubicBezTo>
                  <a:lnTo>
                    <a:pt x="920019" y="251685"/>
                  </a:lnTo>
                  <a:cubicBezTo>
                    <a:pt x="1255525" y="-83895"/>
                    <a:pt x="1801508" y="-83895"/>
                    <a:pt x="2137015" y="251685"/>
                  </a:cubicBezTo>
                  <a:cubicBezTo>
                    <a:pt x="2299594" y="414263"/>
                    <a:pt x="2389042" y="630328"/>
                    <a:pt x="2389042" y="860219"/>
                  </a:cubicBezTo>
                  <a:cubicBezTo>
                    <a:pt x="2389041" y="1090109"/>
                    <a:pt x="2299518" y="1306174"/>
                    <a:pt x="2137015" y="1468752"/>
                  </a:cubicBezTo>
                  <a:lnTo>
                    <a:pt x="1469023" y="2136740"/>
                  </a:lnTo>
                  <a:cubicBezTo>
                    <a:pt x="1343180" y="2262583"/>
                    <a:pt x="1187760" y="2341214"/>
                    <a:pt x="1024945" y="2372664"/>
                  </a:cubicBezTo>
                  <a:lnTo>
                    <a:pt x="860523" y="2388384"/>
                  </a:lnTo>
                  <a:lnTo>
                    <a:pt x="696105" y="2372663"/>
                  </a:lnTo>
                  <a:cubicBezTo>
                    <a:pt x="533291" y="2341214"/>
                    <a:pt x="377870" y="2262583"/>
                    <a:pt x="252027" y="2136740"/>
                  </a:cubicBezTo>
                  <a:close/>
                </a:path>
              </a:pathLst>
            </a:custGeom>
            <a:solidFill>
              <a:schemeClr val="tx2">
                <a:alpha val="7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fr-FR"/>
            </a:p>
          </p:txBody>
        </p:sp>
        <p:grpSp>
          <p:nvGrpSpPr>
            <p:cNvPr id="114" name="Groupe 113">
              <a:extLst>
                <a:ext uri="{FF2B5EF4-FFF2-40B4-BE49-F238E27FC236}">
                  <a16:creationId xmlns:a16="http://schemas.microsoft.com/office/drawing/2014/main" id="{1FF3DF49-D57A-01A1-287F-086876380801}"/>
                </a:ext>
              </a:extLst>
            </p:cNvPr>
            <p:cNvGrpSpPr/>
            <p:nvPr/>
          </p:nvGrpSpPr>
          <p:grpSpPr>
            <a:xfrm>
              <a:off x="9859443" y="2345439"/>
              <a:ext cx="474812" cy="474812"/>
              <a:chOff x="10046467" y="2374467"/>
              <a:chExt cx="474812" cy="474812"/>
            </a:xfrm>
          </p:grpSpPr>
          <p:sp>
            <p:nvSpPr>
              <p:cNvPr id="94" name="Forme libre : forme 93">
                <a:extLst>
                  <a:ext uri="{FF2B5EF4-FFF2-40B4-BE49-F238E27FC236}">
                    <a16:creationId xmlns:a16="http://schemas.microsoft.com/office/drawing/2014/main" id="{07DF97B8-A0C6-8B33-FA07-DBF591823A6D}"/>
                  </a:ext>
                </a:extLst>
              </p:cNvPr>
              <p:cNvSpPr/>
              <p:nvPr/>
            </p:nvSpPr>
            <p:spPr>
              <a:xfrm>
                <a:off x="10046467" y="2464006"/>
                <a:ext cx="397397" cy="385273"/>
              </a:xfrm>
              <a:custGeom>
                <a:avLst/>
                <a:gdLst>
                  <a:gd name="connsiteX0" fmla="*/ 686822 w 686822"/>
                  <a:gd name="connsiteY0" fmla="*/ 128464 h 665867"/>
                  <a:gd name="connsiteX1" fmla="*/ 481583 w 686822"/>
                  <a:gd name="connsiteY1" fmla="*/ 0 h 665867"/>
                  <a:gd name="connsiteX2" fmla="*/ 339023 w 686822"/>
                  <a:gd name="connsiteY2" fmla="*/ 0 h 665867"/>
                  <a:gd name="connsiteX3" fmla="*/ 0 w 686822"/>
                  <a:gd name="connsiteY3" fmla="*/ 392915 h 665867"/>
                  <a:gd name="connsiteX4" fmla="*/ 250590 w 686822"/>
                  <a:gd name="connsiteY4" fmla="*/ 665776 h 665867"/>
                  <a:gd name="connsiteX5" fmla="*/ 407688 w 686822"/>
                  <a:gd name="connsiteY5" fmla="*/ 665868 h 665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86822" h="665867">
                    <a:moveTo>
                      <a:pt x="686822" y="128464"/>
                    </a:moveTo>
                    <a:cubicBezTo>
                      <a:pt x="592013" y="43030"/>
                      <a:pt x="481583" y="0"/>
                      <a:pt x="481583" y="0"/>
                    </a:cubicBezTo>
                    <a:lnTo>
                      <a:pt x="339023" y="0"/>
                    </a:lnTo>
                    <a:cubicBezTo>
                      <a:pt x="339023" y="0"/>
                      <a:pt x="0" y="132128"/>
                      <a:pt x="0" y="392915"/>
                    </a:cubicBezTo>
                    <a:cubicBezTo>
                      <a:pt x="0" y="562870"/>
                      <a:pt x="103337" y="662165"/>
                      <a:pt x="250590" y="665776"/>
                    </a:cubicBezTo>
                    <a:lnTo>
                      <a:pt x="407688" y="665868"/>
                    </a:lnTo>
                  </a:path>
                </a:pathLst>
              </a:custGeom>
              <a:noFill/>
              <a:ln w="254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96" name="Forme libre : forme 95">
                <a:extLst>
                  <a:ext uri="{FF2B5EF4-FFF2-40B4-BE49-F238E27FC236}">
                    <a16:creationId xmlns:a16="http://schemas.microsoft.com/office/drawing/2014/main" id="{29C9B0DA-4EDC-ADAF-897D-B9DE50A70888}"/>
                  </a:ext>
                </a:extLst>
              </p:cNvPr>
              <p:cNvSpPr/>
              <p:nvPr/>
            </p:nvSpPr>
            <p:spPr>
              <a:xfrm>
                <a:off x="10131970" y="2463999"/>
                <a:ext cx="120713" cy="208231"/>
              </a:xfrm>
              <a:custGeom>
                <a:avLst/>
                <a:gdLst>
                  <a:gd name="connsiteX0" fmla="*/ 0 w 208629"/>
                  <a:gd name="connsiteY0" fmla="*/ 359886 h 359886"/>
                  <a:gd name="connsiteX1" fmla="*/ 208630 w 208629"/>
                  <a:gd name="connsiteY1" fmla="*/ 0 h 35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8629" h="359886">
                    <a:moveTo>
                      <a:pt x="0" y="359886"/>
                    </a:moveTo>
                    <a:cubicBezTo>
                      <a:pt x="0" y="161375"/>
                      <a:pt x="188640" y="19989"/>
                      <a:pt x="208630" y="0"/>
                    </a:cubicBezTo>
                  </a:path>
                </a:pathLst>
              </a:custGeom>
              <a:noFill/>
              <a:ln w="254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97" name="Forme libre : forme 96">
                <a:extLst>
                  <a:ext uri="{FF2B5EF4-FFF2-40B4-BE49-F238E27FC236}">
                    <a16:creationId xmlns:a16="http://schemas.microsoft.com/office/drawing/2014/main" id="{45044B4F-7DF7-C93F-F3ED-EBFD56D4CA50}"/>
                  </a:ext>
                </a:extLst>
              </p:cNvPr>
              <p:cNvSpPr/>
              <p:nvPr/>
            </p:nvSpPr>
            <p:spPr>
              <a:xfrm>
                <a:off x="10209431" y="2374467"/>
                <a:ext cx="148877" cy="89532"/>
              </a:xfrm>
              <a:custGeom>
                <a:avLst/>
                <a:gdLst>
                  <a:gd name="connsiteX0" fmla="*/ 198198 w 257305"/>
                  <a:gd name="connsiteY0" fmla="*/ 154738 h 154738"/>
                  <a:gd name="connsiteX1" fmla="*/ 257306 w 257305"/>
                  <a:gd name="connsiteY1" fmla="*/ 3482 h 154738"/>
                  <a:gd name="connsiteX2" fmla="*/ 257306 w 257305"/>
                  <a:gd name="connsiteY2" fmla="*/ 0 h 154738"/>
                  <a:gd name="connsiteX3" fmla="*/ 0 w 257305"/>
                  <a:gd name="connsiteY3" fmla="*/ 0 h 154738"/>
                  <a:gd name="connsiteX4" fmla="*/ 0 w 257305"/>
                  <a:gd name="connsiteY4" fmla="*/ 3482 h 154738"/>
                  <a:gd name="connsiteX5" fmla="*/ 59107 w 257305"/>
                  <a:gd name="connsiteY5" fmla="*/ 154738 h 15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57305" h="154738">
                    <a:moveTo>
                      <a:pt x="198198" y="154738"/>
                    </a:moveTo>
                    <a:lnTo>
                      <a:pt x="257306" y="3482"/>
                    </a:lnTo>
                    <a:lnTo>
                      <a:pt x="257306" y="0"/>
                    </a:lnTo>
                    <a:cubicBezTo>
                      <a:pt x="171520" y="32442"/>
                      <a:pt x="85747" y="32455"/>
                      <a:pt x="0" y="0"/>
                    </a:cubicBezTo>
                    <a:lnTo>
                      <a:pt x="0" y="3482"/>
                    </a:lnTo>
                    <a:lnTo>
                      <a:pt x="59107" y="154738"/>
                    </a:lnTo>
                  </a:path>
                </a:pathLst>
              </a:custGeom>
              <a:noFill/>
              <a:ln w="254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98" name="Forme libre : forme 97">
                <a:extLst>
                  <a:ext uri="{FF2B5EF4-FFF2-40B4-BE49-F238E27FC236}">
                    <a16:creationId xmlns:a16="http://schemas.microsoft.com/office/drawing/2014/main" id="{E65DDD78-F595-7B0A-08F4-8A4E7C91A6FF}"/>
                  </a:ext>
                </a:extLst>
              </p:cNvPr>
              <p:cNvSpPr/>
              <p:nvPr/>
            </p:nvSpPr>
            <p:spPr>
              <a:xfrm>
                <a:off x="10360323" y="2612884"/>
                <a:ext cx="160956" cy="236395"/>
              </a:xfrm>
              <a:custGeom>
                <a:avLst/>
                <a:gdLst>
                  <a:gd name="connsiteX0" fmla="*/ 0 w 278181"/>
                  <a:gd name="connsiteY0" fmla="*/ 74755 h 408562"/>
                  <a:gd name="connsiteX1" fmla="*/ 0 w 278181"/>
                  <a:gd name="connsiteY1" fmla="*/ 339023 h 408562"/>
                  <a:gd name="connsiteX2" fmla="*/ 139091 w 278181"/>
                  <a:gd name="connsiteY2" fmla="*/ 408562 h 408562"/>
                  <a:gd name="connsiteX3" fmla="*/ 278182 w 278181"/>
                  <a:gd name="connsiteY3" fmla="*/ 339023 h 408562"/>
                  <a:gd name="connsiteX4" fmla="*/ 278182 w 278181"/>
                  <a:gd name="connsiteY4" fmla="*/ 69539 h 408562"/>
                  <a:gd name="connsiteX5" fmla="*/ 139091 w 278181"/>
                  <a:gd name="connsiteY5" fmla="*/ 0 h 408562"/>
                  <a:gd name="connsiteX6" fmla="*/ 0 w 278181"/>
                  <a:gd name="connsiteY6" fmla="*/ 69539 h 408562"/>
                  <a:gd name="connsiteX7" fmla="*/ 139091 w 278181"/>
                  <a:gd name="connsiteY7" fmla="*/ 139078 h 408562"/>
                  <a:gd name="connsiteX8" fmla="*/ 142572 w 278181"/>
                  <a:gd name="connsiteY8" fmla="*/ 139052 h 408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8181" h="408562">
                    <a:moveTo>
                      <a:pt x="0" y="74755"/>
                    </a:moveTo>
                    <a:lnTo>
                      <a:pt x="0" y="339023"/>
                    </a:lnTo>
                    <a:cubicBezTo>
                      <a:pt x="0" y="377437"/>
                      <a:pt x="62276" y="408562"/>
                      <a:pt x="139091" y="408562"/>
                    </a:cubicBezTo>
                    <a:cubicBezTo>
                      <a:pt x="215906" y="408562"/>
                      <a:pt x="278182" y="377424"/>
                      <a:pt x="278182" y="339023"/>
                    </a:cubicBezTo>
                    <a:lnTo>
                      <a:pt x="278182" y="69539"/>
                    </a:lnTo>
                    <a:cubicBezTo>
                      <a:pt x="278182" y="31125"/>
                      <a:pt x="215906" y="0"/>
                      <a:pt x="139091" y="0"/>
                    </a:cubicBezTo>
                    <a:cubicBezTo>
                      <a:pt x="62276" y="0"/>
                      <a:pt x="0" y="31138"/>
                      <a:pt x="0" y="69539"/>
                    </a:cubicBezTo>
                    <a:cubicBezTo>
                      <a:pt x="0" y="107940"/>
                      <a:pt x="62276" y="139078"/>
                      <a:pt x="139091" y="139078"/>
                    </a:cubicBezTo>
                    <a:cubicBezTo>
                      <a:pt x="140251" y="139078"/>
                      <a:pt x="141412" y="139078"/>
                      <a:pt x="142572" y="139052"/>
                    </a:cubicBezTo>
                  </a:path>
                </a:pathLst>
              </a:custGeom>
              <a:noFill/>
              <a:ln w="25400" cap="rnd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99" name="Forme libre : forme 98">
                <a:extLst>
                  <a:ext uri="{FF2B5EF4-FFF2-40B4-BE49-F238E27FC236}">
                    <a16:creationId xmlns:a16="http://schemas.microsoft.com/office/drawing/2014/main" id="{CCDC9B22-5F6F-3920-393C-1373FFB9F30D}"/>
                  </a:ext>
                </a:extLst>
              </p:cNvPr>
              <p:cNvSpPr/>
              <p:nvPr/>
            </p:nvSpPr>
            <p:spPr>
              <a:xfrm>
                <a:off x="10360323" y="2729570"/>
                <a:ext cx="82493" cy="40235"/>
              </a:xfrm>
              <a:custGeom>
                <a:avLst/>
                <a:gdLst>
                  <a:gd name="connsiteX0" fmla="*/ 0 w 142572"/>
                  <a:gd name="connsiteY0" fmla="*/ 0 h 69538"/>
                  <a:gd name="connsiteX1" fmla="*/ 139091 w 142572"/>
                  <a:gd name="connsiteY1" fmla="*/ 69539 h 69538"/>
                  <a:gd name="connsiteX2" fmla="*/ 142572 w 142572"/>
                  <a:gd name="connsiteY2" fmla="*/ 69513 h 69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2572" h="69538">
                    <a:moveTo>
                      <a:pt x="0" y="0"/>
                    </a:moveTo>
                    <a:cubicBezTo>
                      <a:pt x="0" y="38414"/>
                      <a:pt x="62276" y="69539"/>
                      <a:pt x="139091" y="69539"/>
                    </a:cubicBezTo>
                    <a:cubicBezTo>
                      <a:pt x="140251" y="69539"/>
                      <a:pt x="141412" y="69539"/>
                      <a:pt x="142572" y="69513"/>
                    </a:cubicBezTo>
                  </a:path>
                </a:pathLst>
              </a:custGeom>
              <a:noFill/>
              <a:ln w="25400" cap="rnd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00" name="Forme libre : forme 99">
                <a:extLst>
                  <a:ext uri="{FF2B5EF4-FFF2-40B4-BE49-F238E27FC236}">
                    <a16:creationId xmlns:a16="http://schemas.microsoft.com/office/drawing/2014/main" id="{15D9012A-D9CE-B1A5-02FB-5C3DE7E488B4}"/>
                  </a:ext>
                </a:extLst>
              </p:cNvPr>
              <p:cNvSpPr/>
              <p:nvPr/>
            </p:nvSpPr>
            <p:spPr>
              <a:xfrm>
                <a:off x="10199366" y="2689334"/>
                <a:ext cx="160956" cy="80470"/>
              </a:xfrm>
              <a:custGeom>
                <a:avLst/>
                <a:gdLst>
                  <a:gd name="connsiteX0" fmla="*/ 278182 w 278181"/>
                  <a:gd name="connsiteY0" fmla="*/ 71286 h 139077"/>
                  <a:gd name="connsiteX1" fmla="*/ 139091 w 278181"/>
                  <a:gd name="connsiteY1" fmla="*/ 0 h 139077"/>
                  <a:gd name="connsiteX2" fmla="*/ 0 w 278181"/>
                  <a:gd name="connsiteY2" fmla="*/ 69539 h 139077"/>
                  <a:gd name="connsiteX3" fmla="*/ 139091 w 278181"/>
                  <a:gd name="connsiteY3" fmla="*/ 139078 h 139077"/>
                  <a:gd name="connsiteX4" fmla="*/ 142572 w 278181"/>
                  <a:gd name="connsiteY4" fmla="*/ 139052 h 139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8181" h="139077">
                    <a:moveTo>
                      <a:pt x="278182" y="71286"/>
                    </a:moveTo>
                    <a:cubicBezTo>
                      <a:pt x="278182" y="32872"/>
                      <a:pt x="215906" y="0"/>
                      <a:pt x="139091" y="0"/>
                    </a:cubicBezTo>
                    <a:cubicBezTo>
                      <a:pt x="62276" y="0"/>
                      <a:pt x="0" y="31138"/>
                      <a:pt x="0" y="69539"/>
                    </a:cubicBezTo>
                    <a:cubicBezTo>
                      <a:pt x="0" y="107940"/>
                      <a:pt x="62276" y="139078"/>
                      <a:pt x="139091" y="139078"/>
                    </a:cubicBezTo>
                    <a:cubicBezTo>
                      <a:pt x="140251" y="139078"/>
                      <a:pt x="141412" y="139078"/>
                      <a:pt x="142572" y="139052"/>
                    </a:cubicBezTo>
                  </a:path>
                </a:pathLst>
              </a:custGeom>
              <a:noFill/>
              <a:ln w="25400" cap="rnd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01" name="Forme libre : forme 100">
                <a:extLst>
                  <a:ext uri="{FF2B5EF4-FFF2-40B4-BE49-F238E27FC236}">
                    <a16:creationId xmlns:a16="http://schemas.microsoft.com/office/drawing/2014/main" id="{975DC08B-F8E4-FEF9-F2ED-AEAD3447C09C}"/>
                  </a:ext>
                </a:extLst>
              </p:cNvPr>
              <p:cNvSpPr/>
              <p:nvPr/>
            </p:nvSpPr>
            <p:spPr>
              <a:xfrm>
                <a:off x="10199366" y="2730580"/>
                <a:ext cx="160956" cy="118699"/>
              </a:xfrm>
              <a:custGeom>
                <a:avLst/>
                <a:gdLst>
                  <a:gd name="connsiteX0" fmla="*/ 278182 w 278181"/>
                  <a:gd name="connsiteY0" fmla="*/ 0 h 205148"/>
                  <a:gd name="connsiteX1" fmla="*/ 278182 w 278181"/>
                  <a:gd name="connsiteY1" fmla="*/ 135609 h 205148"/>
                  <a:gd name="connsiteX2" fmla="*/ 139091 w 278181"/>
                  <a:gd name="connsiteY2" fmla="*/ 205148 h 205148"/>
                  <a:gd name="connsiteX3" fmla="*/ 0 w 278181"/>
                  <a:gd name="connsiteY3" fmla="*/ 135609 h 205148"/>
                  <a:gd name="connsiteX4" fmla="*/ 0 w 278181"/>
                  <a:gd name="connsiteY4" fmla="*/ 0 h 205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8181" h="205148">
                    <a:moveTo>
                      <a:pt x="278182" y="0"/>
                    </a:moveTo>
                    <a:lnTo>
                      <a:pt x="278182" y="135609"/>
                    </a:lnTo>
                    <a:cubicBezTo>
                      <a:pt x="278182" y="174023"/>
                      <a:pt x="215906" y="205148"/>
                      <a:pt x="139091" y="205148"/>
                    </a:cubicBezTo>
                    <a:cubicBezTo>
                      <a:pt x="62276" y="205148"/>
                      <a:pt x="0" y="174010"/>
                      <a:pt x="0" y="135609"/>
                    </a:cubicBezTo>
                    <a:lnTo>
                      <a:pt x="0" y="0"/>
                    </a:lnTo>
                  </a:path>
                </a:pathLst>
              </a:custGeom>
              <a:noFill/>
              <a:ln w="25400" cap="rnd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  <p:grpSp>
        <p:nvGrpSpPr>
          <p:cNvPr id="143" name="Groupe 142">
            <a:extLst>
              <a:ext uri="{FF2B5EF4-FFF2-40B4-BE49-F238E27FC236}">
                <a16:creationId xmlns:a16="http://schemas.microsoft.com/office/drawing/2014/main" id="{92F1A811-A87D-4315-193A-4F1381FE450B}"/>
              </a:ext>
            </a:extLst>
          </p:cNvPr>
          <p:cNvGrpSpPr/>
          <p:nvPr/>
        </p:nvGrpSpPr>
        <p:grpSpPr>
          <a:xfrm>
            <a:off x="7299768" y="1828902"/>
            <a:ext cx="2388388" cy="2389042"/>
            <a:chOff x="7604568" y="1959531"/>
            <a:chExt cx="2388388" cy="2389042"/>
          </a:xfrm>
        </p:grpSpPr>
        <p:sp>
          <p:nvSpPr>
            <p:cNvPr id="38" name="Forme libre : forme 37">
              <a:extLst>
                <a:ext uri="{FF2B5EF4-FFF2-40B4-BE49-F238E27FC236}">
                  <a16:creationId xmlns:a16="http://schemas.microsoft.com/office/drawing/2014/main" id="{3209916F-692E-72A5-FF1F-4E70EAA8248D}"/>
                </a:ext>
              </a:extLst>
            </p:cNvPr>
            <p:cNvSpPr/>
            <p:nvPr/>
          </p:nvSpPr>
          <p:spPr>
            <a:xfrm rot="5400000">
              <a:off x="7604241" y="1959858"/>
              <a:ext cx="2389042" cy="2388388"/>
            </a:xfrm>
            <a:custGeom>
              <a:avLst/>
              <a:gdLst>
                <a:gd name="connsiteX0" fmla="*/ 860487 w 2389042"/>
                <a:gd name="connsiteY0" fmla="*/ 2388388 h 2388388"/>
                <a:gd name="connsiteX1" fmla="*/ 860523 w 2389042"/>
                <a:gd name="connsiteY1" fmla="*/ 2388384 h 2388388"/>
                <a:gd name="connsiteX2" fmla="*/ 860563 w 2389042"/>
                <a:gd name="connsiteY2" fmla="*/ 2388388 h 2388388"/>
                <a:gd name="connsiteX3" fmla="*/ 252027 w 2389042"/>
                <a:gd name="connsiteY3" fmla="*/ 2136740 h 2388388"/>
                <a:gd name="connsiteX4" fmla="*/ 0 w 2389042"/>
                <a:gd name="connsiteY4" fmla="*/ 1528208 h 2388388"/>
                <a:gd name="connsiteX5" fmla="*/ 252027 w 2389042"/>
                <a:gd name="connsiteY5" fmla="*/ 919675 h 2388388"/>
                <a:gd name="connsiteX6" fmla="*/ 920019 w 2389042"/>
                <a:gd name="connsiteY6" fmla="*/ 251685 h 2388388"/>
                <a:gd name="connsiteX7" fmla="*/ 2137015 w 2389042"/>
                <a:gd name="connsiteY7" fmla="*/ 251685 h 2388388"/>
                <a:gd name="connsiteX8" fmla="*/ 2389042 w 2389042"/>
                <a:gd name="connsiteY8" fmla="*/ 860219 h 2388388"/>
                <a:gd name="connsiteX9" fmla="*/ 2137015 w 2389042"/>
                <a:gd name="connsiteY9" fmla="*/ 1468752 h 2388388"/>
                <a:gd name="connsiteX10" fmla="*/ 1469023 w 2389042"/>
                <a:gd name="connsiteY10" fmla="*/ 2136740 h 2388388"/>
                <a:gd name="connsiteX11" fmla="*/ 1024945 w 2389042"/>
                <a:gd name="connsiteY11" fmla="*/ 2372664 h 2388388"/>
                <a:gd name="connsiteX12" fmla="*/ 860523 w 2389042"/>
                <a:gd name="connsiteY12" fmla="*/ 2388384 h 2388388"/>
                <a:gd name="connsiteX13" fmla="*/ 696105 w 2389042"/>
                <a:gd name="connsiteY13" fmla="*/ 2372663 h 2388388"/>
                <a:gd name="connsiteX14" fmla="*/ 252027 w 2389042"/>
                <a:gd name="connsiteY14" fmla="*/ 2136740 h 2388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89042" h="2388388">
                  <a:moveTo>
                    <a:pt x="860487" y="2388388"/>
                  </a:moveTo>
                  <a:lnTo>
                    <a:pt x="860523" y="2388384"/>
                  </a:lnTo>
                  <a:lnTo>
                    <a:pt x="860563" y="2388388"/>
                  </a:lnTo>
                  <a:close/>
                  <a:moveTo>
                    <a:pt x="252027" y="2136740"/>
                  </a:moveTo>
                  <a:cubicBezTo>
                    <a:pt x="84235" y="1968949"/>
                    <a:pt x="0" y="1758098"/>
                    <a:pt x="0" y="1528208"/>
                  </a:cubicBezTo>
                  <a:cubicBezTo>
                    <a:pt x="0" y="1298317"/>
                    <a:pt x="89524" y="1082252"/>
                    <a:pt x="252027" y="919675"/>
                  </a:cubicBezTo>
                  <a:lnTo>
                    <a:pt x="920019" y="251685"/>
                  </a:lnTo>
                  <a:cubicBezTo>
                    <a:pt x="1255525" y="-83895"/>
                    <a:pt x="1801508" y="-83895"/>
                    <a:pt x="2137015" y="251685"/>
                  </a:cubicBezTo>
                  <a:cubicBezTo>
                    <a:pt x="2299594" y="414263"/>
                    <a:pt x="2389042" y="630328"/>
                    <a:pt x="2389042" y="860219"/>
                  </a:cubicBezTo>
                  <a:cubicBezTo>
                    <a:pt x="2389041" y="1090109"/>
                    <a:pt x="2299518" y="1306174"/>
                    <a:pt x="2137015" y="1468752"/>
                  </a:cubicBezTo>
                  <a:lnTo>
                    <a:pt x="1469023" y="2136740"/>
                  </a:lnTo>
                  <a:cubicBezTo>
                    <a:pt x="1343180" y="2262583"/>
                    <a:pt x="1187760" y="2341214"/>
                    <a:pt x="1024945" y="2372664"/>
                  </a:cubicBezTo>
                  <a:lnTo>
                    <a:pt x="860523" y="2388384"/>
                  </a:lnTo>
                  <a:lnTo>
                    <a:pt x="696105" y="2372663"/>
                  </a:lnTo>
                  <a:cubicBezTo>
                    <a:pt x="533291" y="2341214"/>
                    <a:pt x="377870" y="2262583"/>
                    <a:pt x="252027" y="2136740"/>
                  </a:cubicBez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fr-FR"/>
            </a:p>
          </p:txBody>
        </p:sp>
        <p:grpSp>
          <p:nvGrpSpPr>
            <p:cNvPr id="113" name="Groupe 112">
              <a:extLst>
                <a:ext uri="{FF2B5EF4-FFF2-40B4-BE49-F238E27FC236}">
                  <a16:creationId xmlns:a16="http://schemas.microsoft.com/office/drawing/2014/main" id="{6CF8C5AF-8DBA-F66E-6361-09F555CACEAF}"/>
                </a:ext>
              </a:extLst>
            </p:cNvPr>
            <p:cNvGrpSpPr/>
            <p:nvPr/>
          </p:nvGrpSpPr>
          <p:grpSpPr>
            <a:xfrm>
              <a:off x="7923183" y="2345440"/>
              <a:ext cx="473516" cy="473508"/>
              <a:chOff x="3097148" y="2705100"/>
              <a:chExt cx="3719665" cy="3719607"/>
            </a:xfrm>
          </p:grpSpPr>
          <p:sp>
            <p:nvSpPr>
              <p:cNvPr id="105" name="Forme libre : forme 104">
                <a:extLst>
                  <a:ext uri="{FF2B5EF4-FFF2-40B4-BE49-F238E27FC236}">
                    <a16:creationId xmlns:a16="http://schemas.microsoft.com/office/drawing/2014/main" id="{34B2D0EA-4270-DF1A-0C6C-27373660982B}"/>
                  </a:ext>
                </a:extLst>
              </p:cNvPr>
              <p:cNvSpPr/>
              <p:nvPr/>
            </p:nvSpPr>
            <p:spPr>
              <a:xfrm>
                <a:off x="4641754" y="2705100"/>
                <a:ext cx="630395" cy="630395"/>
              </a:xfrm>
              <a:custGeom>
                <a:avLst/>
                <a:gdLst>
                  <a:gd name="connsiteX0" fmla="*/ 0 w 1015936"/>
                  <a:gd name="connsiteY0" fmla="*/ 507968 h 1015936"/>
                  <a:gd name="connsiteX1" fmla="*/ 507968 w 1015936"/>
                  <a:gd name="connsiteY1" fmla="*/ 0 h 1015936"/>
                  <a:gd name="connsiteX2" fmla="*/ 1015937 w 1015936"/>
                  <a:gd name="connsiteY2" fmla="*/ 507968 h 1015936"/>
                  <a:gd name="connsiteX3" fmla="*/ 507968 w 1015936"/>
                  <a:gd name="connsiteY3" fmla="*/ 1015937 h 1015936"/>
                  <a:gd name="connsiteX4" fmla="*/ 0 w 1015936"/>
                  <a:gd name="connsiteY4" fmla="*/ 507968 h 1015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15936" h="1015936">
                    <a:moveTo>
                      <a:pt x="0" y="507968"/>
                    </a:moveTo>
                    <a:cubicBezTo>
                      <a:pt x="0" y="227362"/>
                      <a:pt x="227457" y="0"/>
                      <a:pt x="507968" y="0"/>
                    </a:cubicBezTo>
                    <a:cubicBezTo>
                      <a:pt x="788480" y="0"/>
                      <a:pt x="1015937" y="227457"/>
                      <a:pt x="1015937" y="507968"/>
                    </a:cubicBezTo>
                    <a:cubicBezTo>
                      <a:pt x="1015937" y="788480"/>
                      <a:pt x="788480" y="1015937"/>
                      <a:pt x="507968" y="1015937"/>
                    </a:cubicBezTo>
                    <a:cubicBezTo>
                      <a:pt x="227457" y="1015937"/>
                      <a:pt x="0" y="788480"/>
                      <a:pt x="0" y="507968"/>
                    </a:cubicBezTo>
                    <a:close/>
                  </a:path>
                </a:pathLst>
              </a:custGeom>
              <a:noFill/>
              <a:ln w="254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06" name="Forme libre : forme 105">
                <a:extLst>
                  <a:ext uri="{FF2B5EF4-FFF2-40B4-BE49-F238E27FC236}">
                    <a16:creationId xmlns:a16="http://schemas.microsoft.com/office/drawing/2014/main" id="{D2897F48-ABC6-391F-14B6-CD3290F24350}"/>
                  </a:ext>
                </a:extLst>
              </p:cNvPr>
              <p:cNvSpPr/>
              <p:nvPr/>
            </p:nvSpPr>
            <p:spPr>
              <a:xfrm>
                <a:off x="4239792" y="3800521"/>
                <a:ext cx="1426398" cy="2624186"/>
              </a:xfrm>
              <a:custGeom>
                <a:avLst/>
                <a:gdLst>
                  <a:gd name="connsiteX0" fmla="*/ 647795 w 2298763"/>
                  <a:gd name="connsiteY0" fmla="*/ 4229005 h 4229100"/>
                  <a:gd name="connsiteX1" fmla="*/ 647795 w 2298763"/>
                  <a:gd name="connsiteY1" fmla="*/ 3124105 h 4229100"/>
                  <a:gd name="connsiteX2" fmla="*/ 334709 w 2298763"/>
                  <a:gd name="connsiteY2" fmla="*/ 2576799 h 4229100"/>
                  <a:gd name="connsiteX3" fmla="*/ 313087 w 2298763"/>
                  <a:gd name="connsiteY3" fmla="*/ 2564130 h 4229100"/>
                  <a:gd name="connsiteX4" fmla="*/ 0 w 2298763"/>
                  <a:gd name="connsiteY4" fmla="*/ 2016824 h 4229100"/>
                  <a:gd name="connsiteX5" fmla="*/ 0 w 2298763"/>
                  <a:gd name="connsiteY5" fmla="*/ 888968 h 4229100"/>
                  <a:gd name="connsiteX6" fmla="*/ 1149382 w 2298763"/>
                  <a:gd name="connsiteY6" fmla="*/ 0 h 4229100"/>
                  <a:gd name="connsiteX7" fmla="*/ 2298763 w 2298763"/>
                  <a:gd name="connsiteY7" fmla="*/ 888968 h 4229100"/>
                  <a:gd name="connsiteX8" fmla="*/ 2298763 w 2298763"/>
                  <a:gd name="connsiteY8" fmla="*/ 2020443 h 4229100"/>
                  <a:gd name="connsiteX9" fmla="*/ 1990439 w 2298763"/>
                  <a:gd name="connsiteY9" fmla="*/ 2564987 h 4229100"/>
                  <a:gd name="connsiteX10" fmla="*/ 1972056 w 2298763"/>
                  <a:gd name="connsiteY10" fmla="*/ 2576036 h 4229100"/>
                  <a:gd name="connsiteX11" fmla="*/ 1663732 w 2298763"/>
                  <a:gd name="connsiteY11" fmla="*/ 3120581 h 4229100"/>
                  <a:gd name="connsiteX12" fmla="*/ 1663732 w 2298763"/>
                  <a:gd name="connsiteY12" fmla="*/ 4229100 h 4229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298763" h="4229100">
                    <a:moveTo>
                      <a:pt x="647795" y="4229005"/>
                    </a:moveTo>
                    <a:lnTo>
                      <a:pt x="647795" y="3124105"/>
                    </a:lnTo>
                    <a:cubicBezTo>
                      <a:pt x="647795" y="2899124"/>
                      <a:pt x="528733" y="2690908"/>
                      <a:pt x="334709" y="2576799"/>
                    </a:cubicBezTo>
                    <a:lnTo>
                      <a:pt x="313087" y="2564130"/>
                    </a:lnTo>
                    <a:cubicBezTo>
                      <a:pt x="119158" y="2450021"/>
                      <a:pt x="0" y="2241804"/>
                      <a:pt x="0" y="2016824"/>
                    </a:cubicBezTo>
                    <a:lnTo>
                      <a:pt x="0" y="888968"/>
                    </a:lnTo>
                    <a:cubicBezTo>
                      <a:pt x="0" y="254222"/>
                      <a:pt x="514541" y="0"/>
                      <a:pt x="1149382" y="0"/>
                    </a:cubicBezTo>
                    <a:cubicBezTo>
                      <a:pt x="1784223" y="0"/>
                      <a:pt x="2298763" y="254222"/>
                      <a:pt x="2298763" y="888968"/>
                    </a:cubicBezTo>
                    <a:lnTo>
                      <a:pt x="2298763" y="2020443"/>
                    </a:lnTo>
                    <a:cubicBezTo>
                      <a:pt x="2298763" y="2243519"/>
                      <a:pt x="2181701" y="2450211"/>
                      <a:pt x="1990439" y="2564987"/>
                    </a:cubicBezTo>
                    <a:lnTo>
                      <a:pt x="1972056" y="2576036"/>
                    </a:lnTo>
                    <a:cubicBezTo>
                      <a:pt x="1780794" y="2690813"/>
                      <a:pt x="1663732" y="2897505"/>
                      <a:pt x="1663732" y="3120581"/>
                    </a:cubicBezTo>
                    <a:lnTo>
                      <a:pt x="1663732" y="4229100"/>
                    </a:lnTo>
                  </a:path>
                </a:pathLst>
              </a:custGeom>
              <a:noFill/>
              <a:ln w="254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07" name="Forme libre : forme 106">
                <a:extLst>
                  <a:ext uri="{FF2B5EF4-FFF2-40B4-BE49-F238E27FC236}">
                    <a16:creationId xmlns:a16="http://schemas.microsoft.com/office/drawing/2014/main" id="{1466F95F-73B1-26BD-F90F-BEAC8D468644}"/>
                  </a:ext>
                </a:extLst>
              </p:cNvPr>
              <p:cNvSpPr/>
              <p:nvPr/>
            </p:nvSpPr>
            <p:spPr>
              <a:xfrm>
                <a:off x="3412405" y="3020298"/>
                <a:ext cx="630395" cy="630395"/>
              </a:xfrm>
              <a:custGeom>
                <a:avLst/>
                <a:gdLst>
                  <a:gd name="connsiteX0" fmla="*/ 0 w 1015936"/>
                  <a:gd name="connsiteY0" fmla="*/ 507968 h 1015936"/>
                  <a:gd name="connsiteX1" fmla="*/ 507968 w 1015936"/>
                  <a:gd name="connsiteY1" fmla="*/ 0 h 1015936"/>
                  <a:gd name="connsiteX2" fmla="*/ 1015937 w 1015936"/>
                  <a:gd name="connsiteY2" fmla="*/ 507968 h 1015936"/>
                  <a:gd name="connsiteX3" fmla="*/ 507968 w 1015936"/>
                  <a:gd name="connsiteY3" fmla="*/ 1015937 h 1015936"/>
                  <a:gd name="connsiteX4" fmla="*/ 0 w 1015936"/>
                  <a:gd name="connsiteY4" fmla="*/ 507968 h 1015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15936" h="1015936">
                    <a:moveTo>
                      <a:pt x="0" y="507968"/>
                    </a:moveTo>
                    <a:cubicBezTo>
                      <a:pt x="0" y="227362"/>
                      <a:pt x="227457" y="0"/>
                      <a:pt x="507968" y="0"/>
                    </a:cubicBezTo>
                    <a:cubicBezTo>
                      <a:pt x="788480" y="0"/>
                      <a:pt x="1015937" y="227457"/>
                      <a:pt x="1015937" y="507968"/>
                    </a:cubicBezTo>
                    <a:cubicBezTo>
                      <a:pt x="1015937" y="788480"/>
                      <a:pt x="788480" y="1015937"/>
                      <a:pt x="507968" y="1015937"/>
                    </a:cubicBezTo>
                    <a:cubicBezTo>
                      <a:pt x="227457" y="1015937"/>
                      <a:pt x="0" y="788480"/>
                      <a:pt x="0" y="507968"/>
                    </a:cubicBezTo>
                    <a:close/>
                  </a:path>
                </a:pathLst>
              </a:custGeom>
              <a:noFill/>
              <a:ln w="254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08" name="Forme libre : forme 107">
                <a:extLst>
                  <a:ext uri="{FF2B5EF4-FFF2-40B4-BE49-F238E27FC236}">
                    <a16:creationId xmlns:a16="http://schemas.microsoft.com/office/drawing/2014/main" id="{17256FD8-06B4-3DC8-DB01-82FE771D7381}"/>
                  </a:ext>
                </a:extLst>
              </p:cNvPr>
              <p:cNvSpPr/>
              <p:nvPr/>
            </p:nvSpPr>
            <p:spPr>
              <a:xfrm>
                <a:off x="4042860" y="5873036"/>
                <a:ext cx="5910" cy="551611"/>
              </a:xfrm>
              <a:custGeom>
                <a:avLst/>
                <a:gdLst>
                  <a:gd name="connsiteX0" fmla="*/ 0 w 9525"/>
                  <a:gd name="connsiteY0" fmla="*/ 888968 h 888968"/>
                  <a:gd name="connsiteX1" fmla="*/ 0 w 9525"/>
                  <a:gd name="connsiteY1" fmla="*/ 0 h 888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888968">
                    <a:moveTo>
                      <a:pt x="0" y="888968"/>
                    </a:moveTo>
                    <a:lnTo>
                      <a:pt x="0" y="0"/>
                    </a:lnTo>
                  </a:path>
                </a:pathLst>
              </a:custGeom>
              <a:noFill/>
              <a:ln w="254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09" name="Forme libre : forme 108">
                <a:extLst>
                  <a:ext uri="{FF2B5EF4-FFF2-40B4-BE49-F238E27FC236}">
                    <a16:creationId xmlns:a16="http://schemas.microsoft.com/office/drawing/2014/main" id="{ACFD22E5-7013-AF5B-41B5-EE3C3A96CDB0}"/>
                  </a:ext>
                </a:extLst>
              </p:cNvPr>
              <p:cNvSpPr/>
              <p:nvPr/>
            </p:nvSpPr>
            <p:spPr>
              <a:xfrm>
                <a:off x="3097148" y="4119678"/>
                <a:ext cx="614674" cy="2304969"/>
              </a:xfrm>
              <a:custGeom>
                <a:avLst/>
                <a:gdLst>
                  <a:gd name="connsiteX0" fmla="*/ 508064 w 990600"/>
                  <a:gd name="connsiteY0" fmla="*/ 3714655 h 3714654"/>
                  <a:gd name="connsiteX1" fmla="*/ 508064 w 990600"/>
                  <a:gd name="connsiteY1" fmla="*/ 2825686 h 3714654"/>
                  <a:gd name="connsiteX2" fmla="*/ 254032 w 990600"/>
                  <a:gd name="connsiteY2" fmla="*/ 2317718 h 3714654"/>
                  <a:gd name="connsiteX3" fmla="*/ 0 w 990600"/>
                  <a:gd name="connsiteY3" fmla="*/ 1809750 h 3714654"/>
                  <a:gd name="connsiteX4" fmla="*/ 0 w 990600"/>
                  <a:gd name="connsiteY4" fmla="*/ 730282 h 3714654"/>
                  <a:gd name="connsiteX5" fmla="*/ 990600 w 990600"/>
                  <a:gd name="connsiteY5" fmla="*/ 0 h 3714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90600" h="3714654">
                    <a:moveTo>
                      <a:pt x="508064" y="3714655"/>
                    </a:moveTo>
                    <a:lnTo>
                      <a:pt x="508064" y="2825686"/>
                    </a:lnTo>
                    <a:cubicBezTo>
                      <a:pt x="508064" y="2625852"/>
                      <a:pt x="413957" y="2437638"/>
                      <a:pt x="254032" y="2317718"/>
                    </a:cubicBezTo>
                    <a:cubicBezTo>
                      <a:pt x="94107" y="2197799"/>
                      <a:pt x="0" y="2009584"/>
                      <a:pt x="0" y="1809750"/>
                    </a:cubicBezTo>
                    <a:lnTo>
                      <a:pt x="0" y="730282"/>
                    </a:lnTo>
                    <a:cubicBezTo>
                      <a:pt x="0" y="183166"/>
                      <a:pt x="443484" y="0"/>
                      <a:pt x="990600" y="0"/>
                    </a:cubicBezTo>
                  </a:path>
                </a:pathLst>
              </a:custGeom>
              <a:noFill/>
              <a:ln w="254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10" name="Forme libre : forme 109">
                <a:extLst>
                  <a:ext uri="{FF2B5EF4-FFF2-40B4-BE49-F238E27FC236}">
                    <a16:creationId xmlns:a16="http://schemas.microsoft.com/office/drawing/2014/main" id="{B8704155-2470-3315-3727-B6AA1196AF8F}"/>
                  </a:ext>
                </a:extLst>
              </p:cNvPr>
              <p:cNvSpPr/>
              <p:nvPr/>
            </p:nvSpPr>
            <p:spPr>
              <a:xfrm>
                <a:off x="5871161" y="3020298"/>
                <a:ext cx="630395" cy="630395"/>
              </a:xfrm>
              <a:custGeom>
                <a:avLst/>
                <a:gdLst>
                  <a:gd name="connsiteX0" fmla="*/ 1015936 w 1015936"/>
                  <a:gd name="connsiteY0" fmla="*/ 507968 h 1015936"/>
                  <a:gd name="connsiteX1" fmla="*/ 507968 w 1015936"/>
                  <a:gd name="connsiteY1" fmla="*/ 0 h 1015936"/>
                  <a:gd name="connsiteX2" fmla="*/ 0 w 1015936"/>
                  <a:gd name="connsiteY2" fmla="*/ 507968 h 1015936"/>
                  <a:gd name="connsiteX3" fmla="*/ 507968 w 1015936"/>
                  <a:gd name="connsiteY3" fmla="*/ 1015937 h 1015936"/>
                  <a:gd name="connsiteX4" fmla="*/ 1015936 w 1015936"/>
                  <a:gd name="connsiteY4" fmla="*/ 507968 h 1015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15936" h="1015936">
                    <a:moveTo>
                      <a:pt x="1015936" y="507968"/>
                    </a:moveTo>
                    <a:cubicBezTo>
                      <a:pt x="1015936" y="227362"/>
                      <a:pt x="788479" y="0"/>
                      <a:pt x="507968" y="0"/>
                    </a:cubicBezTo>
                    <a:cubicBezTo>
                      <a:pt x="227457" y="0"/>
                      <a:pt x="0" y="227457"/>
                      <a:pt x="0" y="507968"/>
                    </a:cubicBezTo>
                    <a:cubicBezTo>
                      <a:pt x="0" y="788480"/>
                      <a:pt x="227457" y="1015937"/>
                      <a:pt x="507968" y="1015937"/>
                    </a:cubicBezTo>
                    <a:cubicBezTo>
                      <a:pt x="788479" y="1015937"/>
                      <a:pt x="1015936" y="788480"/>
                      <a:pt x="1015936" y="507968"/>
                    </a:cubicBezTo>
                    <a:close/>
                  </a:path>
                </a:pathLst>
              </a:custGeom>
              <a:noFill/>
              <a:ln w="254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11" name="Forme libre : forme 110">
                <a:extLst>
                  <a:ext uri="{FF2B5EF4-FFF2-40B4-BE49-F238E27FC236}">
                    <a16:creationId xmlns:a16="http://schemas.microsoft.com/office/drawing/2014/main" id="{CBF41879-F532-01CB-449F-E9A4B26D844E}"/>
                  </a:ext>
                </a:extLst>
              </p:cNvPr>
              <p:cNvSpPr/>
              <p:nvPr/>
            </p:nvSpPr>
            <p:spPr>
              <a:xfrm>
                <a:off x="5871102" y="5873036"/>
                <a:ext cx="5910" cy="551611"/>
              </a:xfrm>
              <a:custGeom>
                <a:avLst/>
                <a:gdLst>
                  <a:gd name="connsiteX0" fmla="*/ 0 w 9525"/>
                  <a:gd name="connsiteY0" fmla="*/ 888968 h 888968"/>
                  <a:gd name="connsiteX1" fmla="*/ 0 w 9525"/>
                  <a:gd name="connsiteY1" fmla="*/ 0 h 888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888968">
                    <a:moveTo>
                      <a:pt x="0" y="888968"/>
                    </a:moveTo>
                    <a:lnTo>
                      <a:pt x="0" y="0"/>
                    </a:lnTo>
                  </a:path>
                </a:pathLst>
              </a:custGeom>
              <a:noFill/>
              <a:ln w="254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12" name="Forme libre : forme 111">
                <a:extLst>
                  <a:ext uri="{FF2B5EF4-FFF2-40B4-BE49-F238E27FC236}">
                    <a16:creationId xmlns:a16="http://schemas.microsoft.com/office/drawing/2014/main" id="{0C327615-3FDA-33AB-B886-3B426ACCFAB6}"/>
                  </a:ext>
                </a:extLst>
              </p:cNvPr>
              <p:cNvSpPr/>
              <p:nvPr/>
            </p:nvSpPr>
            <p:spPr>
              <a:xfrm>
                <a:off x="6202139" y="4119678"/>
                <a:ext cx="614674" cy="2304969"/>
              </a:xfrm>
              <a:custGeom>
                <a:avLst/>
                <a:gdLst>
                  <a:gd name="connsiteX0" fmla="*/ 482536 w 990600"/>
                  <a:gd name="connsiteY0" fmla="*/ 3714655 h 3714654"/>
                  <a:gd name="connsiteX1" fmla="*/ 482536 w 990600"/>
                  <a:gd name="connsiteY1" fmla="*/ 2825686 h 3714654"/>
                  <a:gd name="connsiteX2" fmla="*/ 736568 w 990600"/>
                  <a:gd name="connsiteY2" fmla="*/ 2317718 h 3714654"/>
                  <a:gd name="connsiteX3" fmla="*/ 990600 w 990600"/>
                  <a:gd name="connsiteY3" fmla="*/ 1809750 h 3714654"/>
                  <a:gd name="connsiteX4" fmla="*/ 990600 w 990600"/>
                  <a:gd name="connsiteY4" fmla="*/ 730282 h 3714654"/>
                  <a:gd name="connsiteX5" fmla="*/ 0 w 990600"/>
                  <a:gd name="connsiteY5" fmla="*/ 0 h 3714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90600" h="3714654">
                    <a:moveTo>
                      <a:pt x="482536" y="3714655"/>
                    </a:moveTo>
                    <a:lnTo>
                      <a:pt x="482536" y="2825686"/>
                    </a:lnTo>
                    <a:cubicBezTo>
                      <a:pt x="482536" y="2625852"/>
                      <a:pt x="576643" y="2437638"/>
                      <a:pt x="736568" y="2317718"/>
                    </a:cubicBezTo>
                    <a:cubicBezTo>
                      <a:pt x="896493" y="2197799"/>
                      <a:pt x="990600" y="2009584"/>
                      <a:pt x="990600" y="1809750"/>
                    </a:cubicBezTo>
                    <a:lnTo>
                      <a:pt x="990600" y="730282"/>
                    </a:lnTo>
                    <a:cubicBezTo>
                      <a:pt x="990600" y="183166"/>
                      <a:pt x="547116" y="0"/>
                      <a:pt x="0" y="0"/>
                    </a:cubicBezTo>
                  </a:path>
                </a:pathLst>
              </a:custGeom>
              <a:noFill/>
              <a:ln w="254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  <p:grpSp>
        <p:nvGrpSpPr>
          <p:cNvPr id="127" name="Groupe 126">
            <a:extLst>
              <a:ext uri="{FF2B5EF4-FFF2-40B4-BE49-F238E27FC236}">
                <a16:creationId xmlns:a16="http://schemas.microsoft.com/office/drawing/2014/main" id="{D5522F84-5D41-B3C6-C7FB-77DB998E0E4A}"/>
              </a:ext>
            </a:extLst>
          </p:cNvPr>
          <p:cNvGrpSpPr/>
          <p:nvPr/>
        </p:nvGrpSpPr>
        <p:grpSpPr>
          <a:xfrm>
            <a:off x="8321639" y="3228570"/>
            <a:ext cx="1035122" cy="197658"/>
            <a:chOff x="5339077" y="3224547"/>
            <a:chExt cx="2075857" cy="396387"/>
          </a:xfrm>
          <a:solidFill>
            <a:schemeClr val="bg1"/>
          </a:solidFill>
        </p:grpSpPr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4167A3CE-6B25-97A2-296B-EFAED476A874}"/>
                </a:ext>
              </a:extLst>
            </p:cNvPr>
            <p:cNvSpPr/>
            <p:nvPr/>
          </p:nvSpPr>
          <p:spPr>
            <a:xfrm>
              <a:off x="5339077" y="3230626"/>
              <a:ext cx="312433" cy="384284"/>
            </a:xfrm>
            <a:custGeom>
              <a:avLst/>
              <a:gdLst>
                <a:gd name="connsiteX0" fmla="*/ 485680 w 543401"/>
                <a:gd name="connsiteY0" fmla="*/ 563308 h 668369"/>
                <a:gd name="connsiteX1" fmla="*/ 528161 w 543401"/>
                <a:gd name="connsiteY1" fmla="*/ 580739 h 668369"/>
                <a:gd name="connsiteX2" fmla="*/ 543401 w 543401"/>
                <a:gd name="connsiteY2" fmla="*/ 617887 h 668369"/>
                <a:gd name="connsiteX3" fmla="*/ 529114 w 543401"/>
                <a:gd name="connsiteY3" fmla="*/ 652653 h 668369"/>
                <a:gd name="connsiteX4" fmla="*/ 485680 w 543401"/>
                <a:gd name="connsiteY4" fmla="*/ 668369 h 668369"/>
                <a:gd name="connsiteX5" fmla="*/ 69247 w 543401"/>
                <a:gd name="connsiteY5" fmla="*/ 668369 h 668369"/>
                <a:gd name="connsiteX6" fmla="*/ 18860 w 543401"/>
                <a:gd name="connsiteY6" fmla="*/ 650081 h 668369"/>
                <a:gd name="connsiteX7" fmla="*/ 0 w 543401"/>
                <a:gd name="connsiteY7" fmla="*/ 605409 h 668369"/>
                <a:gd name="connsiteX8" fmla="*/ 0 w 543401"/>
                <a:gd name="connsiteY8" fmla="*/ 61913 h 668369"/>
                <a:gd name="connsiteX9" fmla="*/ 18860 w 543401"/>
                <a:gd name="connsiteY9" fmla="*/ 18479 h 668369"/>
                <a:gd name="connsiteX10" fmla="*/ 69247 w 543401"/>
                <a:gd name="connsiteY10" fmla="*/ 0 h 668369"/>
                <a:gd name="connsiteX11" fmla="*/ 485775 w 543401"/>
                <a:gd name="connsiteY11" fmla="*/ 0 h 668369"/>
                <a:gd name="connsiteX12" fmla="*/ 527685 w 543401"/>
                <a:gd name="connsiteY12" fmla="*/ 15240 h 668369"/>
                <a:gd name="connsiteX13" fmla="*/ 541401 w 543401"/>
                <a:gd name="connsiteY13" fmla="*/ 50197 h 668369"/>
                <a:gd name="connsiteX14" fmla="*/ 527304 w 543401"/>
                <a:gd name="connsiteY14" fmla="*/ 86106 h 668369"/>
                <a:gd name="connsiteX15" fmla="*/ 485870 w 543401"/>
                <a:gd name="connsiteY15" fmla="*/ 102775 h 668369"/>
                <a:gd name="connsiteX16" fmla="*/ 119634 w 543401"/>
                <a:gd name="connsiteY16" fmla="*/ 102775 h 668369"/>
                <a:gd name="connsiteX17" fmla="*/ 119634 w 543401"/>
                <a:gd name="connsiteY17" fmla="*/ 286321 h 668369"/>
                <a:gd name="connsiteX18" fmla="*/ 466916 w 543401"/>
                <a:gd name="connsiteY18" fmla="*/ 286321 h 668369"/>
                <a:gd name="connsiteX19" fmla="*/ 507778 w 543401"/>
                <a:gd name="connsiteY19" fmla="*/ 302609 h 668369"/>
                <a:gd name="connsiteX20" fmla="*/ 521494 w 543401"/>
                <a:gd name="connsiteY20" fmla="*/ 338899 h 668369"/>
                <a:gd name="connsiteX21" fmla="*/ 507778 w 543401"/>
                <a:gd name="connsiteY21" fmla="*/ 373475 h 668369"/>
                <a:gd name="connsiteX22" fmla="*/ 466916 w 543401"/>
                <a:gd name="connsiteY22" fmla="*/ 389191 h 668369"/>
                <a:gd name="connsiteX23" fmla="*/ 119634 w 543401"/>
                <a:gd name="connsiteY23" fmla="*/ 389191 h 668369"/>
                <a:gd name="connsiteX24" fmla="*/ 119634 w 543401"/>
                <a:gd name="connsiteY24" fmla="*/ 563404 h 668369"/>
                <a:gd name="connsiteX25" fmla="*/ 485775 w 543401"/>
                <a:gd name="connsiteY25" fmla="*/ 563404 h 668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43401" h="668369">
                  <a:moveTo>
                    <a:pt x="485680" y="563308"/>
                  </a:moveTo>
                  <a:cubicBezTo>
                    <a:pt x="503968" y="563308"/>
                    <a:pt x="518065" y="569119"/>
                    <a:pt x="528161" y="580739"/>
                  </a:cubicBezTo>
                  <a:cubicBezTo>
                    <a:pt x="538353" y="592264"/>
                    <a:pt x="543401" y="604647"/>
                    <a:pt x="543401" y="617887"/>
                  </a:cubicBezTo>
                  <a:cubicBezTo>
                    <a:pt x="543401" y="631126"/>
                    <a:pt x="538639" y="642080"/>
                    <a:pt x="529114" y="652653"/>
                  </a:cubicBezTo>
                  <a:cubicBezTo>
                    <a:pt x="519684" y="663130"/>
                    <a:pt x="505206" y="668369"/>
                    <a:pt x="485680" y="668369"/>
                  </a:cubicBezTo>
                  <a:lnTo>
                    <a:pt x="69247" y="668369"/>
                  </a:lnTo>
                  <a:cubicBezTo>
                    <a:pt x="48197" y="668369"/>
                    <a:pt x="31433" y="662273"/>
                    <a:pt x="18860" y="650081"/>
                  </a:cubicBezTo>
                  <a:cubicBezTo>
                    <a:pt x="6286" y="637794"/>
                    <a:pt x="0" y="622935"/>
                    <a:pt x="0" y="605409"/>
                  </a:cubicBezTo>
                  <a:lnTo>
                    <a:pt x="0" y="61913"/>
                  </a:lnTo>
                  <a:cubicBezTo>
                    <a:pt x="0" y="45148"/>
                    <a:pt x="6286" y="30671"/>
                    <a:pt x="18860" y="18479"/>
                  </a:cubicBezTo>
                  <a:cubicBezTo>
                    <a:pt x="31433" y="6191"/>
                    <a:pt x="48197" y="0"/>
                    <a:pt x="69247" y="0"/>
                  </a:cubicBezTo>
                  <a:lnTo>
                    <a:pt x="485775" y="0"/>
                  </a:lnTo>
                  <a:cubicBezTo>
                    <a:pt x="504635" y="0"/>
                    <a:pt x="518636" y="5143"/>
                    <a:pt x="527685" y="15240"/>
                  </a:cubicBezTo>
                  <a:cubicBezTo>
                    <a:pt x="536829" y="25337"/>
                    <a:pt x="541401" y="36957"/>
                    <a:pt x="541401" y="50197"/>
                  </a:cubicBezTo>
                  <a:cubicBezTo>
                    <a:pt x="541401" y="63437"/>
                    <a:pt x="536734" y="74866"/>
                    <a:pt x="527304" y="86106"/>
                  </a:cubicBezTo>
                  <a:cubicBezTo>
                    <a:pt x="517874" y="97250"/>
                    <a:pt x="504063" y="102775"/>
                    <a:pt x="485870" y="102775"/>
                  </a:cubicBezTo>
                  <a:lnTo>
                    <a:pt x="119634" y="102775"/>
                  </a:lnTo>
                  <a:lnTo>
                    <a:pt x="119634" y="286321"/>
                  </a:lnTo>
                  <a:lnTo>
                    <a:pt x="466916" y="286321"/>
                  </a:lnTo>
                  <a:cubicBezTo>
                    <a:pt x="485013" y="286321"/>
                    <a:pt x="498634" y="291751"/>
                    <a:pt x="507778" y="302609"/>
                  </a:cubicBezTo>
                  <a:cubicBezTo>
                    <a:pt x="516922" y="313468"/>
                    <a:pt x="521494" y="325564"/>
                    <a:pt x="521494" y="338899"/>
                  </a:cubicBezTo>
                  <a:cubicBezTo>
                    <a:pt x="521494" y="351472"/>
                    <a:pt x="516922" y="362998"/>
                    <a:pt x="507778" y="373475"/>
                  </a:cubicBezTo>
                  <a:cubicBezTo>
                    <a:pt x="498634" y="383953"/>
                    <a:pt x="485013" y="389191"/>
                    <a:pt x="466916" y="389191"/>
                  </a:cubicBezTo>
                  <a:lnTo>
                    <a:pt x="119634" y="389191"/>
                  </a:lnTo>
                  <a:lnTo>
                    <a:pt x="119634" y="563404"/>
                  </a:lnTo>
                  <a:lnTo>
                    <a:pt x="485775" y="5634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B2513322-1210-0C34-8A70-737540477B1B}"/>
                </a:ext>
              </a:extLst>
            </p:cNvPr>
            <p:cNvSpPr/>
            <p:nvPr/>
          </p:nvSpPr>
          <p:spPr>
            <a:xfrm>
              <a:off x="5700853" y="3301656"/>
              <a:ext cx="287032" cy="319168"/>
            </a:xfrm>
            <a:custGeom>
              <a:avLst/>
              <a:gdLst>
                <a:gd name="connsiteX0" fmla="*/ 394811 w 499223"/>
                <a:gd name="connsiteY0" fmla="*/ 154400 h 555116"/>
                <a:gd name="connsiteX1" fmla="*/ 338042 w 499223"/>
                <a:gd name="connsiteY1" fmla="*/ 114490 h 555116"/>
                <a:gd name="connsiteX2" fmla="*/ 274130 w 499223"/>
                <a:gd name="connsiteY2" fmla="*/ 102965 h 555116"/>
                <a:gd name="connsiteX3" fmla="*/ 162782 w 499223"/>
                <a:gd name="connsiteY3" fmla="*/ 150781 h 555116"/>
                <a:gd name="connsiteX4" fmla="*/ 120872 w 499223"/>
                <a:gd name="connsiteY4" fmla="*/ 279178 h 555116"/>
                <a:gd name="connsiteX5" fmla="*/ 164306 w 499223"/>
                <a:gd name="connsiteY5" fmla="*/ 403955 h 555116"/>
                <a:gd name="connsiteX6" fmla="*/ 278225 w 499223"/>
                <a:gd name="connsiteY6" fmla="*/ 451199 h 555116"/>
                <a:gd name="connsiteX7" fmla="*/ 342138 w 499223"/>
                <a:gd name="connsiteY7" fmla="*/ 440246 h 555116"/>
                <a:gd name="connsiteX8" fmla="*/ 399860 w 499223"/>
                <a:gd name="connsiteY8" fmla="*/ 403955 h 555116"/>
                <a:gd name="connsiteX9" fmla="*/ 445484 w 499223"/>
                <a:gd name="connsiteY9" fmla="*/ 379952 h 555116"/>
                <a:gd name="connsiteX10" fmla="*/ 482822 w 499223"/>
                <a:gd name="connsiteY10" fmla="*/ 392430 h 555116"/>
                <a:gd name="connsiteX11" fmla="*/ 499110 w 499223"/>
                <a:gd name="connsiteY11" fmla="*/ 427768 h 555116"/>
                <a:gd name="connsiteX12" fmla="*/ 480632 w 499223"/>
                <a:gd name="connsiteY12" fmla="*/ 471202 h 555116"/>
                <a:gd name="connsiteX13" fmla="*/ 386810 w 499223"/>
                <a:gd name="connsiteY13" fmla="*/ 535686 h 555116"/>
                <a:gd name="connsiteX14" fmla="*/ 277273 w 499223"/>
                <a:gd name="connsiteY14" fmla="*/ 555117 h 555116"/>
                <a:gd name="connsiteX15" fmla="*/ 131826 w 499223"/>
                <a:gd name="connsiteY15" fmla="*/ 520541 h 555116"/>
                <a:gd name="connsiteX16" fmla="*/ 34576 w 499223"/>
                <a:gd name="connsiteY16" fmla="*/ 423863 h 555116"/>
                <a:gd name="connsiteX17" fmla="*/ 0 w 499223"/>
                <a:gd name="connsiteY17" fmla="*/ 280035 h 555116"/>
                <a:gd name="connsiteX18" fmla="*/ 34100 w 499223"/>
                <a:gd name="connsiteY18" fmla="*/ 132207 h 555116"/>
                <a:gd name="connsiteX19" fmla="*/ 130112 w 499223"/>
                <a:gd name="connsiteY19" fmla="*/ 34766 h 555116"/>
                <a:gd name="connsiteX20" fmla="*/ 273939 w 499223"/>
                <a:gd name="connsiteY20" fmla="*/ 0 h 555116"/>
                <a:gd name="connsiteX21" fmla="*/ 381286 w 499223"/>
                <a:gd name="connsiteY21" fmla="*/ 17907 h 555116"/>
                <a:gd name="connsiteX22" fmla="*/ 473202 w 499223"/>
                <a:gd name="connsiteY22" fmla="*/ 84963 h 555116"/>
                <a:gd name="connsiteX23" fmla="*/ 489490 w 499223"/>
                <a:gd name="connsiteY23" fmla="*/ 128016 h 555116"/>
                <a:gd name="connsiteX24" fmla="*/ 471011 w 499223"/>
                <a:gd name="connsiteY24" fmla="*/ 162592 h 555116"/>
                <a:gd name="connsiteX25" fmla="*/ 433864 w 499223"/>
                <a:gd name="connsiteY25" fmla="*/ 175927 h 555116"/>
                <a:gd name="connsiteX26" fmla="*/ 394526 w 499223"/>
                <a:gd name="connsiteY26" fmla="*/ 154305 h 555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99223" h="555116">
                  <a:moveTo>
                    <a:pt x="394811" y="154400"/>
                  </a:moveTo>
                  <a:cubicBezTo>
                    <a:pt x="378619" y="135541"/>
                    <a:pt x="359759" y="122206"/>
                    <a:pt x="338042" y="114490"/>
                  </a:cubicBezTo>
                  <a:cubicBezTo>
                    <a:pt x="316325" y="106871"/>
                    <a:pt x="294989" y="102965"/>
                    <a:pt x="274130" y="102965"/>
                  </a:cubicBezTo>
                  <a:cubicBezTo>
                    <a:pt x="227933" y="102965"/>
                    <a:pt x="190881" y="118967"/>
                    <a:pt x="162782" y="150781"/>
                  </a:cubicBezTo>
                  <a:cubicBezTo>
                    <a:pt x="134874" y="182499"/>
                    <a:pt x="120872" y="225361"/>
                    <a:pt x="120872" y="279178"/>
                  </a:cubicBezTo>
                  <a:cubicBezTo>
                    <a:pt x="120872" y="332994"/>
                    <a:pt x="135350" y="372523"/>
                    <a:pt x="164306" y="403955"/>
                  </a:cubicBezTo>
                  <a:cubicBezTo>
                    <a:pt x="193262" y="435483"/>
                    <a:pt x="231267" y="451199"/>
                    <a:pt x="278225" y="451199"/>
                  </a:cubicBezTo>
                  <a:cubicBezTo>
                    <a:pt x="299085" y="451199"/>
                    <a:pt x="320421" y="447580"/>
                    <a:pt x="342138" y="440246"/>
                  </a:cubicBezTo>
                  <a:cubicBezTo>
                    <a:pt x="363855" y="432816"/>
                    <a:pt x="383096" y="420719"/>
                    <a:pt x="399860" y="403955"/>
                  </a:cubicBezTo>
                  <a:cubicBezTo>
                    <a:pt x="415385" y="388620"/>
                    <a:pt x="430530" y="380619"/>
                    <a:pt x="445484" y="379952"/>
                  </a:cubicBezTo>
                  <a:cubicBezTo>
                    <a:pt x="460534" y="379190"/>
                    <a:pt x="473012" y="383286"/>
                    <a:pt x="482822" y="392430"/>
                  </a:cubicBezTo>
                  <a:cubicBezTo>
                    <a:pt x="492633" y="401574"/>
                    <a:pt x="497967" y="413385"/>
                    <a:pt x="499110" y="427768"/>
                  </a:cubicBezTo>
                  <a:cubicBezTo>
                    <a:pt x="500158" y="442055"/>
                    <a:pt x="493967" y="456533"/>
                    <a:pt x="480632" y="471202"/>
                  </a:cubicBezTo>
                  <a:cubicBezTo>
                    <a:pt x="453390" y="501301"/>
                    <a:pt x="422053" y="522732"/>
                    <a:pt x="386810" y="535686"/>
                  </a:cubicBezTo>
                  <a:cubicBezTo>
                    <a:pt x="351568" y="548640"/>
                    <a:pt x="314992" y="555117"/>
                    <a:pt x="277273" y="555117"/>
                  </a:cubicBezTo>
                  <a:cubicBezTo>
                    <a:pt x="221933" y="555117"/>
                    <a:pt x="173450" y="543592"/>
                    <a:pt x="131826" y="520541"/>
                  </a:cubicBezTo>
                  <a:cubicBezTo>
                    <a:pt x="90107" y="497396"/>
                    <a:pt x="57722" y="465201"/>
                    <a:pt x="34576" y="423863"/>
                  </a:cubicBezTo>
                  <a:cubicBezTo>
                    <a:pt x="11525" y="382619"/>
                    <a:pt x="0" y="334708"/>
                    <a:pt x="0" y="280035"/>
                  </a:cubicBezTo>
                  <a:cubicBezTo>
                    <a:pt x="0" y="225361"/>
                    <a:pt x="11335" y="174212"/>
                    <a:pt x="34100" y="132207"/>
                  </a:cubicBezTo>
                  <a:cubicBezTo>
                    <a:pt x="56864" y="90297"/>
                    <a:pt x="88868" y="57817"/>
                    <a:pt x="130112" y="34766"/>
                  </a:cubicBezTo>
                  <a:cubicBezTo>
                    <a:pt x="171355" y="11621"/>
                    <a:pt x="219266" y="0"/>
                    <a:pt x="273939" y="0"/>
                  </a:cubicBezTo>
                  <a:cubicBezTo>
                    <a:pt x="312325" y="0"/>
                    <a:pt x="348044" y="6001"/>
                    <a:pt x="381286" y="17907"/>
                  </a:cubicBezTo>
                  <a:cubicBezTo>
                    <a:pt x="414623" y="29718"/>
                    <a:pt x="445199" y="52006"/>
                    <a:pt x="473202" y="84963"/>
                  </a:cubicBezTo>
                  <a:cubicBezTo>
                    <a:pt x="485870" y="99631"/>
                    <a:pt x="491300" y="114014"/>
                    <a:pt x="489490" y="128016"/>
                  </a:cubicBezTo>
                  <a:cubicBezTo>
                    <a:pt x="487775" y="141922"/>
                    <a:pt x="481584" y="153448"/>
                    <a:pt x="471011" y="162592"/>
                  </a:cubicBezTo>
                  <a:cubicBezTo>
                    <a:pt x="460534" y="171736"/>
                    <a:pt x="448151" y="176213"/>
                    <a:pt x="433864" y="175927"/>
                  </a:cubicBezTo>
                  <a:cubicBezTo>
                    <a:pt x="419576" y="175546"/>
                    <a:pt x="406432" y="168307"/>
                    <a:pt x="394526" y="1543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90A9DF02-441A-A888-6282-6CB9ADAEAC06}"/>
                </a:ext>
              </a:extLst>
            </p:cNvPr>
            <p:cNvSpPr/>
            <p:nvPr/>
          </p:nvSpPr>
          <p:spPr>
            <a:xfrm>
              <a:off x="6026210" y="3301766"/>
              <a:ext cx="320921" cy="319168"/>
            </a:xfrm>
            <a:custGeom>
              <a:avLst/>
              <a:gdLst>
                <a:gd name="connsiteX0" fmla="*/ 278892 w 558165"/>
                <a:gd name="connsiteY0" fmla="*/ 0 h 555116"/>
                <a:gd name="connsiteX1" fmla="*/ 425767 w 558165"/>
                <a:gd name="connsiteY1" fmla="*/ 35147 h 555116"/>
                <a:gd name="connsiteX2" fmla="*/ 523399 w 558165"/>
                <a:gd name="connsiteY2" fmla="*/ 133160 h 555116"/>
                <a:gd name="connsiteX3" fmla="*/ 558165 w 558165"/>
                <a:gd name="connsiteY3" fmla="*/ 280035 h 555116"/>
                <a:gd name="connsiteX4" fmla="*/ 521875 w 558165"/>
                <a:gd name="connsiteY4" fmla="*/ 423863 h 555116"/>
                <a:gd name="connsiteX5" fmla="*/ 424243 w 558165"/>
                <a:gd name="connsiteY5" fmla="*/ 520541 h 555116"/>
                <a:gd name="connsiteX6" fmla="*/ 278987 w 558165"/>
                <a:gd name="connsiteY6" fmla="*/ 555117 h 555116"/>
                <a:gd name="connsiteX7" fmla="*/ 134112 w 558165"/>
                <a:gd name="connsiteY7" fmla="*/ 520541 h 555116"/>
                <a:gd name="connsiteX8" fmla="*/ 36100 w 558165"/>
                <a:gd name="connsiteY8" fmla="*/ 423863 h 555116"/>
                <a:gd name="connsiteX9" fmla="*/ 0 w 558165"/>
                <a:gd name="connsiteY9" fmla="*/ 280035 h 555116"/>
                <a:gd name="connsiteX10" fmla="*/ 35147 w 558165"/>
                <a:gd name="connsiteY10" fmla="*/ 133160 h 555116"/>
                <a:gd name="connsiteX11" fmla="*/ 133159 w 558165"/>
                <a:gd name="connsiteY11" fmla="*/ 35147 h 555116"/>
                <a:gd name="connsiteX12" fmla="*/ 278987 w 558165"/>
                <a:gd name="connsiteY12" fmla="*/ 0 h 555116"/>
                <a:gd name="connsiteX13" fmla="*/ 278892 w 558165"/>
                <a:gd name="connsiteY13" fmla="*/ 450056 h 555116"/>
                <a:gd name="connsiteX14" fmla="*/ 392811 w 558165"/>
                <a:gd name="connsiteY14" fmla="*/ 402812 h 555116"/>
                <a:gd name="connsiteX15" fmla="*/ 435292 w 558165"/>
                <a:gd name="connsiteY15" fmla="*/ 279940 h 555116"/>
                <a:gd name="connsiteX16" fmla="*/ 392811 w 558165"/>
                <a:gd name="connsiteY16" fmla="*/ 153543 h 555116"/>
                <a:gd name="connsiteX17" fmla="*/ 278892 w 558165"/>
                <a:gd name="connsiteY17" fmla="*/ 104680 h 555116"/>
                <a:gd name="connsiteX18" fmla="*/ 165545 w 558165"/>
                <a:gd name="connsiteY18" fmla="*/ 153543 h 555116"/>
                <a:gd name="connsiteX19" fmla="*/ 122492 w 558165"/>
                <a:gd name="connsiteY19" fmla="*/ 279940 h 555116"/>
                <a:gd name="connsiteX20" fmla="*/ 165545 w 558165"/>
                <a:gd name="connsiteY20" fmla="*/ 402812 h 555116"/>
                <a:gd name="connsiteX21" fmla="*/ 278892 w 558165"/>
                <a:gd name="connsiteY21" fmla="*/ 450056 h 555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58165" h="555116">
                  <a:moveTo>
                    <a:pt x="278892" y="0"/>
                  </a:moveTo>
                  <a:cubicBezTo>
                    <a:pt x="334899" y="0"/>
                    <a:pt x="383762" y="11716"/>
                    <a:pt x="425767" y="35147"/>
                  </a:cubicBezTo>
                  <a:cubicBezTo>
                    <a:pt x="467868" y="58579"/>
                    <a:pt x="500348" y="91249"/>
                    <a:pt x="523399" y="133160"/>
                  </a:cubicBezTo>
                  <a:cubicBezTo>
                    <a:pt x="546545" y="175165"/>
                    <a:pt x="558165" y="224028"/>
                    <a:pt x="558165" y="280035"/>
                  </a:cubicBezTo>
                  <a:cubicBezTo>
                    <a:pt x="557498" y="334708"/>
                    <a:pt x="545401" y="382619"/>
                    <a:pt x="521875" y="423863"/>
                  </a:cubicBezTo>
                  <a:cubicBezTo>
                    <a:pt x="498443" y="465106"/>
                    <a:pt x="465868" y="497396"/>
                    <a:pt x="424243" y="520541"/>
                  </a:cubicBezTo>
                  <a:cubicBezTo>
                    <a:pt x="382714" y="543592"/>
                    <a:pt x="334232" y="555117"/>
                    <a:pt x="278987" y="555117"/>
                  </a:cubicBezTo>
                  <a:cubicBezTo>
                    <a:pt x="223742" y="555117"/>
                    <a:pt x="176213" y="543592"/>
                    <a:pt x="134112" y="520541"/>
                  </a:cubicBezTo>
                  <a:cubicBezTo>
                    <a:pt x="92107" y="497396"/>
                    <a:pt x="59531" y="465201"/>
                    <a:pt x="36100" y="423863"/>
                  </a:cubicBezTo>
                  <a:cubicBezTo>
                    <a:pt x="12668" y="382524"/>
                    <a:pt x="667" y="334708"/>
                    <a:pt x="0" y="280035"/>
                  </a:cubicBezTo>
                  <a:cubicBezTo>
                    <a:pt x="0" y="224028"/>
                    <a:pt x="11716" y="175165"/>
                    <a:pt x="35147" y="133160"/>
                  </a:cubicBezTo>
                  <a:cubicBezTo>
                    <a:pt x="58579" y="91249"/>
                    <a:pt x="91250" y="58579"/>
                    <a:pt x="133159" y="35147"/>
                  </a:cubicBezTo>
                  <a:cubicBezTo>
                    <a:pt x="175260" y="11716"/>
                    <a:pt x="223838" y="0"/>
                    <a:pt x="278987" y="0"/>
                  </a:cubicBezTo>
                  <a:close/>
                  <a:moveTo>
                    <a:pt x="278892" y="450056"/>
                  </a:moveTo>
                  <a:cubicBezTo>
                    <a:pt x="326517" y="450056"/>
                    <a:pt x="364426" y="434340"/>
                    <a:pt x="392811" y="402812"/>
                  </a:cubicBezTo>
                  <a:cubicBezTo>
                    <a:pt x="421100" y="371380"/>
                    <a:pt x="435292" y="330422"/>
                    <a:pt x="435292" y="279940"/>
                  </a:cubicBezTo>
                  <a:cubicBezTo>
                    <a:pt x="435292" y="229457"/>
                    <a:pt x="421100" y="186119"/>
                    <a:pt x="392811" y="153543"/>
                  </a:cubicBezTo>
                  <a:cubicBezTo>
                    <a:pt x="364522" y="120968"/>
                    <a:pt x="326517" y="104680"/>
                    <a:pt x="278892" y="104680"/>
                  </a:cubicBezTo>
                  <a:cubicBezTo>
                    <a:pt x="231267" y="104680"/>
                    <a:pt x="194215" y="120968"/>
                    <a:pt x="165545" y="153543"/>
                  </a:cubicBezTo>
                  <a:cubicBezTo>
                    <a:pt x="136779" y="186119"/>
                    <a:pt x="122492" y="228219"/>
                    <a:pt x="122492" y="279940"/>
                  </a:cubicBezTo>
                  <a:cubicBezTo>
                    <a:pt x="122492" y="331661"/>
                    <a:pt x="136874" y="371285"/>
                    <a:pt x="165545" y="402812"/>
                  </a:cubicBezTo>
                  <a:cubicBezTo>
                    <a:pt x="194215" y="434340"/>
                    <a:pt x="232029" y="450056"/>
                    <a:pt x="278892" y="450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3AAD2C3E-EA5D-E0C3-49B8-135DD5D85887}"/>
                </a:ext>
              </a:extLst>
            </p:cNvPr>
            <p:cNvSpPr/>
            <p:nvPr/>
          </p:nvSpPr>
          <p:spPr>
            <a:xfrm>
              <a:off x="6406880" y="3230572"/>
              <a:ext cx="316759" cy="384339"/>
            </a:xfrm>
            <a:custGeom>
              <a:avLst/>
              <a:gdLst>
                <a:gd name="connsiteX0" fmla="*/ 120587 w 550926"/>
                <a:gd name="connsiteY0" fmla="*/ 482632 h 668464"/>
                <a:gd name="connsiteX1" fmla="*/ 120587 w 550926"/>
                <a:gd name="connsiteY1" fmla="*/ 614839 h 668464"/>
                <a:gd name="connsiteX2" fmla="*/ 101156 w 550926"/>
                <a:gd name="connsiteY2" fmla="*/ 655320 h 668464"/>
                <a:gd name="connsiteX3" fmla="*/ 59722 w 550926"/>
                <a:gd name="connsiteY3" fmla="*/ 668464 h 668464"/>
                <a:gd name="connsiteX4" fmla="*/ 18288 w 550926"/>
                <a:gd name="connsiteY4" fmla="*/ 655320 h 668464"/>
                <a:gd name="connsiteX5" fmla="*/ 0 w 550926"/>
                <a:gd name="connsiteY5" fmla="*/ 615982 h 668464"/>
                <a:gd name="connsiteX6" fmla="*/ 0 w 550926"/>
                <a:gd name="connsiteY6" fmla="*/ 54578 h 668464"/>
                <a:gd name="connsiteX7" fmla="*/ 17621 w 550926"/>
                <a:gd name="connsiteY7" fmla="*/ 15240 h 668464"/>
                <a:gd name="connsiteX8" fmla="*/ 60674 w 550926"/>
                <a:gd name="connsiteY8" fmla="*/ 0 h 668464"/>
                <a:gd name="connsiteX9" fmla="*/ 274796 w 550926"/>
                <a:gd name="connsiteY9" fmla="*/ 0 h 668464"/>
                <a:gd name="connsiteX10" fmla="*/ 423863 w 550926"/>
                <a:gd name="connsiteY10" fmla="*/ 30956 h 668464"/>
                <a:gd name="connsiteX11" fmla="*/ 518350 w 550926"/>
                <a:gd name="connsiteY11" fmla="*/ 117062 h 668464"/>
                <a:gd name="connsiteX12" fmla="*/ 550926 w 550926"/>
                <a:gd name="connsiteY12" fmla="*/ 246412 h 668464"/>
                <a:gd name="connsiteX13" fmla="*/ 477488 w 550926"/>
                <a:gd name="connsiteY13" fmla="*/ 417481 h 668464"/>
                <a:gd name="connsiteX14" fmla="*/ 271748 w 550926"/>
                <a:gd name="connsiteY14" fmla="*/ 482537 h 668464"/>
                <a:gd name="connsiteX15" fmla="*/ 120777 w 550926"/>
                <a:gd name="connsiteY15" fmla="*/ 482537 h 668464"/>
                <a:gd name="connsiteX16" fmla="*/ 120587 w 550926"/>
                <a:gd name="connsiteY16" fmla="*/ 103822 h 668464"/>
                <a:gd name="connsiteX17" fmla="*/ 120587 w 550926"/>
                <a:gd name="connsiteY17" fmla="*/ 378905 h 668464"/>
                <a:gd name="connsiteX18" fmla="*/ 271558 w 550926"/>
                <a:gd name="connsiteY18" fmla="*/ 378905 h 668464"/>
                <a:gd name="connsiteX19" fmla="*/ 390239 w 550926"/>
                <a:gd name="connsiteY19" fmla="*/ 342805 h 668464"/>
                <a:gd name="connsiteX20" fmla="*/ 431102 w 550926"/>
                <a:gd name="connsiteY20" fmla="*/ 246602 h 668464"/>
                <a:gd name="connsiteX21" fmla="*/ 390620 w 550926"/>
                <a:gd name="connsiteY21" fmla="*/ 142780 h 668464"/>
                <a:gd name="connsiteX22" fmla="*/ 275749 w 550926"/>
                <a:gd name="connsiteY22" fmla="*/ 103918 h 668464"/>
                <a:gd name="connsiteX23" fmla="*/ 120587 w 550926"/>
                <a:gd name="connsiteY23" fmla="*/ 103918 h 668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50926" h="668464">
                  <a:moveTo>
                    <a:pt x="120587" y="482632"/>
                  </a:moveTo>
                  <a:lnTo>
                    <a:pt x="120587" y="614839"/>
                  </a:lnTo>
                  <a:cubicBezTo>
                    <a:pt x="120587" y="633127"/>
                    <a:pt x="114110" y="646557"/>
                    <a:pt x="101156" y="655320"/>
                  </a:cubicBezTo>
                  <a:cubicBezTo>
                    <a:pt x="88202" y="664083"/>
                    <a:pt x="74390" y="668464"/>
                    <a:pt x="59722" y="668464"/>
                  </a:cubicBezTo>
                  <a:cubicBezTo>
                    <a:pt x="45053" y="668464"/>
                    <a:pt x="30575" y="664083"/>
                    <a:pt x="18288" y="655320"/>
                  </a:cubicBezTo>
                  <a:cubicBezTo>
                    <a:pt x="6096" y="646557"/>
                    <a:pt x="0" y="633508"/>
                    <a:pt x="0" y="615982"/>
                  </a:cubicBezTo>
                  <a:lnTo>
                    <a:pt x="0" y="54578"/>
                  </a:lnTo>
                  <a:cubicBezTo>
                    <a:pt x="0" y="38481"/>
                    <a:pt x="5810" y="25337"/>
                    <a:pt x="17621" y="15240"/>
                  </a:cubicBezTo>
                  <a:cubicBezTo>
                    <a:pt x="29528" y="5048"/>
                    <a:pt x="43910" y="0"/>
                    <a:pt x="60674" y="0"/>
                  </a:cubicBezTo>
                  <a:lnTo>
                    <a:pt x="274796" y="0"/>
                  </a:lnTo>
                  <a:cubicBezTo>
                    <a:pt x="332804" y="0"/>
                    <a:pt x="382524" y="10287"/>
                    <a:pt x="423863" y="30956"/>
                  </a:cubicBezTo>
                  <a:cubicBezTo>
                    <a:pt x="465201" y="51626"/>
                    <a:pt x="496634" y="80296"/>
                    <a:pt x="518350" y="117062"/>
                  </a:cubicBezTo>
                  <a:cubicBezTo>
                    <a:pt x="540068" y="153733"/>
                    <a:pt x="550926" y="196882"/>
                    <a:pt x="550926" y="246412"/>
                  </a:cubicBezTo>
                  <a:cubicBezTo>
                    <a:pt x="550926" y="317087"/>
                    <a:pt x="526447" y="374142"/>
                    <a:pt x="477488" y="417481"/>
                  </a:cubicBezTo>
                  <a:cubicBezTo>
                    <a:pt x="428530" y="460915"/>
                    <a:pt x="359950" y="482537"/>
                    <a:pt x="271748" y="482537"/>
                  </a:cubicBezTo>
                  <a:lnTo>
                    <a:pt x="120777" y="482537"/>
                  </a:lnTo>
                  <a:close/>
                  <a:moveTo>
                    <a:pt x="120587" y="103822"/>
                  </a:moveTo>
                  <a:lnTo>
                    <a:pt x="120587" y="378905"/>
                  </a:lnTo>
                  <a:lnTo>
                    <a:pt x="271558" y="378905"/>
                  </a:lnTo>
                  <a:cubicBezTo>
                    <a:pt x="323374" y="378905"/>
                    <a:pt x="362903" y="366903"/>
                    <a:pt x="390239" y="342805"/>
                  </a:cubicBezTo>
                  <a:cubicBezTo>
                    <a:pt x="417481" y="318611"/>
                    <a:pt x="431102" y="286512"/>
                    <a:pt x="431102" y="246602"/>
                  </a:cubicBezTo>
                  <a:cubicBezTo>
                    <a:pt x="431102" y="203263"/>
                    <a:pt x="417576" y="168593"/>
                    <a:pt x="390620" y="142780"/>
                  </a:cubicBezTo>
                  <a:cubicBezTo>
                    <a:pt x="363760" y="116872"/>
                    <a:pt x="325469" y="103918"/>
                    <a:pt x="275749" y="103918"/>
                  </a:cubicBezTo>
                  <a:lnTo>
                    <a:pt x="120587" y="10391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1FA9CFC1-4A21-56F6-6B6D-2A9313EB663B}"/>
                </a:ext>
              </a:extLst>
            </p:cNvPr>
            <p:cNvSpPr/>
            <p:nvPr/>
          </p:nvSpPr>
          <p:spPr>
            <a:xfrm>
              <a:off x="6778458" y="3224547"/>
              <a:ext cx="69934" cy="390309"/>
            </a:xfrm>
            <a:custGeom>
              <a:avLst/>
              <a:gdLst>
                <a:gd name="connsiteX0" fmla="*/ 121634 w 121634"/>
                <a:gd name="connsiteY0" fmla="*/ 66104 h 678846"/>
                <a:gd name="connsiteX1" fmla="*/ 102203 w 121634"/>
                <a:gd name="connsiteY1" fmla="*/ 105442 h 678846"/>
                <a:gd name="connsiteX2" fmla="*/ 60770 w 121634"/>
                <a:gd name="connsiteY2" fmla="*/ 118586 h 678846"/>
                <a:gd name="connsiteX3" fmla="*/ 18860 w 121634"/>
                <a:gd name="connsiteY3" fmla="*/ 105442 h 678846"/>
                <a:gd name="connsiteX4" fmla="*/ 0 w 121634"/>
                <a:gd name="connsiteY4" fmla="*/ 66104 h 678846"/>
                <a:gd name="connsiteX5" fmla="*/ 0 w 121634"/>
                <a:gd name="connsiteY5" fmla="*/ 52388 h 678846"/>
                <a:gd name="connsiteX6" fmla="*/ 18860 w 121634"/>
                <a:gd name="connsiteY6" fmla="*/ 12668 h 678846"/>
                <a:gd name="connsiteX7" fmla="*/ 60770 w 121634"/>
                <a:gd name="connsiteY7" fmla="*/ 0 h 678846"/>
                <a:gd name="connsiteX8" fmla="*/ 102203 w 121634"/>
                <a:gd name="connsiteY8" fmla="*/ 12668 h 678846"/>
                <a:gd name="connsiteX9" fmla="*/ 121634 w 121634"/>
                <a:gd name="connsiteY9" fmla="*/ 52388 h 678846"/>
                <a:gd name="connsiteX10" fmla="*/ 121634 w 121634"/>
                <a:gd name="connsiteY10" fmla="*/ 66104 h 678846"/>
                <a:gd name="connsiteX11" fmla="*/ 953 w 121634"/>
                <a:gd name="connsiteY11" fmla="*/ 196215 h 678846"/>
                <a:gd name="connsiteX12" fmla="*/ 20384 w 121634"/>
                <a:gd name="connsiteY12" fmla="*/ 157925 h 678846"/>
                <a:gd name="connsiteX13" fmla="*/ 60674 w 121634"/>
                <a:gd name="connsiteY13" fmla="*/ 144589 h 678846"/>
                <a:gd name="connsiteX14" fmla="*/ 101727 w 121634"/>
                <a:gd name="connsiteY14" fmla="*/ 157925 h 678846"/>
                <a:gd name="connsiteX15" fmla="*/ 120587 w 121634"/>
                <a:gd name="connsiteY15" fmla="*/ 195072 h 678846"/>
                <a:gd name="connsiteX16" fmla="*/ 120587 w 121634"/>
                <a:gd name="connsiteY16" fmla="*/ 627507 h 678846"/>
                <a:gd name="connsiteX17" fmla="*/ 101727 w 121634"/>
                <a:gd name="connsiteY17" fmla="*/ 666369 h 678846"/>
                <a:gd name="connsiteX18" fmla="*/ 60674 w 121634"/>
                <a:gd name="connsiteY18" fmla="*/ 678847 h 678846"/>
                <a:gd name="connsiteX19" fmla="*/ 20384 w 121634"/>
                <a:gd name="connsiteY19" fmla="*/ 666369 h 678846"/>
                <a:gd name="connsiteX20" fmla="*/ 953 w 121634"/>
                <a:gd name="connsiteY20" fmla="*/ 627507 h 678846"/>
                <a:gd name="connsiteX21" fmla="*/ 953 w 121634"/>
                <a:gd name="connsiteY21" fmla="*/ 196310 h 678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634" h="678846">
                  <a:moveTo>
                    <a:pt x="121634" y="66104"/>
                  </a:moveTo>
                  <a:cubicBezTo>
                    <a:pt x="121634" y="83534"/>
                    <a:pt x="115158" y="96679"/>
                    <a:pt x="102203" y="105442"/>
                  </a:cubicBezTo>
                  <a:cubicBezTo>
                    <a:pt x="89345" y="114205"/>
                    <a:pt x="75533" y="118586"/>
                    <a:pt x="60770" y="118586"/>
                  </a:cubicBezTo>
                  <a:cubicBezTo>
                    <a:pt x="46006" y="118586"/>
                    <a:pt x="31433" y="114205"/>
                    <a:pt x="18860" y="105442"/>
                  </a:cubicBezTo>
                  <a:cubicBezTo>
                    <a:pt x="6287" y="96679"/>
                    <a:pt x="0" y="83629"/>
                    <a:pt x="0" y="66104"/>
                  </a:cubicBezTo>
                  <a:lnTo>
                    <a:pt x="0" y="52388"/>
                  </a:lnTo>
                  <a:cubicBezTo>
                    <a:pt x="0" y="34290"/>
                    <a:pt x="6287" y="21050"/>
                    <a:pt x="18860" y="12668"/>
                  </a:cubicBezTo>
                  <a:cubicBezTo>
                    <a:pt x="31433" y="4191"/>
                    <a:pt x="45339" y="0"/>
                    <a:pt x="60770" y="0"/>
                  </a:cubicBezTo>
                  <a:cubicBezTo>
                    <a:pt x="76200" y="0"/>
                    <a:pt x="89440" y="4286"/>
                    <a:pt x="102203" y="12668"/>
                  </a:cubicBezTo>
                  <a:cubicBezTo>
                    <a:pt x="115158" y="21050"/>
                    <a:pt x="121634" y="34290"/>
                    <a:pt x="121634" y="52388"/>
                  </a:cubicBezTo>
                  <a:lnTo>
                    <a:pt x="121634" y="66104"/>
                  </a:lnTo>
                  <a:close/>
                  <a:moveTo>
                    <a:pt x="953" y="196215"/>
                  </a:moveTo>
                  <a:cubicBezTo>
                    <a:pt x="953" y="179451"/>
                    <a:pt x="7430" y="166688"/>
                    <a:pt x="20384" y="157925"/>
                  </a:cubicBezTo>
                  <a:cubicBezTo>
                    <a:pt x="33338" y="149066"/>
                    <a:pt x="46768" y="144589"/>
                    <a:pt x="60674" y="144589"/>
                  </a:cubicBezTo>
                  <a:cubicBezTo>
                    <a:pt x="75438" y="144589"/>
                    <a:pt x="89154" y="149066"/>
                    <a:pt x="101727" y="157925"/>
                  </a:cubicBezTo>
                  <a:cubicBezTo>
                    <a:pt x="114300" y="166688"/>
                    <a:pt x="120587" y="179070"/>
                    <a:pt x="120587" y="195072"/>
                  </a:cubicBezTo>
                  <a:lnTo>
                    <a:pt x="120587" y="627507"/>
                  </a:lnTo>
                  <a:cubicBezTo>
                    <a:pt x="120587" y="644938"/>
                    <a:pt x="114300" y="657987"/>
                    <a:pt x="101727" y="666369"/>
                  </a:cubicBezTo>
                  <a:cubicBezTo>
                    <a:pt x="89154" y="674751"/>
                    <a:pt x="75438" y="678847"/>
                    <a:pt x="60674" y="678847"/>
                  </a:cubicBezTo>
                  <a:cubicBezTo>
                    <a:pt x="46768" y="678847"/>
                    <a:pt x="33338" y="674656"/>
                    <a:pt x="20384" y="666369"/>
                  </a:cubicBezTo>
                  <a:cubicBezTo>
                    <a:pt x="7430" y="657892"/>
                    <a:pt x="953" y="644938"/>
                    <a:pt x="953" y="627507"/>
                  </a:cubicBezTo>
                  <a:lnTo>
                    <a:pt x="953" y="1963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3" name="Forme libre : forme 132">
              <a:extLst>
                <a:ext uri="{FF2B5EF4-FFF2-40B4-BE49-F238E27FC236}">
                  <a16:creationId xmlns:a16="http://schemas.microsoft.com/office/drawing/2014/main" id="{65E40BA4-591A-D91A-5045-59F2839F31D9}"/>
                </a:ext>
              </a:extLst>
            </p:cNvPr>
            <p:cNvSpPr/>
            <p:nvPr/>
          </p:nvSpPr>
          <p:spPr>
            <a:xfrm>
              <a:off x="6900858" y="3224547"/>
              <a:ext cx="68784" cy="390309"/>
            </a:xfrm>
            <a:custGeom>
              <a:avLst/>
              <a:gdLst>
                <a:gd name="connsiteX0" fmla="*/ 119634 w 119633"/>
                <a:gd name="connsiteY0" fmla="*/ 626459 h 678846"/>
                <a:gd name="connsiteX1" fmla="*/ 102203 w 119633"/>
                <a:gd name="connsiteY1" fmla="*/ 663130 h 678846"/>
                <a:gd name="connsiteX2" fmla="*/ 59722 w 119633"/>
                <a:gd name="connsiteY2" fmla="*/ 678847 h 678846"/>
                <a:gd name="connsiteX3" fmla="*/ 16669 w 119633"/>
                <a:gd name="connsiteY3" fmla="*/ 663130 h 678846"/>
                <a:gd name="connsiteX4" fmla="*/ 0 w 119633"/>
                <a:gd name="connsiteY4" fmla="*/ 626459 h 678846"/>
                <a:gd name="connsiteX5" fmla="*/ 0 w 119633"/>
                <a:gd name="connsiteY5" fmla="*/ 52388 h 678846"/>
                <a:gd name="connsiteX6" fmla="*/ 16669 w 119633"/>
                <a:gd name="connsiteY6" fmla="*/ 15716 h 678846"/>
                <a:gd name="connsiteX7" fmla="*/ 59722 w 119633"/>
                <a:gd name="connsiteY7" fmla="*/ 0 h 678846"/>
                <a:gd name="connsiteX8" fmla="*/ 102203 w 119633"/>
                <a:gd name="connsiteY8" fmla="*/ 15716 h 678846"/>
                <a:gd name="connsiteX9" fmla="*/ 119634 w 119633"/>
                <a:gd name="connsiteY9" fmla="*/ 52388 h 678846"/>
                <a:gd name="connsiteX10" fmla="*/ 119634 w 119633"/>
                <a:gd name="connsiteY10" fmla="*/ 626459 h 678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633" h="678846">
                  <a:moveTo>
                    <a:pt x="119634" y="626459"/>
                  </a:moveTo>
                  <a:cubicBezTo>
                    <a:pt x="119634" y="640366"/>
                    <a:pt x="113824" y="652558"/>
                    <a:pt x="102203" y="663130"/>
                  </a:cubicBezTo>
                  <a:cubicBezTo>
                    <a:pt x="90678" y="673608"/>
                    <a:pt x="76486" y="678847"/>
                    <a:pt x="59722" y="678847"/>
                  </a:cubicBezTo>
                  <a:cubicBezTo>
                    <a:pt x="42958" y="678847"/>
                    <a:pt x="27908" y="673608"/>
                    <a:pt x="16669" y="663130"/>
                  </a:cubicBezTo>
                  <a:cubicBezTo>
                    <a:pt x="5525" y="652558"/>
                    <a:pt x="0" y="640271"/>
                    <a:pt x="0" y="626459"/>
                  </a:cubicBezTo>
                  <a:lnTo>
                    <a:pt x="0" y="52388"/>
                  </a:lnTo>
                  <a:cubicBezTo>
                    <a:pt x="0" y="38386"/>
                    <a:pt x="5525" y="26098"/>
                    <a:pt x="16669" y="15716"/>
                  </a:cubicBezTo>
                  <a:cubicBezTo>
                    <a:pt x="27908" y="5334"/>
                    <a:pt x="42291" y="0"/>
                    <a:pt x="59722" y="0"/>
                  </a:cubicBezTo>
                  <a:cubicBezTo>
                    <a:pt x="77153" y="0"/>
                    <a:pt x="90678" y="5239"/>
                    <a:pt x="102203" y="15716"/>
                  </a:cubicBezTo>
                  <a:cubicBezTo>
                    <a:pt x="113824" y="26194"/>
                    <a:pt x="119634" y="38481"/>
                    <a:pt x="119634" y="52388"/>
                  </a:cubicBezTo>
                  <a:lnTo>
                    <a:pt x="119634" y="6264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4" name="Forme libre : forme 133">
              <a:extLst>
                <a:ext uri="{FF2B5EF4-FFF2-40B4-BE49-F238E27FC236}">
                  <a16:creationId xmlns:a16="http://schemas.microsoft.com/office/drawing/2014/main" id="{F56416D7-11ED-9259-6002-0CA645097C4B}"/>
                </a:ext>
              </a:extLst>
            </p:cNvPr>
            <p:cNvSpPr/>
            <p:nvPr/>
          </p:nvSpPr>
          <p:spPr>
            <a:xfrm>
              <a:off x="7022764" y="3224547"/>
              <a:ext cx="68784" cy="390309"/>
            </a:xfrm>
            <a:custGeom>
              <a:avLst/>
              <a:gdLst>
                <a:gd name="connsiteX0" fmla="*/ 119634 w 119633"/>
                <a:gd name="connsiteY0" fmla="*/ 626459 h 678846"/>
                <a:gd name="connsiteX1" fmla="*/ 102203 w 119633"/>
                <a:gd name="connsiteY1" fmla="*/ 663130 h 678846"/>
                <a:gd name="connsiteX2" fmla="*/ 59722 w 119633"/>
                <a:gd name="connsiteY2" fmla="*/ 678847 h 678846"/>
                <a:gd name="connsiteX3" fmla="*/ 16669 w 119633"/>
                <a:gd name="connsiteY3" fmla="*/ 663130 h 678846"/>
                <a:gd name="connsiteX4" fmla="*/ 0 w 119633"/>
                <a:gd name="connsiteY4" fmla="*/ 626459 h 678846"/>
                <a:gd name="connsiteX5" fmla="*/ 0 w 119633"/>
                <a:gd name="connsiteY5" fmla="*/ 52388 h 678846"/>
                <a:gd name="connsiteX6" fmla="*/ 16669 w 119633"/>
                <a:gd name="connsiteY6" fmla="*/ 15716 h 678846"/>
                <a:gd name="connsiteX7" fmla="*/ 59722 w 119633"/>
                <a:gd name="connsiteY7" fmla="*/ 0 h 678846"/>
                <a:gd name="connsiteX8" fmla="*/ 102203 w 119633"/>
                <a:gd name="connsiteY8" fmla="*/ 15716 h 678846"/>
                <a:gd name="connsiteX9" fmla="*/ 119634 w 119633"/>
                <a:gd name="connsiteY9" fmla="*/ 52388 h 678846"/>
                <a:gd name="connsiteX10" fmla="*/ 119634 w 119633"/>
                <a:gd name="connsiteY10" fmla="*/ 626459 h 678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633" h="678846">
                  <a:moveTo>
                    <a:pt x="119634" y="626459"/>
                  </a:moveTo>
                  <a:cubicBezTo>
                    <a:pt x="119634" y="640366"/>
                    <a:pt x="113824" y="652558"/>
                    <a:pt x="102203" y="663130"/>
                  </a:cubicBezTo>
                  <a:cubicBezTo>
                    <a:pt x="90678" y="673608"/>
                    <a:pt x="76486" y="678847"/>
                    <a:pt x="59722" y="678847"/>
                  </a:cubicBezTo>
                  <a:cubicBezTo>
                    <a:pt x="42958" y="678847"/>
                    <a:pt x="27908" y="673608"/>
                    <a:pt x="16669" y="663130"/>
                  </a:cubicBezTo>
                  <a:cubicBezTo>
                    <a:pt x="5524" y="652558"/>
                    <a:pt x="0" y="640271"/>
                    <a:pt x="0" y="626459"/>
                  </a:cubicBezTo>
                  <a:lnTo>
                    <a:pt x="0" y="52388"/>
                  </a:lnTo>
                  <a:cubicBezTo>
                    <a:pt x="0" y="38386"/>
                    <a:pt x="5524" y="26098"/>
                    <a:pt x="16669" y="15716"/>
                  </a:cubicBezTo>
                  <a:cubicBezTo>
                    <a:pt x="27908" y="5334"/>
                    <a:pt x="42291" y="0"/>
                    <a:pt x="59722" y="0"/>
                  </a:cubicBezTo>
                  <a:cubicBezTo>
                    <a:pt x="77153" y="0"/>
                    <a:pt x="90678" y="5239"/>
                    <a:pt x="102203" y="15716"/>
                  </a:cubicBezTo>
                  <a:cubicBezTo>
                    <a:pt x="113824" y="26194"/>
                    <a:pt x="119634" y="38481"/>
                    <a:pt x="119634" y="52388"/>
                  </a:cubicBezTo>
                  <a:lnTo>
                    <a:pt x="119634" y="6264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5" name="Forme libre : forme 134">
              <a:extLst>
                <a:ext uri="{FF2B5EF4-FFF2-40B4-BE49-F238E27FC236}">
                  <a16:creationId xmlns:a16="http://schemas.microsoft.com/office/drawing/2014/main" id="{82A74469-A3CE-7023-01B2-F11495C7DEEC}"/>
                </a:ext>
              </a:extLst>
            </p:cNvPr>
            <p:cNvSpPr/>
            <p:nvPr/>
          </p:nvSpPr>
          <p:spPr>
            <a:xfrm>
              <a:off x="7130250" y="3301711"/>
              <a:ext cx="284684" cy="319005"/>
            </a:xfrm>
            <a:custGeom>
              <a:avLst/>
              <a:gdLst>
                <a:gd name="connsiteX0" fmla="*/ 1935 w 495139"/>
                <a:gd name="connsiteY0" fmla="*/ 419862 h 554831"/>
                <a:gd name="connsiteX1" fmla="*/ 15461 w 495139"/>
                <a:gd name="connsiteY1" fmla="*/ 372618 h 554831"/>
                <a:gd name="connsiteX2" fmla="*/ 61657 w 495139"/>
                <a:gd name="connsiteY2" fmla="*/ 354711 h 554831"/>
                <a:gd name="connsiteX3" fmla="*/ 95185 w 495139"/>
                <a:gd name="connsiteY3" fmla="*/ 365855 h 554831"/>
                <a:gd name="connsiteX4" fmla="*/ 117188 w 495139"/>
                <a:gd name="connsiteY4" fmla="*/ 398812 h 554831"/>
                <a:gd name="connsiteX5" fmla="*/ 144620 w 495139"/>
                <a:gd name="connsiteY5" fmla="*/ 429768 h 554831"/>
                <a:gd name="connsiteX6" fmla="*/ 193483 w 495139"/>
                <a:gd name="connsiteY6" fmla="*/ 447199 h 554831"/>
                <a:gd name="connsiteX7" fmla="*/ 249680 w 495139"/>
                <a:gd name="connsiteY7" fmla="*/ 452342 h 554831"/>
                <a:gd name="connsiteX8" fmla="*/ 340739 w 495139"/>
                <a:gd name="connsiteY8" fmla="*/ 431863 h 554831"/>
                <a:gd name="connsiteX9" fmla="*/ 375505 w 495139"/>
                <a:gd name="connsiteY9" fmla="*/ 379857 h 554831"/>
                <a:gd name="connsiteX10" fmla="*/ 357027 w 495139"/>
                <a:gd name="connsiteY10" fmla="*/ 347282 h 554831"/>
                <a:gd name="connsiteX11" fmla="*/ 308830 w 495139"/>
                <a:gd name="connsiteY11" fmla="*/ 332613 h 554831"/>
                <a:gd name="connsiteX12" fmla="*/ 245489 w 495139"/>
                <a:gd name="connsiteY12" fmla="*/ 326231 h 554831"/>
                <a:gd name="connsiteX13" fmla="*/ 158812 w 495139"/>
                <a:gd name="connsiteY13" fmla="*/ 315754 h 554831"/>
                <a:gd name="connsiteX14" fmla="*/ 81659 w 495139"/>
                <a:gd name="connsiteY14" fmla="*/ 294322 h 554831"/>
                <a:gd name="connsiteX15" fmla="*/ 26129 w 495139"/>
                <a:gd name="connsiteY15" fmla="*/ 249269 h 554831"/>
                <a:gd name="connsiteX16" fmla="*/ 5269 w 495139"/>
                <a:gd name="connsiteY16" fmla="*/ 167926 h 554831"/>
                <a:gd name="connsiteX17" fmla="*/ 34606 w 495139"/>
                <a:gd name="connsiteY17" fmla="*/ 79820 h 554831"/>
                <a:gd name="connsiteX18" fmla="*/ 117378 w 495139"/>
                <a:gd name="connsiteY18" fmla="*/ 21050 h 554831"/>
                <a:gd name="connsiteX19" fmla="*/ 241203 w 495139"/>
                <a:gd name="connsiteY19" fmla="*/ 0 h 554831"/>
                <a:gd name="connsiteX20" fmla="*/ 329500 w 495139"/>
                <a:gd name="connsiteY20" fmla="*/ 7906 h 554831"/>
                <a:gd name="connsiteX21" fmla="*/ 417035 w 495139"/>
                <a:gd name="connsiteY21" fmla="*/ 39815 h 554831"/>
                <a:gd name="connsiteX22" fmla="*/ 476375 w 495139"/>
                <a:gd name="connsiteY22" fmla="*/ 114205 h 554831"/>
                <a:gd name="connsiteX23" fmla="*/ 475137 w 495139"/>
                <a:gd name="connsiteY23" fmla="*/ 151543 h 554831"/>
                <a:gd name="connsiteX24" fmla="*/ 450563 w 495139"/>
                <a:gd name="connsiteY24" fmla="*/ 176117 h 554831"/>
                <a:gd name="connsiteX25" fmla="*/ 417606 w 495139"/>
                <a:gd name="connsiteY25" fmla="*/ 184499 h 554831"/>
                <a:gd name="connsiteX26" fmla="*/ 386650 w 495139"/>
                <a:gd name="connsiteY26" fmla="*/ 177165 h 554831"/>
                <a:gd name="connsiteX27" fmla="*/ 366171 w 495139"/>
                <a:gd name="connsiteY27" fmla="*/ 151924 h 554831"/>
                <a:gd name="connsiteX28" fmla="*/ 333977 w 495139"/>
                <a:gd name="connsiteY28" fmla="*/ 119348 h 554831"/>
                <a:gd name="connsiteX29" fmla="*/ 285780 w 495139"/>
                <a:gd name="connsiteY29" fmla="*/ 106204 h 554831"/>
                <a:gd name="connsiteX30" fmla="*/ 241108 w 495139"/>
                <a:gd name="connsiteY30" fmla="*/ 103632 h 554831"/>
                <a:gd name="connsiteX31" fmla="*/ 156526 w 495139"/>
                <a:gd name="connsiteY31" fmla="*/ 121539 h 554831"/>
                <a:gd name="connsiteX32" fmla="*/ 124617 w 495139"/>
                <a:gd name="connsiteY32" fmla="*/ 168783 h 554831"/>
                <a:gd name="connsiteX33" fmla="*/ 141476 w 495139"/>
                <a:gd name="connsiteY33" fmla="*/ 202883 h 554831"/>
                <a:gd name="connsiteX34" fmla="*/ 187101 w 495139"/>
                <a:gd name="connsiteY34" fmla="*/ 213360 h 554831"/>
                <a:gd name="connsiteX35" fmla="*/ 251585 w 495139"/>
                <a:gd name="connsiteY35" fmla="*/ 219075 h 554831"/>
                <a:gd name="connsiteX36" fmla="*/ 338739 w 495139"/>
                <a:gd name="connsiteY36" fmla="*/ 230600 h 554831"/>
                <a:gd name="connsiteX37" fmla="*/ 417511 w 495139"/>
                <a:gd name="connsiteY37" fmla="*/ 252222 h 554831"/>
                <a:gd name="connsiteX38" fmla="*/ 474089 w 495139"/>
                <a:gd name="connsiteY38" fmla="*/ 297275 h 554831"/>
                <a:gd name="connsiteX39" fmla="*/ 495139 w 495139"/>
                <a:gd name="connsiteY39" fmla="*/ 379667 h 554831"/>
                <a:gd name="connsiteX40" fmla="*/ 464183 w 495139"/>
                <a:gd name="connsiteY40" fmla="*/ 470916 h 554831"/>
                <a:gd name="connsiteX41" fmla="*/ 378077 w 495139"/>
                <a:gd name="connsiteY41" fmla="*/ 532829 h 554831"/>
                <a:gd name="connsiteX42" fmla="*/ 249680 w 495139"/>
                <a:gd name="connsiteY42" fmla="*/ 554831 h 554831"/>
                <a:gd name="connsiteX43" fmla="*/ 178814 w 495139"/>
                <a:gd name="connsiteY43" fmla="*/ 550069 h 554831"/>
                <a:gd name="connsiteX44" fmla="*/ 104234 w 495139"/>
                <a:gd name="connsiteY44" fmla="*/ 531209 h 554831"/>
                <a:gd name="connsiteX45" fmla="*/ 40702 w 495139"/>
                <a:gd name="connsiteY45" fmla="*/ 490347 h 554831"/>
                <a:gd name="connsiteX46" fmla="*/ 2030 w 495139"/>
                <a:gd name="connsiteY46" fmla="*/ 419481 h 5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495139" h="554831">
                  <a:moveTo>
                    <a:pt x="1935" y="419862"/>
                  </a:moveTo>
                  <a:cubicBezTo>
                    <a:pt x="-3018" y="400336"/>
                    <a:pt x="1554" y="384524"/>
                    <a:pt x="15461" y="372618"/>
                  </a:cubicBezTo>
                  <a:cubicBezTo>
                    <a:pt x="29462" y="360712"/>
                    <a:pt x="44893" y="354711"/>
                    <a:pt x="61657" y="354711"/>
                  </a:cubicBezTo>
                  <a:cubicBezTo>
                    <a:pt x="74230" y="354711"/>
                    <a:pt x="85374" y="358426"/>
                    <a:pt x="95185" y="365855"/>
                  </a:cubicBezTo>
                  <a:cubicBezTo>
                    <a:pt x="104996" y="373190"/>
                    <a:pt x="112330" y="384143"/>
                    <a:pt x="117188" y="398812"/>
                  </a:cubicBezTo>
                  <a:cubicBezTo>
                    <a:pt x="121379" y="411385"/>
                    <a:pt x="130522" y="421767"/>
                    <a:pt x="144620" y="429768"/>
                  </a:cubicBezTo>
                  <a:cubicBezTo>
                    <a:pt x="158621" y="437864"/>
                    <a:pt x="174909" y="443675"/>
                    <a:pt x="193483" y="447199"/>
                  </a:cubicBezTo>
                  <a:cubicBezTo>
                    <a:pt x="211961" y="450628"/>
                    <a:pt x="230726" y="452342"/>
                    <a:pt x="249680" y="452342"/>
                  </a:cubicBezTo>
                  <a:cubicBezTo>
                    <a:pt x="287399" y="452342"/>
                    <a:pt x="317784" y="445580"/>
                    <a:pt x="340739" y="431863"/>
                  </a:cubicBezTo>
                  <a:cubicBezTo>
                    <a:pt x="363885" y="418147"/>
                    <a:pt x="375505" y="400812"/>
                    <a:pt x="375505" y="379857"/>
                  </a:cubicBezTo>
                  <a:cubicBezTo>
                    <a:pt x="375505" y="365188"/>
                    <a:pt x="369314" y="354330"/>
                    <a:pt x="357027" y="347282"/>
                  </a:cubicBezTo>
                  <a:cubicBezTo>
                    <a:pt x="344835" y="340328"/>
                    <a:pt x="328738" y="335375"/>
                    <a:pt x="308830" y="332613"/>
                  </a:cubicBezTo>
                  <a:cubicBezTo>
                    <a:pt x="289019" y="329851"/>
                    <a:pt x="267873" y="327755"/>
                    <a:pt x="245489" y="326231"/>
                  </a:cubicBezTo>
                  <a:cubicBezTo>
                    <a:pt x="215962" y="323469"/>
                    <a:pt x="187006" y="319945"/>
                    <a:pt x="158812" y="315754"/>
                  </a:cubicBezTo>
                  <a:cubicBezTo>
                    <a:pt x="130522" y="311563"/>
                    <a:pt x="104710" y="304419"/>
                    <a:pt x="81659" y="294322"/>
                  </a:cubicBezTo>
                  <a:cubicBezTo>
                    <a:pt x="58609" y="284131"/>
                    <a:pt x="40130" y="269081"/>
                    <a:pt x="26129" y="249269"/>
                  </a:cubicBezTo>
                  <a:cubicBezTo>
                    <a:pt x="12222" y="229362"/>
                    <a:pt x="5269" y="202216"/>
                    <a:pt x="5269" y="167926"/>
                  </a:cubicBezTo>
                  <a:cubicBezTo>
                    <a:pt x="5269" y="133636"/>
                    <a:pt x="15079" y="104966"/>
                    <a:pt x="34606" y="79820"/>
                  </a:cubicBezTo>
                  <a:cubicBezTo>
                    <a:pt x="54132" y="54578"/>
                    <a:pt x="81755" y="34957"/>
                    <a:pt x="117378" y="21050"/>
                  </a:cubicBezTo>
                  <a:cubicBezTo>
                    <a:pt x="153097" y="7049"/>
                    <a:pt x="194340" y="0"/>
                    <a:pt x="241203" y="0"/>
                  </a:cubicBezTo>
                  <a:cubicBezTo>
                    <a:pt x="268635" y="0"/>
                    <a:pt x="297972" y="2667"/>
                    <a:pt x="329500" y="7906"/>
                  </a:cubicBezTo>
                  <a:cubicBezTo>
                    <a:pt x="360932" y="13049"/>
                    <a:pt x="390079" y="23717"/>
                    <a:pt x="417035" y="39815"/>
                  </a:cubicBezTo>
                  <a:cubicBezTo>
                    <a:pt x="443990" y="55817"/>
                    <a:pt x="463802" y="80677"/>
                    <a:pt x="476375" y="114205"/>
                  </a:cubicBezTo>
                  <a:cubicBezTo>
                    <a:pt x="481233" y="128207"/>
                    <a:pt x="480852" y="140684"/>
                    <a:pt x="475137" y="151543"/>
                  </a:cubicBezTo>
                  <a:cubicBezTo>
                    <a:pt x="469613" y="162401"/>
                    <a:pt x="461326" y="170593"/>
                    <a:pt x="450563" y="176117"/>
                  </a:cubicBezTo>
                  <a:cubicBezTo>
                    <a:pt x="439704" y="181642"/>
                    <a:pt x="428750" y="184499"/>
                    <a:pt x="417606" y="184499"/>
                  </a:cubicBezTo>
                  <a:cubicBezTo>
                    <a:pt x="405033" y="184499"/>
                    <a:pt x="394651" y="182023"/>
                    <a:pt x="386650" y="177165"/>
                  </a:cubicBezTo>
                  <a:cubicBezTo>
                    <a:pt x="378554" y="172307"/>
                    <a:pt x="371791" y="163830"/>
                    <a:pt x="366171" y="151924"/>
                  </a:cubicBezTo>
                  <a:cubicBezTo>
                    <a:pt x="359789" y="137255"/>
                    <a:pt x="349121" y="126397"/>
                    <a:pt x="333977" y="119348"/>
                  </a:cubicBezTo>
                  <a:cubicBezTo>
                    <a:pt x="319022" y="112395"/>
                    <a:pt x="302925" y="108013"/>
                    <a:pt x="285780" y="106204"/>
                  </a:cubicBezTo>
                  <a:cubicBezTo>
                    <a:pt x="268730" y="104489"/>
                    <a:pt x="253871" y="103632"/>
                    <a:pt x="241108" y="103632"/>
                  </a:cubicBezTo>
                  <a:cubicBezTo>
                    <a:pt x="206151" y="103632"/>
                    <a:pt x="177957" y="109633"/>
                    <a:pt x="156526" y="121539"/>
                  </a:cubicBezTo>
                  <a:cubicBezTo>
                    <a:pt x="135190" y="133445"/>
                    <a:pt x="124617" y="149257"/>
                    <a:pt x="124617" y="168783"/>
                  </a:cubicBezTo>
                  <a:cubicBezTo>
                    <a:pt x="124617" y="185642"/>
                    <a:pt x="130237" y="196977"/>
                    <a:pt x="141476" y="202883"/>
                  </a:cubicBezTo>
                  <a:cubicBezTo>
                    <a:pt x="152716" y="208883"/>
                    <a:pt x="167956" y="212312"/>
                    <a:pt x="187101" y="213360"/>
                  </a:cubicBezTo>
                  <a:cubicBezTo>
                    <a:pt x="206246" y="214408"/>
                    <a:pt x="227773" y="216313"/>
                    <a:pt x="251585" y="219075"/>
                  </a:cubicBezTo>
                  <a:cubicBezTo>
                    <a:pt x="280922" y="222504"/>
                    <a:pt x="309974" y="226409"/>
                    <a:pt x="338739" y="230600"/>
                  </a:cubicBezTo>
                  <a:cubicBezTo>
                    <a:pt x="367409" y="234887"/>
                    <a:pt x="393698" y="242030"/>
                    <a:pt x="417511" y="252222"/>
                  </a:cubicBezTo>
                  <a:cubicBezTo>
                    <a:pt x="441323" y="262319"/>
                    <a:pt x="460183" y="277368"/>
                    <a:pt x="474089" y="297275"/>
                  </a:cubicBezTo>
                  <a:cubicBezTo>
                    <a:pt x="488091" y="317087"/>
                    <a:pt x="495139" y="344615"/>
                    <a:pt x="495139" y="379667"/>
                  </a:cubicBezTo>
                  <a:cubicBezTo>
                    <a:pt x="495139" y="414719"/>
                    <a:pt x="484853" y="444341"/>
                    <a:pt x="464183" y="470916"/>
                  </a:cubicBezTo>
                  <a:cubicBezTo>
                    <a:pt x="443514" y="497491"/>
                    <a:pt x="414844" y="518160"/>
                    <a:pt x="378077" y="532829"/>
                  </a:cubicBezTo>
                  <a:cubicBezTo>
                    <a:pt x="341406" y="547497"/>
                    <a:pt x="298639" y="554831"/>
                    <a:pt x="249680" y="554831"/>
                  </a:cubicBezTo>
                  <a:cubicBezTo>
                    <a:pt x="227963" y="554831"/>
                    <a:pt x="204341" y="553212"/>
                    <a:pt x="178814" y="550069"/>
                  </a:cubicBezTo>
                  <a:cubicBezTo>
                    <a:pt x="153287" y="546926"/>
                    <a:pt x="128427" y="540639"/>
                    <a:pt x="104234" y="531209"/>
                  </a:cubicBezTo>
                  <a:cubicBezTo>
                    <a:pt x="80135" y="521875"/>
                    <a:pt x="58990" y="508159"/>
                    <a:pt x="40702" y="490347"/>
                  </a:cubicBezTo>
                  <a:cubicBezTo>
                    <a:pt x="22509" y="472440"/>
                    <a:pt x="9650" y="448913"/>
                    <a:pt x="2030" y="41948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sp>
        <p:nvSpPr>
          <p:cNvPr id="139" name="ZoneTexte 138">
            <a:extLst>
              <a:ext uri="{FF2B5EF4-FFF2-40B4-BE49-F238E27FC236}">
                <a16:creationId xmlns:a16="http://schemas.microsoft.com/office/drawing/2014/main" id="{315CB75A-2040-201A-5A89-D16AD9B7A80A}"/>
              </a:ext>
            </a:extLst>
          </p:cNvPr>
          <p:cNvSpPr txBox="1"/>
          <p:nvPr/>
        </p:nvSpPr>
        <p:spPr>
          <a:xfrm>
            <a:off x="5791200" y="2104571"/>
            <a:ext cx="1349828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fr-FR" sz="2000" b="1">
                <a:solidFill>
                  <a:schemeClr val="tx2"/>
                </a:solidFill>
              </a:rPr>
              <a:t>People</a:t>
            </a:r>
          </a:p>
          <a:p>
            <a:pPr algn="r"/>
            <a:r>
              <a:rPr lang="fr-FR" sz="1200" b="1">
                <a:solidFill>
                  <a:schemeClr val="tx2"/>
                </a:solidFill>
              </a:rPr>
              <a:t>Performance </a:t>
            </a:r>
          </a:p>
          <a:p>
            <a:pPr algn="r"/>
            <a:r>
              <a:rPr lang="fr-FR" sz="1200" b="1">
                <a:solidFill>
                  <a:schemeClr val="tx2"/>
                </a:solidFill>
              </a:rPr>
              <a:t>sociale</a:t>
            </a:r>
            <a:endParaRPr lang="fr-FR" sz="1200" b="1">
              <a:solidFill>
                <a:schemeClr val="tx2"/>
              </a:solidFill>
              <a:latin typeface="+mj-lt"/>
            </a:endParaRPr>
          </a:p>
        </p:txBody>
      </p:sp>
      <p:sp>
        <p:nvSpPr>
          <p:cNvPr id="140" name="ZoneTexte 139">
            <a:extLst>
              <a:ext uri="{FF2B5EF4-FFF2-40B4-BE49-F238E27FC236}">
                <a16:creationId xmlns:a16="http://schemas.microsoft.com/office/drawing/2014/main" id="{3092F5C5-93BB-D865-E663-7AEF0A25100B}"/>
              </a:ext>
            </a:extLst>
          </p:cNvPr>
          <p:cNvSpPr txBox="1"/>
          <p:nvPr/>
        </p:nvSpPr>
        <p:spPr>
          <a:xfrm>
            <a:off x="10563298" y="2104571"/>
            <a:ext cx="1349828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2000" b="1">
                <a:solidFill>
                  <a:schemeClr val="tx2"/>
                </a:solidFill>
              </a:rPr>
              <a:t>Profit</a:t>
            </a:r>
          </a:p>
          <a:p>
            <a:r>
              <a:rPr lang="fr-FR" sz="1200" b="1">
                <a:solidFill>
                  <a:schemeClr val="tx2"/>
                </a:solidFill>
              </a:rPr>
              <a:t>Performance </a:t>
            </a:r>
          </a:p>
          <a:p>
            <a:r>
              <a:rPr lang="fr-FR" sz="1200" b="1">
                <a:solidFill>
                  <a:schemeClr val="tx2"/>
                </a:solidFill>
              </a:rPr>
              <a:t>économique</a:t>
            </a:r>
            <a:endParaRPr lang="fr-FR" sz="1200" b="1">
              <a:solidFill>
                <a:schemeClr val="tx2"/>
              </a:solidFill>
              <a:latin typeface="+mj-lt"/>
            </a:endParaRPr>
          </a:p>
        </p:txBody>
      </p:sp>
      <p:sp>
        <p:nvSpPr>
          <p:cNvPr id="141" name="ZoneTexte 140">
            <a:extLst>
              <a:ext uri="{FF2B5EF4-FFF2-40B4-BE49-F238E27FC236}">
                <a16:creationId xmlns:a16="http://schemas.microsoft.com/office/drawing/2014/main" id="{A9ECEA2C-55C0-7D2E-7F80-974FACA321F3}"/>
              </a:ext>
            </a:extLst>
          </p:cNvPr>
          <p:cNvSpPr txBox="1"/>
          <p:nvPr/>
        </p:nvSpPr>
        <p:spPr>
          <a:xfrm>
            <a:off x="8062686" y="5268685"/>
            <a:ext cx="155302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2000" b="1"/>
              <a:t>Planet</a:t>
            </a:r>
          </a:p>
          <a:p>
            <a:pPr algn="ctr"/>
            <a:r>
              <a:rPr lang="fr-FR" sz="1200" b="1">
                <a:solidFill>
                  <a:schemeClr val="tx2"/>
                </a:solidFill>
              </a:rPr>
              <a:t>Performance </a:t>
            </a:r>
          </a:p>
          <a:p>
            <a:pPr algn="ctr"/>
            <a:r>
              <a:rPr lang="fr-FR" sz="1200" b="1">
                <a:solidFill>
                  <a:schemeClr val="tx2"/>
                </a:solidFill>
              </a:rPr>
              <a:t>environnementale</a:t>
            </a:r>
            <a:endParaRPr lang="fr-FR" sz="1200" b="1">
              <a:solidFill>
                <a:schemeClr val="tx2"/>
              </a:solidFill>
              <a:latin typeface="+mj-lt"/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E7B4B122-5767-00DB-F62D-839DA4F7B7D3}"/>
              </a:ext>
            </a:extLst>
          </p:cNvPr>
          <p:cNvGrpSpPr/>
          <p:nvPr/>
        </p:nvGrpSpPr>
        <p:grpSpPr>
          <a:xfrm>
            <a:off x="1378584" y="14140524"/>
            <a:ext cx="643256" cy="666432"/>
            <a:chOff x="2786373" y="0"/>
            <a:chExt cx="6616744" cy="6855144"/>
          </a:xfrm>
          <a:solidFill>
            <a:srgbClr val="4E9664"/>
          </a:solidFill>
        </p:grpSpPr>
        <p:sp>
          <p:nvSpPr>
            <p:cNvPr id="32" name="Forme libre : forme 31">
              <a:extLst>
                <a:ext uri="{FF2B5EF4-FFF2-40B4-BE49-F238E27FC236}">
                  <a16:creationId xmlns:a16="http://schemas.microsoft.com/office/drawing/2014/main" id="{6353BDDF-A5AE-07A5-C7BE-2F010E9E89BD}"/>
                </a:ext>
              </a:extLst>
            </p:cNvPr>
            <p:cNvSpPr/>
            <p:nvPr/>
          </p:nvSpPr>
          <p:spPr>
            <a:xfrm>
              <a:off x="3286603" y="5151901"/>
              <a:ext cx="476064" cy="465809"/>
            </a:xfrm>
            <a:custGeom>
              <a:avLst/>
              <a:gdLst>
                <a:gd name="connsiteX0" fmla="*/ 197746 w 476064"/>
                <a:gd name="connsiteY0" fmla="*/ 340169 h 465809"/>
                <a:gd name="connsiteX1" fmla="*/ 152384 w 476064"/>
                <a:gd name="connsiteY1" fmla="*/ 293672 h 465809"/>
                <a:gd name="connsiteX2" fmla="*/ 129583 w 476064"/>
                <a:gd name="connsiteY2" fmla="*/ 211902 h 465809"/>
                <a:gd name="connsiteX3" fmla="*/ 152563 w 476064"/>
                <a:gd name="connsiteY3" fmla="*/ 208619 h 465809"/>
                <a:gd name="connsiteX4" fmla="*/ 178467 w 476064"/>
                <a:gd name="connsiteY4" fmla="*/ 231121 h 465809"/>
                <a:gd name="connsiteX5" fmla="*/ 254567 w 476064"/>
                <a:gd name="connsiteY5" fmla="*/ 332290 h 465809"/>
                <a:gd name="connsiteX6" fmla="*/ 334249 w 476064"/>
                <a:gd name="connsiteY6" fmla="*/ 272364 h 465809"/>
                <a:gd name="connsiteX7" fmla="*/ 263640 w 476064"/>
                <a:gd name="connsiteY7" fmla="*/ 178477 h 465809"/>
                <a:gd name="connsiteX8" fmla="*/ 251464 w 476064"/>
                <a:gd name="connsiteY8" fmla="*/ 151797 h 465809"/>
                <a:gd name="connsiteX9" fmla="*/ 260954 w 476064"/>
                <a:gd name="connsiteY9" fmla="*/ 133891 h 465809"/>
                <a:gd name="connsiteX10" fmla="*/ 289305 w 476064"/>
                <a:gd name="connsiteY10" fmla="*/ 134428 h 465809"/>
                <a:gd name="connsiteX11" fmla="*/ 327564 w 476064"/>
                <a:gd name="connsiteY11" fmla="*/ 171971 h 465809"/>
                <a:gd name="connsiteX12" fmla="*/ 375254 w 476064"/>
                <a:gd name="connsiteY12" fmla="*/ 271588 h 465809"/>
                <a:gd name="connsiteX13" fmla="*/ 476065 w 476064"/>
                <a:gd name="connsiteY13" fmla="*/ 241626 h 465809"/>
                <a:gd name="connsiteX14" fmla="*/ 449206 w 476064"/>
                <a:gd name="connsiteY14" fmla="*/ 174001 h 465809"/>
                <a:gd name="connsiteX15" fmla="*/ 406888 w 476064"/>
                <a:gd name="connsiteY15" fmla="*/ 105839 h 465809"/>
                <a:gd name="connsiteX16" fmla="*/ 325833 w 476064"/>
                <a:gd name="connsiteY16" fmla="*/ 26634 h 465809"/>
                <a:gd name="connsiteX17" fmla="*/ 248778 w 476064"/>
                <a:gd name="connsiteY17" fmla="*/ 14 h 465809"/>
                <a:gd name="connsiteX18" fmla="*/ 185808 w 476064"/>
                <a:gd name="connsiteY18" fmla="*/ 19770 h 465809"/>
                <a:gd name="connsiteX19" fmla="*/ 156920 w 476064"/>
                <a:gd name="connsiteY19" fmla="*/ 56179 h 465809"/>
                <a:gd name="connsiteX20" fmla="*/ 151429 w 476064"/>
                <a:gd name="connsiteY20" fmla="*/ 103690 h 465809"/>
                <a:gd name="connsiteX21" fmla="*/ 93592 w 476064"/>
                <a:gd name="connsiteY21" fmla="*/ 88768 h 465809"/>
                <a:gd name="connsiteX22" fmla="*/ 40292 w 476064"/>
                <a:gd name="connsiteY22" fmla="*/ 108465 h 465809"/>
                <a:gd name="connsiteX23" fmla="*/ 2809 w 476064"/>
                <a:gd name="connsiteY23" fmla="*/ 166779 h 465809"/>
                <a:gd name="connsiteX24" fmla="*/ 10449 w 476064"/>
                <a:gd name="connsiteY24" fmla="*/ 250340 h 465809"/>
                <a:gd name="connsiteX25" fmla="*/ 66912 w 476064"/>
                <a:gd name="connsiteY25" fmla="*/ 351628 h 465809"/>
                <a:gd name="connsiteX26" fmla="*/ 129942 w 476064"/>
                <a:gd name="connsiteY26" fmla="*/ 419671 h 465809"/>
                <a:gd name="connsiteX27" fmla="*/ 197268 w 476064"/>
                <a:gd name="connsiteY27" fmla="*/ 465809 h 465809"/>
                <a:gd name="connsiteX28" fmla="*/ 251822 w 476064"/>
                <a:gd name="connsiteY28" fmla="*/ 375324 h 465809"/>
                <a:gd name="connsiteX29" fmla="*/ 197865 w 476064"/>
                <a:gd name="connsiteY29" fmla="*/ 340288 h 465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76064" h="465809">
                  <a:moveTo>
                    <a:pt x="197746" y="340169"/>
                  </a:moveTo>
                  <a:cubicBezTo>
                    <a:pt x="179661" y="325306"/>
                    <a:pt x="164500" y="309848"/>
                    <a:pt x="152384" y="293672"/>
                  </a:cubicBezTo>
                  <a:cubicBezTo>
                    <a:pt x="120690" y="251534"/>
                    <a:pt x="113110" y="224257"/>
                    <a:pt x="129583" y="211902"/>
                  </a:cubicBezTo>
                  <a:cubicBezTo>
                    <a:pt x="136626" y="206650"/>
                    <a:pt x="144266" y="205515"/>
                    <a:pt x="152563" y="208619"/>
                  </a:cubicBezTo>
                  <a:cubicBezTo>
                    <a:pt x="160859" y="211723"/>
                    <a:pt x="169454" y="219184"/>
                    <a:pt x="178467" y="231121"/>
                  </a:cubicBezTo>
                  <a:lnTo>
                    <a:pt x="254567" y="332290"/>
                  </a:lnTo>
                  <a:lnTo>
                    <a:pt x="334249" y="272364"/>
                  </a:lnTo>
                  <a:lnTo>
                    <a:pt x="263640" y="178477"/>
                  </a:lnTo>
                  <a:cubicBezTo>
                    <a:pt x="255582" y="167793"/>
                    <a:pt x="251523" y="158900"/>
                    <a:pt x="251464" y="151797"/>
                  </a:cubicBezTo>
                  <a:cubicBezTo>
                    <a:pt x="251344" y="144695"/>
                    <a:pt x="254567" y="138726"/>
                    <a:pt x="260954" y="133891"/>
                  </a:cubicBezTo>
                  <a:cubicBezTo>
                    <a:pt x="268594" y="128161"/>
                    <a:pt x="278024" y="128340"/>
                    <a:pt x="289305" y="134428"/>
                  </a:cubicBezTo>
                  <a:cubicBezTo>
                    <a:pt x="300586" y="140517"/>
                    <a:pt x="313359" y="153051"/>
                    <a:pt x="327564" y="171971"/>
                  </a:cubicBezTo>
                  <a:cubicBezTo>
                    <a:pt x="349350" y="200979"/>
                    <a:pt x="365286" y="234165"/>
                    <a:pt x="375254" y="271588"/>
                  </a:cubicBezTo>
                  <a:lnTo>
                    <a:pt x="476065" y="241626"/>
                  </a:lnTo>
                  <a:cubicBezTo>
                    <a:pt x="470096" y="220318"/>
                    <a:pt x="461143" y="197756"/>
                    <a:pt x="449206" y="174001"/>
                  </a:cubicBezTo>
                  <a:cubicBezTo>
                    <a:pt x="437268" y="150246"/>
                    <a:pt x="423182" y="127505"/>
                    <a:pt x="406888" y="105839"/>
                  </a:cubicBezTo>
                  <a:cubicBezTo>
                    <a:pt x="380268" y="70444"/>
                    <a:pt x="353230" y="44063"/>
                    <a:pt x="325833" y="26634"/>
                  </a:cubicBezTo>
                  <a:cubicBezTo>
                    <a:pt x="298437" y="9266"/>
                    <a:pt x="272712" y="372"/>
                    <a:pt x="248778" y="14"/>
                  </a:cubicBezTo>
                  <a:cubicBezTo>
                    <a:pt x="224843" y="-344"/>
                    <a:pt x="203834" y="6222"/>
                    <a:pt x="185808" y="19770"/>
                  </a:cubicBezTo>
                  <a:cubicBezTo>
                    <a:pt x="172677" y="29619"/>
                    <a:pt x="163068" y="41795"/>
                    <a:pt x="156920" y="56179"/>
                  </a:cubicBezTo>
                  <a:cubicBezTo>
                    <a:pt x="150772" y="70564"/>
                    <a:pt x="148982" y="86440"/>
                    <a:pt x="151429" y="103690"/>
                  </a:cubicBezTo>
                  <a:cubicBezTo>
                    <a:pt x="132210" y="92767"/>
                    <a:pt x="112931" y="87813"/>
                    <a:pt x="93592" y="88768"/>
                  </a:cubicBezTo>
                  <a:cubicBezTo>
                    <a:pt x="74254" y="89723"/>
                    <a:pt x="56467" y="96289"/>
                    <a:pt x="40292" y="108465"/>
                  </a:cubicBezTo>
                  <a:cubicBezTo>
                    <a:pt x="20775" y="123148"/>
                    <a:pt x="8240" y="142605"/>
                    <a:pt x="2809" y="166779"/>
                  </a:cubicBezTo>
                  <a:cubicBezTo>
                    <a:pt x="-2682" y="190952"/>
                    <a:pt x="-116" y="218825"/>
                    <a:pt x="10449" y="250340"/>
                  </a:cubicBezTo>
                  <a:cubicBezTo>
                    <a:pt x="21013" y="281855"/>
                    <a:pt x="39815" y="315578"/>
                    <a:pt x="66912" y="351628"/>
                  </a:cubicBezTo>
                  <a:cubicBezTo>
                    <a:pt x="85714" y="376637"/>
                    <a:pt x="106723" y="399318"/>
                    <a:pt x="129942" y="419671"/>
                  </a:cubicBezTo>
                  <a:cubicBezTo>
                    <a:pt x="153100" y="439965"/>
                    <a:pt x="175542" y="455364"/>
                    <a:pt x="197268" y="465809"/>
                  </a:cubicBezTo>
                  <a:lnTo>
                    <a:pt x="251822" y="375324"/>
                  </a:lnTo>
                  <a:cubicBezTo>
                    <a:pt x="233916" y="366789"/>
                    <a:pt x="215950" y="355090"/>
                    <a:pt x="197865" y="340288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72522530-4839-2E3B-2830-0168239BE75B}"/>
                </a:ext>
              </a:extLst>
            </p:cNvPr>
            <p:cNvSpPr/>
            <p:nvPr/>
          </p:nvSpPr>
          <p:spPr>
            <a:xfrm>
              <a:off x="3505239" y="5462644"/>
              <a:ext cx="420492" cy="466630"/>
            </a:xfrm>
            <a:custGeom>
              <a:avLst/>
              <a:gdLst>
                <a:gd name="connsiteX0" fmla="*/ 420373 w 420492"/>
                <a:gd name="connsiteY0" fmla="*/ 243402 h 466630"/>
                <a:gd name="connsiteX1" fmla="*/ 380622 w 420492"/>
                <a:gd name="connsiteY1" fmla="*/ 152261 h 466630"/>
                <a:gd name="connsiteX2" fmla="*/ 337767 w 420492"/>
                <a:gd name="connsiteY2" fmla="*/ 121224 h 466630"/>
                <a:gd name="connsiteX3" fmla="*/ 288525 w 420492"/>
                <a:gd name="connsiteY3" fmla="*/ 109943 h 466630"/>
                <a:gd name="connsiteX4" fmla="*/ 310729 w 420492"/>
                <a:gd name="connsiteY4" fmla="*/ 88396 h 466630"/>
                <a:gd name="connsiteX5" fmla="*/ 224959 w 420492"/>
                <a:gd name="connsiteY5" fmla="*/ 0 h 466630"/>
                <a:gd name="connsiteX6" fmla="*/ 0 w 420492"/>
                <a:gd name="connsiteY6" fmla="*/ 218215 h 466630"/>
                <a:gd name="connsiteX7" fmla="*/ 90187 w 420492"/>
                <a:gd name="connsiteY7" fmla="*/ 311147 h 466630"/>
                <a:gd name="connsiteX8" fmla="*/ 195892 w 420492"/>
                <a:gd name="connsiteY8" fmla="*/ 208605 h 466630"/>
                <a:gd name="connsiteX9" fmla="*/ 239582 w 420492"/>
                <a:gd name="connsiteY9" fmla="*/ 184969 h 466630"/>
                <a:gd name="connsiteX10" fmla="*/ 275036 w 420492"/>
                <a:gd name="connsiteY10" fmla="*/ 199712 h 466630"/>
                <a:gd name="connsiteX11" fmla="*/ 263099 w 420492"/>
                <a:gd name="connsiteY11" fmla="*/ 264770 h 466630"/>
                <a:gd name="connsiteX12" fmla="*/ 150828 w 420492"/>
                <a:gd name="connsiteY12" fmla="*/ 373699 h 466630"/>
                <a:gd name="connsiteX13" fmla="*/ 241015 w 420492"/>
                <a:gd name="connsiteY13" fmla="*/ 466631 h 466630"/>
                <a:gd name="connsiteX14" fmla="*/ 369341 w 420492"/>
                <a:gd name="connsiteY14" fmla="*/ 342184 h 466630"/>
                <a:gd name="connsiteX15" fmla="*/ 420493 w 420492"/>
                <a:gd name="connsiteY15" fmla="*/ 243462 h 466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20492" h="466630">
                  <a:moveTo>
                    <a:pt x="420373" y="243402"/>
                  </a:moveTo>
                  <a:cubicBezTo>
                    <a:pt x="420731" y="210336"/>
                    <a:pt x="407481" y="179896"/>
                    <a:pt x="380622" y="152261"/>
                  </a:cubicBezTo>
                  <a:cubicBezTo>
                    <a:pt x="367610" y="138831"/>
                    <a:pt x="353285" y="128506"/>
                    <a:pt x="337767" y="121224"/>
                  </a:cubicBezTo>
                  <a:cubicBezTo>
                    <a:pt x="322189" y="113942"/>
                    <a:pt x="305775" y="110182"/>
                    <a:pt x="288525" y="109943"/>
                  </a:cubicBezTo>
                  <a:lnTo>
                    <a:pt x="310729" y="88396"/>
                  </a:lnTo>
                  <a:lnTo>
                    <a:pt x="224959" y="0"/>
                  </a:lnTo>
                  <a:lnTo>
                    <a:pt x="0" y="218215"/>
                  </a:lnTo>
                  <a:lnTo>
                    <a:pt x="90187" y="311147"/>
                  </a:lnTo>
                  <a:lnTo>
                    <a:pt x="195892" y="208605"/>
                  </a:lnTo>
                  <a:cubicBezTo>
                    <a:pt x="211530" y="193445"/>
                    <a:pt x="226093" y="185566"/>
                    <a:pt x="239582" y="184969"/>
                  </a:cubicBezTo>
                  <a:cubicBezTo>
                    <a:pt x="253072" y="184372"/>
                    <a:pt x="264890" y="189267"/>
                    <a:pt x="275036" y="199712"/>
                  </a:cubicBezTo>
                  <a:cubicBezTo>
                    <a:pt x="292823" y="218095"/>
                    <a:pt x="288884" y="239762"/>
                    <a:pt x="263099" y="264770"/>
                  </a:cubicBezTo>
                  <a:lnTo>
                    <a:pt x="150828" y="373699"/>
                  </a:lnTo>
                  <a:lnTo>
                    <a:pt x="241015" y="466631"/>
                  </a:lnTo>
                  <a:lnTo>
                    <a:pt x="369341" y="342184"/>
                  </a:lnTo>
                  <a:cubicBezTo>
                    <a:pt x="403064" y="309476"/>
                    <a:pt x="420135" y="276588"/>
                    <a:pt x="420493" y="243462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id="{6EDBA6B9-E42B-E7A4-A128-8BEDF3BDE1AD}"/>
                </a:ext>
              </a:extLst>
            </p:cNvPr>
            <p:cNvSpPr/>
            <p:nvPr/>
          </p:nvSpPr>
          <p:spPr>
            <a:xfrm>
              <a:off x="3850714" y="5687365"/>
              <a:ext cx="303140" cy="424850"/>
            </a:xfrm>
            <a:custGeom>
              <a:avLst/>
              <a:gdLst>
                <a:gd name="connsiteX0" fmla="*/ 126229 w 303140"/>
                <a:gd name="connsiteY0" fmla="*/ 305178 h 424850"/>
                <a:gd name="connsiteX1" fmla="*/ 134943 w 303140"/>
                <a:gd name="connsiteY1" fmla="*/ 283273 h 424850"/>
                <a:gd name="connsiteX2" fmla="*/ 185856 w 303140"/>
                <a:gd name="connsiteY2" fmla="*/ 222751 h 424850"/>
                <a:gd name="connsiteX3" fmla="*/ 234978 w 303140"/>
                <a:gd name="connsiteY3" fmla="*/ 264054 h 424850"/>
                <a:gd name="connsiteX4" fmla="*/ 295859 w 303140"/>
                <a:gd name="connsiteY4" fmla="*/ 191714 h 424850"/>
                <a:gd name="connsiteX5" fmla="*/ 246736 w 303140"/>
                <a:gd name="connsiteY5" fmla="*/ 150411 h 424850"/>
                <a:gd name="connsiteX6" fmla="*/ 303140 w 303140"/>
                <a:gd name="connsiteY6" fmla="*/ 83323 h 424850"/>
                <a:gd name="connsiteX7" fmla="*/ 204060 w 303140"/>
                <a:gd name="connsiteY7" fmla="*/ 0 h 424850"/>
                <a:gd name="connsiteX8" fmla="*/ 35147 w 303140"/>
                <a:gd name="connsiteY8" fmla="*/ 200846 h 424850"/>
                <a:gd name="connsiteX9" fmla="*/ 947 w 303140"/>
                <a:gd name="connsiteY9" fmla="*/ 296703 h 424850"/>
                <a:gd name="connsiteX10" fmla="*/ 58067 w 303140"/>
                <a:gd name="connsiteY10" fmla="*/ 386292 h 424850"/>
                <a:gd name="connsiteX11" fmla="*/ 129691 w 303140"/>
                <a:gd name="connsiteY11" fmla="*/ 424850 h 424850"/>
                <a:gd name="connsiteX12" fmla="*/ 163891 w 303140"/>
                <a:gd name="connsiteY12" fmla="*/ 336096 h 424850"/>
                <a:gd name="connsiteX13" fmla="*/ 136018 w 303140"/>
                <a:gd name="connsiteY13" fmla="*/ 323860 h 424850"/>
                <a:gd name="connsiteX14" fmla="*/ 126289 w 303140"/>
                <a:gd name="connsiteY14" fmla="*/ 305178 h 424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03140" h="424850">
                  <a:moveTo>
                    <a:pt x="126229" y="305178"/>
                  </a:moveTo>
                  <a:cubicBezTo>
                    <a:pt x="125871" y="297896"/>
                    <a:pt x="128736" y="290614"/>
                    <a:pt x="134943" y="283273"/>
                  </a:cubicBezTo>
                  <a:lnTo>
                    <a:pt x="185856" y="222751"/>
                  </a:lnTo>
                  <a:lnTo>
                    <a:pt x="234978" y="264054"/>
                  </a:lnTo>
                  <a:lnTo>
                    <a:pt x="295859" y="191714"/>
                  </a:lnTo>
                  <a:lnTo>
                    <a:pt x="246736" y="150411"/>
                  </a:lnTo>
                  <a:lnTo>
                    <a:pt x="303140" y="83323"/>
                  </a:lnTo>
                  <a:lnTo>
                    <a:pt x="204060" y="0"/>
                  </a:lnTo>
                  <a:lnTo>
                    <a:pt x="35147" y="200846"/>
                  </a:lnTo>
                  <a:cubicBezTo>
                    <a:pt x="7870" y="233315"/>
                    <a:pt x="-3530" y="265248"/>
                    <a:pt x="947" y="296703"/>
                  </a:cubicBezTo>
                  <a:cubicBezTo>
                    <a:pt x="5423" y="328157"/>
                    <a:pt x="24463" y="358060"/>
                    <a:pt x="58067" y="386292"/>
                  </a:cubicBezTo>
                  <a:cubicBezTo>
                    <a:pt x="83792" y="407899"/>
                    <a:pt x="107666" y="420791"/>
                    <a:pt x="129691" y="424850"/>
                  </a:cubicBezTo>
                  <a:lnTo>
                    <a:pt x="163891" y="336096"/>
                  </a:lnTo>
                  <a:cubicBezTo>
                    <a:pt x="153745" y="335081"/>
                    <a:pt x="144493" y="331022"/>
                    <a:pt x="136018" y="323860"/>
                  </a:cubicBezTo>
                  <a:cubicBezTo>
                    <a:pt x="129870" y="318667"/>
                    <a:pt x="126647" y="312460"/>
                    <a:pt x="126289" y="305178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id="{184CE1E0-1ABE-0624-F029-266905D8E34B}"/>
                </a:ext>
              </a:extLst>
            </p:cNvPr>
            <p:cNvSpPr/>
            <p:nvPr/>
          </p:nvSpPr>
          <p:spPr>
            <a:xfrm>
              <a:off x="4015202" y="5897044"/>
              <a:ext cx="368266" cy="330305"/>
            </a:xfrm>
            <a:custGeom>
              <a:avLst/>
              <a:gdLst>
                <a:gd name="connsiteX0" fmla="*/ 301716 w 368266"/>
                <a:gd name="connsiteY0" fmla="*/ 219110 h 330305"/>
                <a:gd name="connsiteX1" fmla="*/ 368267 w 368266"/>
                <a:gd name="connsiteY1" fmla="*/ 125820 h 330305"/>
                <a:gd name="connsiteX2" fmla="*/ 262741 w 368266"/>
                <a:gd name="connsiteY2" fmla="*/ 99080 h 330305"/>
                <a:gd name="connsiteX3" fmla="*/ 282378 w 368266"/>
                <a:gd name="connsiteY3" fmla="*/ 71564 h 330305"/>
                <a:gd name="connsiteX4" fmla="*/ 182104 w 368266"/>
                <a:gd name="connsiteY4" fmla="*/ 0 h 330305"/>
                <a:gd name="connsiteX5" fmla="*/ 0 w 368266"/>
                <a:gd name="connsiteY5" fmla="*/ 255101 h 330305"/>
                <a:gd name="connsiteX6" fmla="*/ 105407 w 368266"/>
                <a:gd name="connsiteY6" fmla="*/ 330306 h 330305"/>
                <a:gd name="connsiteX7" fmla="*/ 186282 w 368266"/>
                <a:gd name="connsiteY7" fmla="*/ 216961 h 330305"/>
                <a:gd name="connsiteX8" fmla="*/ 279692 w 368266"/>
                <a:gd name="connsiteY8" fmla="*/ 200547 h 330305"/>
                <a:gd name="connsiteX9" fmla="*/ 301657 w 368266"/>
                <a:gd name="connsiteY9" fmla="*/ 219050 h 33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8266" h="330305">
                  <a:moveTo>
                    <a:pt x="301716" y="219110"/>
                  </a:moveTo>
                  <a:lnTo>
                    <a:pt x="368267" y="125820"/>
                  </a:lnTo>
                  <a:cubicBezTo>
                    <a:pt x="331918" y="99856"/>
                    <a:pt x="296702" y="90962"/>
                    <a:pt x="262741" y="99080"/>
                  </a:cubicBezTo>
                  <a:lnTo>
                    <a:pt x="282378" y="71564"/>
                  </a:lnTo>
                  <a:lnTo>
                    <a:pt x="182104" y="0"/>
                  </a:lnTo>
                  <a:lnTo>
                    <a:pt x="0" y="255101"/>
                  </a:lnTo>
                  <a:lnTo>
                    <a:pt x="105407" y="330306"/>
                  </a:lnTo>
                  <a:lnTo>
                    <a:pt x="186282" y="216961"/>
                  </a:lnTo>
                  <a:cubicBezTo>
                    <a:pt x="212485" y="180254"/>
                    <a:pt x="243581" y="174822"/>
                    <a:pt x="279692" y="200547"/>
                  </a:cubicBezTo>
                  <a:cubicBezTo>
                    <a:pt x="286854" y="205621"/>
                    <a:pt x="294196" y="211828"/>
                    <a:pt x="301657" y="219050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6" name="Forme libre : forme 35">
              <a:extLst>
                <a:ext uri="{FF2B5EF4-FFF2-40B4-BE49-F238E27FC236}">
                  <a16:creationId xmlns:a16="http://schemas.microsoft.com/office/drawing/2014/main" id="{45AA9C78-12DD-6945-FFA0-B7BF7388E54C}"/>
                </a:ext>
              </a:extLst>
            </p:cNvPr>
            <p:cNvSpPr/>
            <p:nvPr/>
          </p:nvSpPr>
          <p:spPr>
            <a:xfrm>
              <a:off x="4288546" y="6092062"/>
              <a:ext cx="349296" cy="345574"/>
            </a:xfrm>
            <a:custGeom>
              <a:avLst/>
              <a:gdLst>
                <a:gd name="connsiteX0" fmla="*/ 188571 w 349296"/>
                <a:gd name="connsiteY0" fmla="*/ 246603 h 345574"/>
                <a:gd name="connsiteX1" fmla="*/ 155922 w 349296"/>
                <a:gd name="connsiteY1" fmla="*/ 233770 h 345574"/>
                <a:gd name="connsiteX2" fmla="*/ 119454 w 349296"/>
                <a:gd name="connsiteY2" fmla="*/ 181067 h 345574"/>
                <a:gd name="connsiteX3" fmla="*/ 325791 w 349296"/>
                <a:gd name="connsiteY3" fmla="*/ 252095 h 345574"/>
                <a:gd name="connsiteX4" fmla="*/ 349188 w 349296"/>
                <a:gd name="connsiteY4" fmla="*/ 165430 h 345574"/>
                <a:gd name="connsiteX5" fmla="*/ 322985 w 349296"/>
                <a:gd name="connsiteY5" fmla="*/ 86882 h 345574"/>
                <a:gd name="connsiteX6" fmla="*/ 258225 w 349296"/>
                <a:gd name="connsiteY6" fmla="*/ 28210 h 345574"/>
                <a:gd name="connsiteX7" fmla="*/ 168218 w 349296"/>
                <a:gd name="connsiteY7" fmla="*/ 276 h 345574"/>
                <a:gd name="connsiteX8" fmla="*/ 83642 w 349296"/>
                <a:gd name="connsiteY8" fmla="*/ 18063 h 345574"/>
                <a:gd name="connsiteX9" fmla="*/ 21448 w 349296"/>
                <a:gd name="connsiteY9" fmla="*/ 79123 h 345574"/>
                <a:gd name="connsiteX10" fmla="*/ 140 w 349296"/>
                <a:gd name="connsiteY10" fmla="*/ 163341 h 345574"/>
                <a:gd name="connsiteX11" fmla="*/ 28790 w 349296"/>
                <a:gd name="connsiteY11" fmla="*/ 246902 h 345574"/>
                <a:gd name="connsiteX12" fmla="*/ 104771 w 349296"/>
                <a:gd name="connsiteY12" fmla="*/ 314706 h 345574"/>
                <a:gd name="connsiteX13" fmla="*/ 248616 w 349296"/>
                <a:gd name="connsiteY13" fmla="*/ 339237 h 345574"/>
                <a:gd name="connsiteX14" fmla="*/ 223965 w 349296"/>
                <a:gd name="connsiteY14" fmla="*/ 246424 h 345574"/>
                <a:gd name="connsiteX15" fmla="*/ 188511 w 349296"/>
                <a:gd name="connsiteY15" fmla="*/ 246544 h 345574"/>
                <a:gd name="connsiteX16" fmla="*/ 176634 w 349296"/>
                <a:gd name="connsiteY16" fmla="*/ 98342 h 345574"/>
                <a:gd name="connsiteX17" fmla="*/ 214773 w 349296"/>
                <a:gd name="connsiteY17" fmla="*/ 105027 h 345574"/>
                <a:gd name="connsiteX18" fmla="*/ 235903 w 349296"/>
                <a:gd name="connsiteY18" fmla="*/ 127409 h 345574"/>
                <a:gd name="connsiteX19" fmla="*/ 239185 w 349296"/>
                <a:gd name="connsiteY19" fmla="*/ 156716 h 345574"/>
                <a:gd name="connsiteX20" fmla="*/ 142553 w 349296"/>
                <a:gd name="connsiteY20" fmla="*/ 123649 h 345574"/>
                <a:gd name="connsiteX21" fmla="*/ 176634 w 349296"/>
                <a:gd name="connsiteY21" fmla="*/ 98282 h 345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49296" h="345574">
                  <a:moveTo>
                    <a:pt x="188571" y="246603"/>
                  </a:moveTo>
                  <a:cubicBezTo>
                    <a:pt x="178723" y="244932"/>
                    <a:pt x="167860" y="240635"/>
                    <a:pt x="155922" y="233770"/>
                  </a:cubicBezTo>
                  <a:cubicBezTo>
                    <a:pt x="130734" y="219327"/>
                    <a:pt x="118618" y="201719"/>
                    <a:pt x="119454" y="181067"/>
                  </a:cubicBezTo>
                  <a:lnTo>
                    <a:pt x="325791" y="252095"/>
                  </a:lnTo>
                  <a:cubicBezTo>
                    <a:pt x="342563" y="222968"/>
                    <a:pt x="350322" y="194079"/>
                    <a:pt x="349188" y="165430"/>
                  </a:cubicBezTo>
                  <a:cubicBezTo>
                    <a:pt x="348054" y="136780"/>
                    <a:pt x="339280" y="110637"/>
                    <a:pt x="322985" y="86882"/>
                  </a:cubicBezTo>
                  <a:cubicBezTo>
                    <a:pt x="306631" y="63186"/>
                    <a:pt x="285084" y="43609"/>
                    <a:pt x="258225" y="28210"/>
                  </a:cubicBezTo>
                  <a:cubicBezTo>
                    <a:pt x="228740" y="11259"/>
                    <a:pt x="198718" y="1948"/>
                    <a:pt x="168218" y="276"/>
                  </a:cubicBezTo>
                  <a:cubicBezTo>
                    <a:pt x="137658" y="-1395"/>
                    <a:pt x="109486" y="4514"/>
                    <a:pt x="83642" y="18063"/>
                  </a:cubicBezTo>
                  <a:cubicBezTo>
                    <a:pt x="57797" y="31612"/>
                    <a:pt x="37026" y="51965"/>
                    <a:pt x="21448" y="79123"/>
                  </a:cubicBezTo>
                  <a:cubicBezTo>
                    <a:pt x="6049" y="105922"/>
                    <a:pt x="-1113" y="134034"/>
                    <a:pt x="140" y="163341"/>
                  </a:cubicBezTo>
                  <a:cubicBezTo>
                    <a:pt x="1334" y="192706"/>
                    <a:pt x="10884" y="220520"/>
                    <a:pt x="28790" y="246902"/>
                  </a:cubicBezTo>
                  <a:cubicBezTo>
                    <a:pt x="46696" y="273283"/>
                    <a:pt x="72003" y="295905"/>
                    <a:pt x="104771" y="314706"/>
                  </a:cubicBezTo>
                  <a:cubicBezTo>
                    <a:pt x="156758" y="344609"/>
                    <a:pt x="204686" y="352786"/>
                    <a:pt x="248616" y="339237"/>
                  </a:cubicBezTo>
                  <a:lnTo>
                    <a:pt x="223965" y="246424"/>
                  </a:lnTo>
                  <a:cubicBezTo>
                    <a:pt x="210178" y="248215"/>
                    <a:pt x="198360" y="248215"/>
                    <a:pt x="188511" y="246544"/>
                  </a:cubicBezTo>
                  <a:close/>
                  <a:moveTo>
                    <a:pt x="176634" y="98342"/>
                  </a:moveTo>
                  <a:cubicBezTo>
                    <a:pt x="189108" y="95417"/>
                    <a:pt x="201821" y="97626"/>
                    <a:pt x="214773" y="105027"/>
                  </a:cubicBezTo>
                  <a:cubicBezTo>
                    <a:pt x="224681" y="110756"/>
                    <a:pt x="231724" y="118217"/>
                    <a:pt x="235903" y="127409"/>
                  </a:cubicBezTo>
                  <a:cubicBezTo>
                    <a:pt x="240081" y="136660"/>
                    <a:pt x="241155" y="146389"/>
                    <a:pt x="239185" y="156716"/>
                  </a:cubicBezTo>
                  <a:lnTo>
                    <a:pt x="142553" y="123649"/>
                  </a:lnTo>
                  <a:cubicBezTo>
                    <a:pt x="152759" y="109682"/>
                    <a:pt x="164099" y="101266"/>
                    <a:pt x="176634" y="98282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959AEE0D-1F03-53EE-76AA-AAA63707AB54}"/>
                </a:ext>
              </a:extLst>
            </p:cNvPr>
            <p:cNvSpPr/>
            <p:nvPr/>
          </p:nvSpPr>
          <p:spPr>
            <a:xfrm>
              <a:off x="4555725" y="6224664"/>
              <a:ext cx="451639" cy="441502"/>
            </a:xfrm>
            <a:custGeom>
              <a:avLst/>
              <a:gdLst>
                <a:gd name="connsiteX0" fmla="*/ 450993 w 451639"/>
                <a:gd name="connsiteY0" fmla="*/ 198040 h 441502"/>
                <a:gd name="connsiteX1" fmla="*/ 422582 w 451639"/>
                <a:gd name="connsiteY1" fmla="*/ 124089 h 441502"/>
                <a:gd name="connsiteX2" fmla="*/ 360388 w 451639"/>
                <a:gd name="connsiteY2" fmla="*/ 76280 h 441502"/>
                <a:gd name="connsiteX3" fmla="*/ 268948 w 451639"/>
                <a:gd name="connsiteY3" fmla="*/ 71803 h 441502"/>
                <a:gd name="connsiteX4" fmla="*/ 278976 w 451639"/>
                <a:gd name="connsiteY4" fmla="*/ 48047 h 441502"/>
                <a:gd name="connsiteX5" fmla="*/ 165511 w 451639"/>
                <a:gd name="connsiteY5" fmla="*/ 0 h 441502"/>
                <a:gd name="connsiteX6" fmla="*/ 0 w 451639"/>
                <a:gd name="connsiteY6" fmla="*/ 391008 h 441502"/>
                <a:gd name="connsiteX7" fmla="*/ 119254 w 451639"/>
                <a:gd name="connsiteY7" fmla="*/ 441502 h 441502"/>
                <a:gd name="connsiteX8" fmla="*/ 170823 w 451639"/>
                <a:gd name="connsiteY8" fmla="*/ 319622 h 441502"/>
                <a:gd name="connsiteX9" fmla="*/ 233673 w 451639"/>
                <a:gd name="connsiteY9" fmla="*/ 375489 h 441502"/>
                <a:gd name="connsiteX10" fmla="*/ 311266 w 451639"/>
                <a:gd name="connsiteY10" fmla="*/ 386889 h 441502"/>
                <a:gd name="connsiteX11" fmla="*/ 384024 w 451639"/>
                <a:gd name="connsiteY11" fmla="*/ 356091 h 441502"/>
                <a:gd name="connsiteX12" fmla="*/ 436131 w 451639"/>
                <a:gd name="connsiteY12" fmla="*/ 285123 h 441502"/>
                <a:gd name="connsiteX13" fmla="*/ 450873 w 451639"/>
                <a:gd name="connsiteY13" fmla="*/ 198040 h 441502"/>
                <a:gd name="connsiteX14" fmla="*/ 315384 w 451639"/>
                <a:gd name="connsiteY14" fmla="*/ 233972 h 441502"/>
                <a:gd name="connsiteX15" fmla="*/ 284526 w 451639"/>
                <a:gd name="connsiteY15" fmla="*/ 270082 h 441502"/>
                <a:gd name="connsiteX16" fmla="*/ 244477 w 451639"/>
                <a:gd name="connsiteY16" fmla="*/ 270559 h 441502"/>
                <a:gd name="connsiteX17" fmla="*/ 216961 w 451639"/>
                <a:gd name="connsiteY17" fmla="*/ 241492 h 441502"/>
                <a:gd name="connsiteX18" fmla="*/ 221438 w 451639"/>
                <a:gd name="connsiteY18" fmla="*/ 194221 h 441502"/>
                <a:gd name="connsiteX19" fmla="*/ 252415 w 451639"/>
                <a:gd name="connsiteY19" fmla="*/ 157871 h 441502"/>
                <a:gd name="connsiteX20" fmla="*/ 292525 w 451639"/>
                <a:gd name="connsiteY20" fmla="*/ 157155 h 441502"/>
                <a:gd name="connsiteX21" fmla="*/ 319921 w 451639"/>
                <a:gd name="connsiteY21" fmla="*/ 186461 h 441502"/>
                <a:gd name="connsiteX22" fmla="*/ 315384 w 451639"/>
                <a:gd name="connsiteY22" fmla="*/ 233972 h 44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51639" h="441502">
                  <a:moveTo>
                    <a:pt x="450993" y="198040"/>
                  </a:moveTo>
                  <a:cubicBezTo>
                    <a:pt x="448187" y="169868"/>
                    <a:pt x="438697" y="145217"/>
                    <a:pt x="422582" y="124089"/>
                  </a:cubicBezTo>
                  <a:cubicBezTo>
                    <a:pt x="406407" y="102960"/>
                    <a:pt x="385695" y="87023"/>
                    <a:pt x="360388" y="76280"/>
                  </a:cubicBezTo>
                  <a:cubicBezTo>
                    <a:pt x="324875" y="61239"/>
                    <a:pt x="294375" y="59746"/>
                    <a:pt x="268948" y="71803"/>
                  </a:cubicBezTo>
                  <a:lnTo>
                    <a:pt x="278976" y="48047"/>
                  </a:lnTo>
                  <a:lnTo>
                    <a:pt x="165511" y="0"/>
                  </a:lnTo>
                  <a:lnTo>
                    <a:pt x="0" y="391008"/>
                  </a:lnTo>
                  <a:lnTo>
                    <a:pt x="119254" y="441502"/>
                  </a:lnTo>
                  <a:lnTo>
                    <a:pt x="170823" y="319622"/>
                  </a:lnTo>
                  <a:cubicBezTo>
                    <a:pt x="180731" y="343318"/>
                    <a:pt x="201681" y="361940"/>
                    <a:pt x="233673" y="375489"/>
                  </a:cubicBezTo>
                  <a:cubicBezTo>
                    <a:pt x="258980" y="386232"/>
                    <a:pt x="284885" y="389993"/>
                    <a:pt x="311266" y="386889"/>
                  </a:cubicBezTo>
                  <a:cubicBezTo>
                    <a:pt x="337707" y="383785"/>
                    <a:pt x="361940" y="373519"/>
                    <a:pt x="384024" y="356091"/>
                  </a:cubicBezTo>
                  <a:cubicBezTo>
                    <a:pt x="406108" y="338662"/>
                    <a:pt x="423477" y="315027"/>
                    <a:pt x="436131" y="285123"/>
                  </a:cubicBezTo>
                  <a:cubicBezTo>
                    <a:pt x="448784" y="255220"/>
                    <a:pt x="453679" y="226213"/>
                    <a:pt x="450873" y="198040"/>
                  </a:cubicBezTo>
                  <a:close/>
                  <a:moveTo>
                    <a:pt x="315384" y="233972"/>
                  </a:moveTo>
                  <a:cubicBezTo>
                    <a:pt x="307804" y="251937"/>
                    <a:pt x="297478" y="263934"/>
                    <a:pt x="284526" y="270082"/>
                  </a:cubicBezTo>
                  <a:cubicBezTo>
                    <a:pt x="271574" y="276230"/>
                    <a:pt x="258205" y="276349"/>
                    <a:pt x="244477" y="270559"/>
                  </a:cubicBezTo>
                  <a:cubicBezTo>
                    <a:pt x="230749" y="264770"/>
                    <a:pt x="221557" y="255041"/>
                    <a:pt x="216961" y="241492"/>
                  </a:cubicBezTo>
                  <a:cubicBezTo>
                    <a:pt x="212306" y="227943"/>
                    <a:pt x="213798" y="212186"/>
                    <a:pt x="221438" y="194221"/>
                  </a:cubicBezTo>
                  <a:cubicBezTo>
                    <a:pt x="229018" y="176255"/>
                    <a:pt x="239344" y="164138"/>
                    <a:pt x="252415" y="157871"/>
                  </a:cubicBezTo>
                  <a:cubicBezTo>
                    <a:pt x="265427" y="151545"/>
                    <a:pt x="278856" y="151306"/>
                    <a:pt x="292525" y="157155"/>
                  </a:cubicBezTo>
                  <a:cubicBezTo>
                    <a:pt x="306252" y="162944"/>
                    <a:pt x="315384" y="172733"/>
                    <a:pt x="319921" y="186461"/>
                  </a:cubicBezTo>
                  <a:cubicBezTo>
                    <a:pt x="324457" y="200189"/>
                    <a:pt x="322965" y="216066"/>
                    <a:pt x="315384" y="233972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5C8E0098-1DEB-1B8A-863D-80EBE4ED56A6}"/>
                </a:ext>
              </a:extLst>
            </p:cNvPr>
            <p:cNvSpPr/>
            <p:nvPr/>
          </p:nvSpPr>
          <p:spPr>
            <a:xfrm>
              <a:off x="4995317" y="6372687"/>
              <a:ext cx="308043" cy="337588"/>
            </a:xfrm>
            <a:custGeom>
              <a:avLst/>
              <a:gdLst>
                <a:gd name="connsiteX0" fmla="*/ 308043 w 308043"/>
                <a:gd name="connsiteY0" fmla="*/ 60045 h 337588"/>
                <a:gd name="connsiteX1" fmla="*/ 199473 w 308043"/>
                <a:gd name="connsiteY1" fmla="*/ 68282 h 337588"/>
                <a:gd name="connsiteX2" fmla="*/ 209321 w 308043"/>
                <a:gd name="connsiteY2" fmla="*/ 35932 h 337588"/>
                <a:gd name="connsiteX3" fmla="*/ 91500 w 308043"/>
                <a:gd name="connsiteY3" fmla="*/ 0 h 337588"/>
                <a:gd name="connsiteX4" fmla="*/ 0 w 308043"/>
                <a:gd name="connsiteY4" fmla="*/ 299807 h 337588"/>
                <a:gd name="connsiteX5" fmla="*/ 123850 w 308043"/>
                <a:gd name="connsiteY5" fmla="*/ 337588 h 337588"/>
                <a:gd name="connsiteX6" fmla="*/ 164496 w 308043"/>
                <a:gd name="connsiteY6" fmla="*/ 204427 h 337588"/>
                <a:gd name="connsiteX7" fmla="*/ 247819 w 308043"/>
                <a:gd name="connsiteY7" fmla="*/ 159185 h 337588"/>
                <a:gd name="connsiteX8" fmla="*/ 274559 w 308043"/>
                <a:gd name="connsiteY8" fmla="*/ 169749 h 337588"/>
                <a:gd name="connsiteX9" fmla="*/ 307983 w 308043"/>
                <a:gd name="connsiteY9" fmla="*/ 60165 h 337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043" h="337588">
                  <a:moveTo>
                    <a:pt x="308043" y="60045"/>
                  </a:moveTo>
                  <a:cubicBezTo>
                    <a:pt x="265307" y="46974"/>
                    <a:pt x="229137" y="49719"/>
                    <a:pt x="199473" y="68282"/>
                  </a:cubicBezTo>
                  <a:lnTo>
                    <a:pt x="209321" y="35932"/>
                  </a:lnTo>
                  <a:lnTo>
                    <a:pt x="91500" y="0"/>
                  </a:lnTo>
                  <a:lnTo>
                    <a:pt x="0" y="299807"/>
                  </a:lnTo>
                  <a:lnTo>
                    <a:pt x="123850" y="337588"/>
                  </a:lnTo>
                  <a:lnTo>
                    <a:pt x="164496" y="204427"/>
                  </a:lnTo>
                  <a:cubicBezTo>
                    <a:pt x="177628" y="161333"/>
                    <a:pt x="205442" y="146232"/>
                    <a:pt x="247819" y="159185"/>
                  </a:cubicBezTo>
                  <a:cubicBezTo>
                    <a:pt x="256235" y="161752"/>
                    <a:pt x="265128" y="165273"/>
                    <a:pt x="274559" y="169749"/>
                  </a:cubicBezTo>
                  <a:lnTo>
                    <a:pt x="307983" y="60165"/>
                  </a:ln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E8F3E069-E357-895E-13E5-7EEE36BF1D36}"/>
                </a:ext>
              </a:extLst>
            </p:cNvPr>
            <p:cNvSpPr/>
            <p:nvPr/>
          </p:nvSpPr>
          <p:spPr>
            <a:xfrm>
              <a:off x="5338939" y="6303086"/>
              <a:ext cx="155937" cy="134202"/>
            </a:xfrm>
            <a:custGeom>
              <a:avLst/>
              <a:gdLst>
                <a:gd name="connsiteX0" fmla="*/ 63024 w 155937"/>
                <a:gd name="connsiteY0" fmla="*/ 131317 h 134202"/>
                <a:gd name="connsiteX1" fmla="*/ 122591 w 155937"/>
                <a:gd name="connsiteY1" fmla="*/ 125289 h 134202"/>
                <a:gd name="connsiteX2" fmla="*/ 154225 w 155937"/>
                <a:gd name="connsiteY2" fmla="*/ 82255 h 134202"/>
                <a:gd name="connsiteX3" fmla="*/ 143780 w 155937"/>
                <a:gd name="connsiteY3" fmla="*/ 32834 h 134202"/>
                <a:gd name="connsiteX4" fmla="*/ 92449 w 155937"/>
                <a:gd name="connsiteY4" fmla="*/ 2872 h 134202"/>
                <a:gd name="connsiteX5" fmla="*/ 33300 w 155937"/>
                <a:gd name="connsiteY5" fmla="*/ 8422 h 134202"/>
                <a:gd name="connsiteX6" fmla="*/ 1785 w 155937"/>
                <a:gd name="connsiteY6" fmla="*/ 49725 h 134202"/>
                <a:gd name="connsiteX7" fmla="*/ 12171 w 155937"/>
                <a:gd name="connsiteY7" fmla="*/ 100579 h 134202"/>
                <a:gd name="connsiteX8" fmla="*/ 63024 w 155937"/>
                <a:gd name="connsiteY8" fmla="*/ 131317 h 134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5937" h="134202">
                  <a:moveTo>
                    <a:pt x="63024" y="131317"/>
                  </a:moveTo>
                  <a:cubicBezTo>
                    <a:pt x="86122" y="136630"/>
                    <a:pt x="105938" y="134600"/>
                    <a:pt x="122591" y="125289"/>
                  </a:cubicBezTo>
                  <a:cubicBezTo>
                    <a:pt x="139244" y="115977"/>
                    <a:pt x="149748" y="101653"/>
                    <a:pt x="154225" y="82255"/>
                  </a:cubicBezTo>
                  <a:cubicBezTo>
                    <a:pt x="158403" y="63991"/>
                    <a:pt x="154941" y="47517"/>
                    <a:pt x="143780" y="32834"/>
                  </a:cubicBezTo>
                  <a:cubicBezTo>
                    <a:pt x="132678" y="18151"/>
                    <a:pt x="115548" y="8124"/>
                    <a:pt x="92449" y="2872"/>
                  </a:cubicBezTo>
                  <a:cubicBezTo>
                    <a:pt x="69709" y="-2321"/>
                    <a:pt x="50012" y="-471"/>
                    <a:pt x="33300" y="8422"/>
                  </a:cubicBezTo>
                  <a:cubicBezTo>
                    <a:pt x="16587" y="17316"/>
                    <a:pt x="6083" y="31103"/>
                    <a:pt x="1785" y="49725"/>
                  </a:cubicBezTo>
                  <a:cubicBezTo>
                    <a:pt x="-2512" y="68348"/>
                    <a:pt x="950" y="85298"/>
                    <a:pt x="12171" y="100579"/>
                  </a:cubicBezTo>
                  <a:cubicBezTo>
                    <a:pt x="23332" y="115858"/>
                    <a:pt x="40283" y="126125"/>
                    <a:pt x="63024" y="131317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B9E87AA0-3230-32BF-7814-FA1484E1CF43}"/>
                </a:ext>
              </a:extLst>
            </p:cNvPr>
            <p:cNvSpPr/>
            <p:nvPr/>
          </p:nvSpPr>
          <p:spPr>
            <a:xfrm rot="16974599">
              <a:off x="5204507" y="6546443"/>
              <a:ext cx="313414" cy="129520"/>
            </a:xfrm>
            <a:custGeom>
              <a:avLst/>
              <a:gdLst>
                <a:gd name="connsiteX0" fmla="*/ 0 w 313414"/>
                <a:gd name="connsiteY0" fmla="*/ 0 h 129520"/>
                <a:gd name="connsiteX1" fmla="*/ 313415 w 313414"/>
                <a:gd name="connsiteY1" fmla="*/ 0 h 129520"/>
                <a:gd name="connsiteX2" fmla="*/ 313415 w 313414"/>
                <a:gd name="connsiteY2" fmla="*/ 129520 h 129520"/>
                <a:gd name="connsiteX3" fmla="*/ 0 w 313414"/>
                <a:gd name="connsiteY3" fmla="*/ 129520 h 12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3414" h="129520">
                  <a:moveTo>
                    <a:pt x="0" y="0"/>
                  </a:moveTo>
                  <a:lnTo>
                    <a:pt x="313415" y="0"/>
                  </a:lnTo>
                  <a:lnTo>
                    <a:pt x="313415" y="129520"/>
                  </a:lnTo>
                  <a:lnTo>
                    <a:pt x="0" y="129520"/>
                  </a:ln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7F85F7F6-67A9-0D60-8ECD-0FB83655F4C0}"/>
                </a:ext>
              </a:extLst>
            </p:cNvPr>
            <p:cNvSpPr/>
            <p:nvPr/>
          </p:nvSpPr>
          <p:spPr>
            <a:xfrm>
              <a:off x="5449354" y="6497700"/>
              <a:ext cx="328276" cy="325001"/>
            </a:xfrm>
            <a:custGeom>
              <a:avLst/>
              <a:gdLst>
                <a:gd name="connsiteX0" fmla="*/ 194519 w 328276"/>
                <a:gd name="connsiteY0" fmla="*/ 90874 h 325001"/>
                <a:gd name="connsiteX1" fmla="*/ 280826 w 328276"/>
                <a:gd name="connsiteY1" fmla="*/ 126626 h 325001"/>
                <a:gd name="connsiteX2" fmla="*/ 328277 w 328276"/>
                <a:gd name="connsiteY2" fmla="*/ 47243 h 325001"/>
                <a:gd name="connsiteX3" fmla="*/ 273484 w 328276"/>
                <a:gd name="connsiteY3" fmla="*/ 19846 h 325001"/>
                <a:gd name="connsiteX4" fmla="*/ 205561 w 328276"/>
                <a:gd name="connsiteY4" fmla="*/ 3313 h 325001"/>
                <a:gd name="connsiteX5" fmla="*/ 117045 w 328276"/>
                <a:gd name="connsiteY5" fmla="*/ 4865 h 325001"/>
                <a:gd name="connsiteX6" fmla="*/ 57359 w 328276"/>
                <a:gd name="connsiteY6" fmla="*/ 34947 h 325001"/>
                <a:gd name="connsiteX7" fmla="*/ 31395 w 328276"/>
                <a:gd name="connsiteY7" fmla="*/ 86158 h 325001"/>
                <a:gd name="connsiteX8" fmla="*/ 43034 w 328276"/>
                <a:gd name="connsiteY8" fmla="*/ 147516 h 325001"/>
                <a:gd name="connsiteX9" fmla="*/ 85829 w 328276"/>
                <a:gd name="connsiteY9" fmla="*/ 181836 h 325001"/>
                <a:gd name="connsiteX10" fmla="*/ 148799 w 328276"/>
                <a:gd name="connsiteY10" fmla="*/ 202906 h 325001"/>
                <a:gd name="connsiteX11" fmla="*/ 183954 w 328276"/>
                <a:gd name="connsiteY11" fmla="*/ 213828 h 325001"/>
                <a:gd name="connsiteX12" fmla="*/ 193504 w 328276"/>
                <a:gd name="connsiteY12" fmla="*/ 225646 h 325001"/>
                <a:gd name="connsiteX13" fmla="*/ 183119 w 328276"/>
                <a:gd name="connsiteY13" fmla="*/ 235435 h 325001"/>
                <a:gd name="connsiteX14" fmla="*/ 151664 w 328276"/>
                <a:gd name="connsiteY14" fmla="*/ 234599 h 325001"/>
                <a:gd name="connsiteX15" fmla="*/ 95499 w 328276"/>
                <a:gd name="connsiteY15" fmla="*/ 218902 h 325001"/>
                <a:gd name="connsiteX16" fmla="*/ 47451 w 328276"/>
                <a:gd name="connsiteY16" fmla="*/ 191028 h 325001"/>
                <a:gd name="connsiteX17" fmla="*/ 0 w 328276"/>
                <a:gd name="connsiteY17" fmla="*/ 270411 h 325001"/>
                <a:gd name="connsiteX18" fmla="*/ 59150 w 328276"/>
                <a:gd name="connsiteY18" fmla="*/ 301628 h 325001"/>
                <a:gd name="connsiteX19" fmla="*/ 136145 w 328276"/>
                <a:gd name="connsiteY19" fmla="*/ 321563 h 325001"/>
                <a:gd name="connsiteX20" fmla="*/ 226093 w 328276"/>
                <a:gd name="connsiteY20" fmla="*/ 320190 h 325001"/>
                <a:gd name="connsiteX21" fmla="*/ 286078 w 328276"/>
                <a:gd name="connsiteY21" fmla="*/ 290108 h 325001"/>
                <a:gd name="connsiteX22" fmla="*/ 311923 w 328276"/>
                <a:gd name="connsiteY22" fmla="*/ 240031 h 325001"/>
                <a:gd name="connsiteX23" fmla="*/ 300284 w 328276"/>
                <a:gd name="connsiteY23" fmla="*/ 178673 h 325001"/>
                <a:gd name="connsiteX24" fmla="*/ 257846 w 328276"/>
                <a:gd name="connsiteY24" fmla="*/ 144114 h 325001"/>
                <a:gd name="connsiteX25" fmla="*/ 195235 w 328276"/>
                <a:gd name="connsiteY25" fmla="*/ 122806 h 325001"/>
                <a:gd name="connsiteX26" fmla="*/ 160378 w 328276"/>
                <a:gd name="connsiteY26" fmla="*/ 111644 h 325001"/>
                <a:gd name="connsiteX27" fmla="*/ 150590 w 328276"/>
                <a:gd name="connsiteY27" fmla="*/ 99529 h 325001"/>
                <a:gd name="connsiteX28" fmla="*/ 194698 w 328276"/>
                <a:gd name="connsiteY28" fmla="*/ 90874 h 325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28276" h="325001">
                  <a:moveTo>
                    <a:pt x="194519" y="90874"/>
                  </a:moveTo>
                  <a:cubicBezTo>
                    <a:pt x="227048" y="95589"/>
                    <a:pt x="255757" y="107526"/>
                    <a:pt x="280826" y="126626"/>
                  </a:cubicBezTo>
                  <a:lnTo>
                    <a:pt x="328277" y="47243"/>
                  </a:lnTo>
                  <a:cubicBezTo>
                    <a:pt x="313594" y="36619"/>
                    <a:pt x="295330" y="27486"/>
                    <a:pt x="273484" y="19846"/>
                  </a:cubicBezTo>
                  <a:cubicBezTo>
                    <a:pt x="251639" y="12207"/>
                    <a:pt x="228958" y="6716"/>
                    <a:pt x="205561" y="3313"/>
                  </a:cubicBezTo>
                  <a:cubicBezTo>
                    <a:pt x="171898" y="-1581"/>
                    <a:pt x="142412" y="-1044"/>
                    <a:pt x="117045" y="4865"/>
                  </a:cubicBezTo>
                  <a:cubicBezTo>
                    <a:pt x="91679" y="10834"/>
                    <a:pt x="71743" y="20861"/>
                    <a:pt x="57359" y="34947"/>
                  </a:cubicBezTo>
                  <a:cubicBezTo>
                    <a:pt x="42915" y="49033"/>
                    <a:pt x="34260" y="66163"/>
                    <a:pt x="31395" y="86158"/>
                  </a:cubicBezTo>
                  <a:cubicBezTo>
                    <a:pt x="27695" y="111466"/>
                    <a:pt x="31574" y="131938"/>
                    <a:pt x="43034" y="147516"/>
                  </a:cubicBezTo>
                  <a:cubicBezTo>
                    <a:pt x="54494" y="163094"/>
                    <a:pt x="68699" y="174495"/>
                    <a:pt x="85829" y="181836"/>
                  </a:cubicBezTo>
                  <a:cubicBezTo>
                    <a:pt x="102900" y="189177"/>
                    <a:pt x="123910" y="196161"/>
                    <a:pt x="148799" y="202906"/>
                  </a:cubicBezTo>
                  <a:cubicBezTo>
                    <a:pt x="165153" y="207203"/>
                    <a:pt x="176911" y="210844"/>
                    <a:pt x="183954" y="213828"/>
                  </a:cubicBezTo>
                  <a:cubicBezTo>
                    <a:pt x="191057" y="216812"/>
                    <a:pt x="194221" y="220752"/>
                    <a:pt x="193504" y="225646"/>
                  </a:cubicBezTo>
                  <a:cubicBezTo>
                    <a:pt x="192788" y="230541"/>
                    <a:pt x="189326" y="233824"/>
                    <a:pt x="183119" y="235435"/>
                  </a:cubicBezTo>
                  <a:cubicBezTo>
                    <a:pt x="176911" y="237046"/>
                    <a:pt x="166407" y="236748"/>
                    <a:pt x="151664" y="234599"/>
                  </a:cubicBezTo>
                  <a:cubicBezTo>
                    <a:pt x="133161" y="231913"/>
                    <a:pt x="114419" y="226661"/>
                    <a:pt x="95499" y="218902"/>
                  </a:cubicBezTo>
                  <a:cubicBezTo>
                    <a:pt x="76578" y="211142"/>
                    <a:pt x="60522" y="201831"/>
                    <a:pt x="47451" y="191028"/>
                  </a:cubicBezTo>
                  <a:lnTo>
                    <a:pt x="0" y="270411"/>
                  </a:lnTo>
                  <a:cubicBezTo>
                    <a:pt x="14564" y="281811"/>
                    <a:pt x="34260" y="292197"/>
                    <a:pt x="59150" y="301628"/>
                  </a:cubicBezTo>
                  <a:cubicBezTo>
                    <a:pt x="84039" y="311058"/>
                    <a:pt x="109704" y="317683"/>
                    <a:pt x="136145" y="321563"/>
                  </a:cubicBezTo>
                  <a:cubicBezTo>
                    <a:pt x="170525" y="326576"/>
                    <a:pt x="200547" y="326099"/>
                    <a:pt x="226093" y="320190"/>
                  </a:cubicBezTo>
                  <a:cubicBezTo>
                    <a:pt x="251639" y="314281"/>
                    <a:pt x="271634" y="304254"/>
                    <a:pt x="286078" y="290108"/>
                  </a:cubicBezTo>
                  <a:cubicBezTo>
                    <a:pt x="300463" y="276022"/>
                    <a:pt x="309117" y="259309"/>
                    <a:pt x="311923" y="240031"/>
                  </a:cubicBezTo>
                  <a:cubicBezTo>
                    <a:pt x="315623" y="214724"/>
                    <a:pt x="311744" y="194251"/>
                    <a:pt x="300284" y="178673"/>
                  </a:cubicBezTo>
                  <a:cubicBezTo>
                    <a:pt x="288824" y="163094"/>
                    <a:pt x="274678" y="151575"/>
                    <a:pt x="257846" y="144114"/>
                  </a:cubicBezTo>
                  <a:cubicBezTo>
                    <a:pt x="240955" y="136654"/>
                    <a:pt x="220125" y="129550"/>
                    <a:pt x="195235" y="122806"/>
                  </a:cubicBezTo>
                  <a:cubicBezTo>
                    <a:pt x="179239" y="118568"/>
                    <a:pt x="167660" y="114808"/>
                    <a:pt x="160378" y="111644"/>
                  </a:cubicBezTo>
                  <a:cubicBezTo>
                    <a:pt x="153096" y="108482"/>
                    <a:pt x="149873" y="104423"/>
                    <a:pt x="150590" y="99529"/>
                  </a:cubicBezTo>
                  <a:cubicBezTo>
                    <a:pt x="152022" y="89680"/>
                    <a:pt x="166705" y="86815"/>
                    <a:pt x="194698" y="90874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9A165323-996B-A263-CB56-BC00EF3C0878}"/>
                </a:ext>
              </a:extLst>
            </p:cNvPr>
            <p:cNvSpPr/>
            <p:nvPr/>
          </p:nvSpPr>
          <p:spPr>
            <a:xfrm>
              <a:off x="5801635" y="6529810"/>
              <a:ext cx="350187" cy="325334"/>
            </a:xfrm>
            <a:custGeom>
              <a:avLst/>
              <a:gdLst>
                <a:gd name="connsiteX0" fmla="*/ 270251 w 350187"/>
                <a:gd name="connsiteY0" fmla="*/ 21699 h 325334"/>
                <a:gd name="connsiteX1" fmla="*/ 185556 w 350187"/>
                <a:gd name="connsiteY1" fmla="*/ 152 h 325334"/>
                <a:gd name="connsiteX2" fmla="*/ 92922 w 350187"/>
                <a:gd name="connsiteY2" fmla="*/ 17580 h 325334"/>
                <a:gd name="connsiteX3" fmla="*/ 26490 w 350187"/>
                <a:gd name="connsiteY3" fmla="*/ 72910 h 325334"/>
                <a:gd name="connsiteX4" fmla="*/ 109 w 350187"/>
                <a:gd name="connsiteY4" fmla="*/ 155994 h 325334"/>
                <a:gd name="connsiteX5" fmla="*/ 20701 w 350187"/>
                <a:gd name="connsiteY5" fmla="*/ 240391 h 325334"/>
                <a:gd name="connsiteX6" fmla="*/ 85103 w 350187"/>
                <a:gd name="connsiteY6" fmla="*/ 300794 h 325334"/>
                <a:gd name="connsiteX7" fmla="*/ 184004 w 350187"/>
                <a:gd name="connsiteY7" fmla="*/ 325146 h 325334"/>
                <a:gd name="connsiteX8" fmla="*/ 322596 w 350187"/>
                <a:gd name="connsiteY8" fmla="*/ 279485 h 325334"/>
                <a:gd name="connsiteX9" fmla="*/ 257418 w 350187"/>
                <a:gd name="connsiteY9" fmla="*/ 208996 h 325334"/>
                <a:gd name="connsiteX10" fmla="*/ 226143 w 350187"/>
                <a:gd name="connsiteY10" fmla="*/ 225707 h 325334"/>
                <a:gd name="connsiteX11" fmla="*/ 191345 w 350187"/>
                <a:gd name="connsiteY11" fmla="*/ 229647 h 325334"/>
                <a:gd name="connsiteX12" fmla="*/ 134464 w 350187"/>
                <a:gd name="connsiteY12" fmla="*/ 200162 h 325334"/>
                <a:gd name="connsiteX13" fmla="*/ 350052 w 350187"/>
                <a:gd name="connsiteY13" fmla="*/ 166379 h 325334"/>
                <a:gd name="connsiteX14" fmla="*/ 330176 w 350187"/>
                <a:gd name="connsiteY14" fmla="*/ 78819 h 325334"/>
                <a:gd name="connsiteX15" fmla="*/ 270251 w 350187"/>
                <a:gd name="connsiteY15" fmla="*/ 21699 h 325334"/>
                <a:gd name="connsiteX16" fmla="*/ 128077 w 350187"/>
                <a:gd name="connsiteY16" fmla="*/ 138625 h 325334"/>
                <a:gd name="connsiteX17" fmla="*/ 146341 w 350187"/>
                <a:gd name="connsiteY17" fmla="*/ 100247 h 325334"/>
                <a:gd name="connsiteX18" fmla="*/ 183168 w 350187"/>
                <a:gd name="connsiteY18" fmla="*/ 88309 h 325334"/>
                <a:gd name="connsiteX19" fmla="*/ 212355 w 350187"/>
                <a:gd name="connsiteY19" fmla="*/ 98217 h 325334"/>
                <a:gd name="connsiteX20" fmla="*/ 229007 w 350187"/>
                <a:gd name="connsiteY20" fmla="*/ 122569 h 325334"/>
                <a:gd name="connsiteX21" fmla="*/ 128137 w 350187"/>
                <a:gd name="connsiteY21" fmla="*/ 138565 h 325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50187" h="325334">
                  <a:moveTo>
                    <a:pt x="270251" y="21699"/>
                  </a:moveTo>
                  <a:cubicBezTo>
                    <a:pt x="244705" y="8389"/>
                    <a:pt x="216473" y="1226"/>
                    <a:pt x="185556" y="152"/>
                  </a:cubicBezTo>
                  <a:cubicBezTo>
                    <a:pt x="151594" y="-1042"/>
                    <a:pt x="120676" y="4807"/>
                    <a:pt x="92922" y="17580"/>
                  </a:cubicBezTo>
                  <a:cubicBezTo>
                    <a:pt x="65167" y="30353"/>
                    <a:pt x="43024" y="48796"/>
                    <a:pt x="26490" y="72910"/>
                  </a:cubicBezTo>
                  <a:cubicBezTo>
                    <a:pt x="9957" y="96964"/>
                    <a:pt x="1183" y="124718"/>
                    <a:pt x="109" y="155994"/>
                  </a:cubicBezTo>
                  <a:cubicBezTo>
                    <a:pt x="-965" y="186911"/>
                    <a:pt x="5899" y="215084"/>
                    <a:pt x="20701" y="240391"/>
                  </a:cubicBezTo>
                  <a:cubicBezTo>
                    <a:pt x="35503" y="265758"/>
                    <a:pt x="56931" y="285872"/>
                    <a:pt x="85103" y="300794"/>
                  </a:cubicBezTo>
                  <a:cubicBezTo>
                    <a:pt x="113275" y="315715"/>
                    <a:pt x="146222" y="323833"/>
                    <a:pt x="184004" y="325146"/>
                  </a:cubicBezTo>
                  <a:cubicBezTo>
                    <a:pt x="243929" y="327235"/>
                    <a:pt x="290126" y="312015"/>
                    <a:pt x="322596" y="279485"/>
                  </a:cubicBezTo>
                  <a:lnTo>
                    <a:pt x="257418" y="208996"/>
                  </a:lnTo>
                  <a:cubicBezTo>
                    <a:pt x="246078" y="216993"/>
                    <a:pt x="235632" y="222545"/>
                    <a:pt x="226143" y="225707"/>
                  </a:cubicBezTo>
                  <a:cubicBezTo>
                    <a:pt x="216652" y="228811"/>
                    <a:pt x="205073" y="230124"/>
                    <a:pt x="191345" y="229647"/>
                  </a:cubicBezTo>
                  <a:cubicBezTo>
                    <a:pt x="162337" y="228632"/>
                    <a:pt x="143357" y="218784"/>
                    <a:pt x="134464" y="200162"/>
                  </a:cubicBezTo>
                  <a:lnTo>
                    <a:pt x="350052" y="166379"/>
                  </a:lnTo>
                  <a:cubicBezTo>
                    <a:pt x="351246" y="132776"/>
                    <a:pt x="344561" y="103589"/>
                    <a:pt x="330176" y="78819"/>
                  </a:cubicBezTo>
                  <a:cubicBezTo>
                    <a:pt x="315732" y="54048"/>
                    <a:pt x="295737" y="35009"/>
                    <a:pt x="270251" y="21699"/>
                  </a:cubicBezTo>
                  <a:close/>
                  <a:moveTo>
                    <a:pt x="128077" y="138625"/>
                  </a:moveTo>
                  <a:cubicBezTo>
                    <a:pt x="130584" y="121495"/>
                    <a:pt x="136672" y="108722"/>
                    <a:pt x="146341" y="100247"/>
                  </a:cubicBezTo>
                  <a:cubicBezTo>
                    <a:pt x="156011" y="91771"/>
                    <a:pt x="168246" y="87831"/>
                    <a:pt x="183168" y="88309"/>
                  </a:cubicBezTo>
                  <a:cubicBezTo>
                    <a:pt x="194628" y="88727"/>
                    <a:pt x="204357" y="92010"/>
                    <a:pt x="212355" y="98217"/>
                  </a:cubicBezTo>
                  <a:cubicBezTo>
                    <a:pt x="220353" y="104424"/>
                    <a:pt x="225904" y="112542"/>
                    <a:pt x="229007" y="122569"/>
                  </a:cubicBezTo>
                  <a:lnTo>
                    <a:pt x="128137" y="138565"/>
                  </a:ln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7A3A4D56-EF39-99DC-9C91-6C4742F3ABC2}"/>
                </a:ext>
              </a:extLst>
            </p:cNvPr>
            <p:cNvSpPr/>
            <p:nvPr/>
          </p:nvSpPr>
          <p:spPr>
            <a:xfrm>
              <a:off x="6380107" y="6383251"/>
              <a:ext cx="209560" cy="92216"/>
            </a:xfrm>
            <a:custGeom>
              <a:avLst/>
              <a:gdLst>
                <a:gd name="connsiteX0" fmla="*/ 124387 w 209560"/>
                <a:gd name="connsiteY0" fmla="*/ 92216 h 92216"/>
                <a:gd name="connsiteX1" fmla="*/ 209560 w 209560"/>
                <a:gd name="connsiteY1" fmla="*/ 80399 h 92216"/>
                <a:gd name="connsiteX2" fmla="*/ 122000 w 209560"/>
                <a:gd name="connsiteY2" fmla="*/ 0 h 92216"/>
                <a:gd name="connsiteX3" fmla="*/ 0 w 209560"/>
                <a:gd name="connsiteY3" fmla="*/ 16892 h 92216"/>
                <a:gd name="connsiteX4" fmla="*/ 124387 w 209560"/>
                <a:gd name="connsiteY4" fmla="*/ 92216 h 92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9560" h="92216">
                  <a:moveTo>
                    <a:pt x="124387" y="92216"/>
                  </a:moveTo>
                  <a:lnTo>
                    <a:pt x="209560" y="80399"/>
                  </a:lnTo>
                  <a:lnTo>
                    <a:pt x="122000" y="0"/>
                  </a:lnTo>
                  <a:lnTo>
                    <a:pt x="0" y="16892"/>
                  </a:lnTo>
                  <a:lnTo>
                    <a:pt x="124387" y="92216"/>
                  </a:ln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344F90C3-BA9A-DC83-6587-B580B67291D0}"/>
                </a:ext>
              </a:extLst>
            </p:cNvPr>
            <p:cNvSpPr/>
            <p:nvPr/>
          </p:nvSpPr>
          <p:spPr>
            <a:xfrm>
              <a:off x="6358465" y="6483525"/>
              <a:ext cx="380538" cy="346464"/>
            </a:xfrm>
            <a:custGeom>
              <a:avLst/>
              <a:gdLst>
                <a:gd name="connsiteX0" fmla="*/ 209238 w 380538"/>
                <a:gd name="connsiteY0" fmla="*/ 17906 h 346464"/>
                <a:gd name="connsiteX1" fmla="*/ 212163 w 380538"/>
                <a:gd name="connsiteY1" fmla="*/ 38916 h 346464"/>
                <a:gd name="connsiteX2" fmla="*/ 129556 w 380538"/>
                <a:gd name="connsiteY2" fmla="*/ 23158 h 346464"/>
                <a:gd name="connsiteX3" fmla="*/ 57097 w 380538"/>
                <a:gd name="connsiteY3" fmla="*/ 53181 h 346464"/>
                <a:gd name="connsiteX4" fmla="*/ 10422 w 380538"/>
                <a:gd name="connsiteY4" fmla="*/ 116926 h 346464"/>
                <a:gd name="connsiteX5" fmla="*/ 2066 w 380538"/>
                <a:gd name="connsiteY5" fmla="*/ 204546 h 346464"/>
                <a:gd name="connsiteX6" fmla="*/ 33998 w 380538"/>
                <a:gd name="connsiteY6" fmla="*/ 286854 h 346464"/>
                <a:gd name="connsiteX7" fmla="*/ 96311 w 380538"/>
                <a:gd name="connsiteY7" fmla="*/ 335738 h 346464"/>
                <a:gd name="connsiteX8" fmla="*/ 174202 w 380538"/>
                <a:gd name="connsiteY8" fmla="*/ 344870 h 346464"/>
                <a:gd name="connsiteX9" fmla="*/ 255018 w 380538"/>
                <a:gd name="connsiteY9" fmla="*/ 301835 h 346464"/>
                <a:gd name="connsiteX10" fmla="*/ 258539 w 380538"/>
                <a:gd name="connsiteY10" fmla="*/ 327381 h 346464"/>
                <a:gd name="connsiteX11" fmla="*/ 380539 w 380538"/>
                <a:gd name="connsiteY11" fmla="*/ 310431 h 346464"/>
                <a:gd name="connsiteX12" fmla="*/ 337445 w 380538"/>
                <a:gd name="connsiteY12" fmla="*/ 0 h 346464"/>
                <a:gd name="connsiteX13" fmla="*/ 209179 w 380538"/>
                <a:gd name="connsiteY13" fmla="*/ 17787 h 346464"/>
                <a:gd name="connsiteX14" fmla="*/ 225055 w 380538"/>
                <a:gd name="connsiteY14" fmla="*/ 219588 h 346464"/>
                <a:gd name="connsiteX15" fmla="*/ 190974 w 380538"/>
                <a:gd name="connsiteY15" fmla="*/ 240776 h 346464"/>
                <a:gd name="connsiteX16" fmla="*/ 152417 w 380538"/>
                <a:gd name="connsiteY16" fmla="*/ 229615 h 346464"/>
                <a:gd name="connsiteX17" fmla="*/ 131944 w 380538"/>
                <a:gd name="connsiteY17" fmla="*/ 186461 h 346464"/>
                <a:gd name="connsiteX18" fmla="*/ 139882 w 380538"/>
                <a:gd name="connsiteY18" fmla="*/ 139667 h 346464"/>
                <a:gd name="connsiteX19" fmla="*/ 174023 w 380538"/>
                <a:gd name="connsiteY19" fmla="*/ 118717 h 346464"/>
                <a:gd name="connsiteX20" fmla="*/ 212581 w 380538"/>
                <a:gd name="connsiteY20" fmla="*/ 129580 h 346464"/>
                <a:gd name="connsiteX21" fmla="*/ 232994 w 380538"/>
                <a:gd name="connsiteY21" fmla="*/ 172435 h 346464"/>
                <a:gd name="connsiteX22" fmla="*/ 225055 w 380538"/>
                <a:gd name="connsiteY22" fmla="*/ 219528 h 346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80538" h="346464">
                  <a:moveTo>
                    <a:pt x="209238" y="17906"/>
                  </a:moveTo>
                  <a:lnTo>
                    <a:pt x="212163" y="38916"/>
                  </a:lnTo>
                  <a:cubicBezTo>
                    <a:pt x="191511" y="23636"/>
                    <a:pt x="163996" y="18383"/>
                    <a:pt x="129556" y="23158"/>
                  </a:cubicBezTo>
                  <a:cubicBezTo>
                    <a:pt x="102339" y="26919"/>
                    <a:pt x="78166" y="36946"/>
                    <a:pt x="57097" y="53181"/>
                  </a:cubicBezTo>
                  <a:cubicBezTo>
                    <a:pt x="36027" y="69416"/>
                    <a:pt x="20449" y="90664"/>
                    <a:pt x="10422" y="116926"/>
                  </a:cubicBezTo>
                  <a:cubicBezTo>
                    <a:pt x="394" y="143188"/>
                    <a:pt x="-2411" y="172435"/>
                    <a:pt x="2066" y="204546"/>
                  </a:cubicBezTo>
                  <a:cubicBezTo>
                    <a:pt x="6542" y="236718"/>
                    <a:pt x="17166" y="264173"/>
                    <a:pt x="33998" y="286854"/>
                  </a:cubicBezTo>
                  <a:cubicBezTo>
                    <a:pt x="50830" y="309595"/>
                    <a:pt x="71601" y="325889"/>
                    <a:pt x="96311" y="335738"/>
                  </a:cubicBezTo>
                  <a:cubicBezTo>
                    <a:pt x="121021" y="345646"/>
                    <a:pt x="146985" y="348690"/>
                    <a:pt x="174202" y="344870"/>
                  </a:cubicBezTo>
                  <a:cubicBezTo>
                    <a:pt x="212402" y="339558"/>
                    <a:pt x="239320" y="325233"/>
                    <a:pt x="255018" y="301835"/>
                  </a:cubicBezTo>
                  <a:lnTo>
                    <a:pt x="258539" y="327381"/>
                  </a:lnTo>
                  <a:lnTo>
                    <a:pt x="380539" y="310431"/>
                  </a:lnTo>
                  <a:lnTo>
                    <a:pt x="337445" y="0"/>
                  </a:lnTo>
                  <a:lnTo>
                    <a:pt x="209179" y="17787"/>
                  </a:lnTo>
                  <a:close/>
                  <a:moveTo>
                    <a:pt x="225055" y="219588"/>
                  </a:moveTo>
                  <a:cubicBezTo>
                    <a:pt x="217117" y="231703"/>
                    <a:pt x="205717" y="238747"/>
                    <a:pt x="190974" y="240776"/>
                  </a:cubicBezTo>
                  <a:cubicBezTo>
                    <a:pt x="176231" y="242805"/>
                    <a:pt x="163339" y="239104"/>
                    <a:pt x="152417" y="229615"/>
                  </a:cubicBezTo>
                  <a:cubicBezTo>
                    <a:pt x="141434" y="220125"/>
                    <a:pt x="134630" y="205740"/>
                    <a:pt x="131944" y="186461"/>
                  </a:cubicBezTo>
                  <a:cubicBezTo>
                    <a:pt x="129258" y="167182"/>
                    <a:pt x="131944" y="151545"/>
                    <a:pt x="139882" y="139667"/>
                  </a:cubicBezTo>
                  <a:cubicBezTo>
                    <a:pt x="147880" y="127789"/>
                    <a:pt x="159221" y="120806"/>
                    <a:pt x="174023" y="118717"/>
                  </a:cubicBezTo>
                  <a:cubicBezTo>
                    <a:pt x="188765" y="116688"/>
                    <a:pt x="201598" y="120269"/>
                    <a:pt x="212581" y="129580"/>
                  </a:cubicBezTo>
                  <a:cubicBezTo>
                    <a:pt x="223503" y="138891"/>
                    <a:pt x="230308" y="153156"/>
                    <a:pt x="232994" y="172435"/>
                  </a:cubicBezTo>
                  <a:cubicBezTo>
                    <a:pt x="235680" y="191714"/>
                    <a:pt x="232994" y="207411"/>
                    <a:pt x="225055" y="219528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4376514B-9BBA-7725-18AD-D04485595F9A}"/>
                </a:ext>
              </a:extLst>
            </p:cNvPr>
            <p:cNvSpPr/>
            <p:nvPr/>
          </p:nvSpPr>
          <p:spPr>
            <a:xfrm>
              <a:off x="6908752" y="6285828"/>
              <a:ext cx="614354" cy="450590"/>
            </a:xfrm>
            <a:custGeom>
              <a:avLst/>
              <a:gdLst>
                <a:gd name="connsiteX0" fmla="*/ 485432 w 614354"/>
                <a:gd name="connsiteY0" fmla="*/ 11117 h 450590"/>
                <a:gd name="connsiteX1" fmla="*/ 388143 w 614354"/>
                <a:gd name="connsiteY1" fmla="*/ 9207 h 450590"/>
                <a:gd name="connsiteX2" fmla="*/ 336872 w 614354"/>
                <a:gd name="connsiteY2" fmla="*/ 40901 h 450590"/>
                <a:gd name="connsiteX3" fmla="*/ 305775 w 614354"/>
                <a:gd name="connsiteY3" fmla="*/ 89665 h 450590"/>
                <a:gd name="connsiteX4" fmla="*/ 254802 w 614354"/>
                <a:gd name="connsiteY4" fmla="*/ 70028 h 450590"/>
                <a:gd name="connsiteX5" fmla="*/ 197444 w 614354"/>
                <a:gd name="connsiteY5" fmla="*/ 78324 h 450590"/>
                <a:gd name="connsiteX6" fmla="*/ 125820 w 614354"/>
                <a:gd name="connsiteY6" fmla="*/ 141413 h 450590"/>
                <a:gd name="connsiteX7" fmla="*/ 115852 w 614354"/>
                <a:gd name="connsiteY7" fmla="*/ 113957 h 450590"/>
                <a:gd name="connsiteX8" fmla="*/ 0 w 614354"/>
                <a:gd name="connsiteY8" fmla="*/ 155917 h 450590"/>
                <a:gd name="connsiteX9" fmla="*/ 106780 w 614354"/>
                <a:gd name="connsiteY9" fmla="*/ 450590 h 450590"/>
                <a:gd name="connsiteX10" fmla="*/ 228541 w 614354"/>
                <a:gd name="connsiteY10" fmla="*/ 406482 h 450590"/>
                <a:gd name="connsiteX11" fmla="*/ 176434 w 614354"/>
                <a:gd name="connsiteY11" fmla="*/ 262637 h 450590"/>
                <a:gd name="connsiteX12" fmla="*/ 172137 w 614354"/>
                <a:gd name="connsiteY12" fmla="*/ 217872 h 450590"/>
                <a:gd name="connsiteX13" fmla="*/ 195176 w 614354"/>
                <a:gd name="connsiteY13" fmla="*/ 194893 h 450590"/>
                <a:gd name="connsiteX14" fmla="*/ 246387 w 614354"/>
                <a:gd name="connsiteY14" fmla="*/ 233629 h 450590"/>
                <a:gd name="connsiteX15" fmla="*/ 299687 w 614354"/>
                <a:gd name="connsiteY15" fmla="*/ 380697 h 450590"/>
                <a:gd name="connsiteX16" fmla="*/ 421448 w 614354"/>
                <a:gd name="connsiteY16" fmla="*/ 336589 h 450590"/>
                <a:gd name="connsiteX17" fmla="*/ 369341 w 614354"/>
                <a:gd name="connsiteY17" fmla="*/ 192744 h 450590"/>
                <a:gd name="connsiteX18" fmla="*/ 365044 w 614354"/>
                <a:gd name="connsiteY18" fmla="*/ 147979 h 450590"/>
                <a:gd name="connsiteX19" fmla="*/ 388083 w 614354"/>
                <a:gd name="connsiteY19" fmla="*/ 124999 h 450590"/>
                <a:gd name="connsiteX20" fmla="*/ 439294 w 614354"/>
                <a:gd name="connsiteY20" fmla="*/ 163736 h 450590"/>
                <a:gd name="connsiteX21" fmla="*/ 492594 w 614354"/>
                <a:gd name="connsiteY21" fmla="*/ 310804 h 450590"/>
                <a:gd name="connsiteX22" fmla="*/ 614355 w 614354"/>
                <a:gd name="connsiteY22" fmla="*/ 266695 h 450590"/>
                <a:gd name="connsiteX23" fmla="*/ 553475 w 614354"/>
                <a:gd name="connsiteY23" fmla="*/ 98618 h 450590"/>
                <a:gd name="connsiteX24" fmla="*/ 485492 w 614354"/>
                <a:gd name="connsiteY24" fmla="*/ 11117 h 450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14354" h="450590">
                  <a:moveTo>
                    <a:pt x="485432" y="11117"/>
                  </a:moveTo>
                  <a:cubicBezTo>
                    <a:pt x="456126" y="-3029"/>
                    <a:pt x="423716" y="-3685"/>
                    <a:pt x="388143" y="9207"/>
                  </a:cubicBezTo>
                  <a:cubicBezTo>
                    <a:pt x="368028" y="16489"/>
                    <a:pt x="350958" y="27054"/>
                    <a:pt x="336872" y="40901"/>
                  </a:cubicBezTo>
                  <a:cubicBezTo>
                    <a:pt x="322786" y="54748"/>
                    <a:pt x="312400" y="70983"/>
                    <a:pt x="305775" y="89665"/>
                  </a:cubicBezTo>
                  <a:cubicBezTo>
                    <a:pt x="290256" y="78205"/>
                    <a:pt x="273246" y="71699"/>
                    <a:pt x="254802" y="70028"/>
                  </a:cubicBezTo>
                  <a:cubicBezTo>
                    <a:pt x="236300" y="68416"/>
                    <a:pt x="217200" y="71162"/>
                    <a:pt x="197444" y="78324"/>
                  </a:cubicBezTo>
                  <a:cubicBezTo>
                    <a:pt x="163661" y="90560"/>
                    <a:pt x="139846" y="111569"/>
                    <a:pt x="125820" y="141413"/>
                  </a:cubicBezTo>
                  <a:lnTo>
                    <a:pt x="115852" y="113957"/>
                  </a:lnTo>
                  <a:lnTo>
                    <a:pt x="0" y="155917"/>
                  </a:lnTo>
                  <a:lnTo>
                    <a:pt x="106780" y="450590"/>
                  </a:lnTo>
                  <a:lnTo>
                    <a:pt x="228541" y="406482"/>
                  </a:lnTo>
                  <a:lnTo>
                    <a:pt x="176434" y="262637"/>
                  </a:lnTo>
                  <a:cubicBezTo>
                    <a:pt x="169689" y="243955"/>
                    <a:pt x="168197" y="229033"/>
                    <a:pt x="172137" y="217872"/>
                  </a:cubicBezTo>
                  <a:cubicBezTo>
                    <a:pt x="176016" y="206710"/>
                    <a:pt x="183716" y="199070"/>
                    <a:pt x="195176" y="194893"/>
                  </a:cubicBezTo>
                  <a:cubicBezTo>
                    <a:pt x="217080" y="186954"/>
                    <a:pt x="234151" y="199846"/>
                    <a:pt x="246387" y="233629"/>
                  </a:cubicBezTo>
                  <a:lnTo>
                    <a:pt x="299687" y="380697"/>
                  </a:lnTo>
                  <a:lnTo>
                    <a:pt x="421448" y="336589"/>
                  </a:lnTo>
                  <a:lnTo>
                    <a:pt x="369341" y="192744"/>
                  </a:lnTo>
                  <a:cubicBezTo>
                    <a:pt x="362597" y="174062"/>
                    <a:pt x="361104" y="159140"/>
                    <a:pt x="365044" y="147979"/>
                  </a:cubicBezTo>
                  <a:cubicBezTo>
                    <a:pt x="368923" y="136818"/>
                    <a:pt x="376623" y="129177"/>
                    <a:pt x="388083" y="124999"/>
                  </a:cubicBezTo>
                  <a:cubicBezTo>
                    <a:pt x="409988" y="117061"/>
                    <a:pt x="427058" y="129953"/>
                    <a:pt x="439294" y="163736"/>
                  </a:cubicBezTo>
                  <a:lnTo>
                    <a:pt x="492594" y="310804"/>
                  </a:lnTo>
                  <a:lnTo>
                    <a:pt x="614355" y="266695"/>
                  </a:lnTo>
                  <a:lnTo>
                    <a:pt x="553475" y="98618"/>
                  </a:lnTo>
                  <a:cubicBezTo>
                    <a:pt x="537479" y="54450"/>
                    <a:pt x="514798" y="25263"/>
                    <a:pt x="485492" y="11117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60C99352-4B7D-1728-31C0-B05D2ECB7C54}"/>
                </a:ext>
              </a:extLst>
            </p:cNvPr>
            <p:cNvSpPr/>
            <p:nvPr/>
          </p:nvSpPr>
          <p:spPr>
            <a:xfrm rot="19980002">
              <a:off x="7519731" y="6180399"/>
              <a:ext cx="129520" cy="313414"/>
            </a:xfrm>
            <a:custGeom>
              <a:avLst/>
              <a:gdLst>
                <a:gd name="connsiteX0" fmla="*/ 0 w 129520"/>
                <a:gd name="connsiteY0" fmla="*/ 0 h 313414"/>
                <a:gd name="connsiteX1" fmla="*/ 129520 w 129520"/>
                <a:gd name="connsiteY1" fmla="*/ 0 h 313414"/>
                <a:gd name="connsiteX2" fmla="*/ 129520 w 129520"/>
                <a:gd name="connsiteY2" fmla="*/ 313415 h 313414"/>
                <a:gd name="connsiteX3" fmla="*/ 0 w 129520"/>
                <a:gd name="connsiteY3" fmla="*/ 313415 h 313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520" h="313414">
                  <a:moveTo>
                    <a:pt x="0" y="0"/>
                  </a:moveTo>
                  <a:lnTo>
                    <a:pt x="129520" y="0"/>
                  </a:lnTo>
                  <a:lnTo>
                    <a:pt x="129520" y="313415"/>
                  </a:lnTo>
                  <a:lnTo>
                    <a:pt x="0" y="313415"/>
                  </a:ln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9ED05601-27ED-A60D-2AC2-3F1F7518BC2D}"/>
                </a:ext>
              </a:extLst>
            </p:cNvPr>
            <p:cNvSpPr/>
            <p:nvPr/>
          </p:nvSpPr>
          <p:spPr>
            <a:xfrm>
              <a:off x="7395410" y="6046035"/>
              <a:ext cx="152668" cy="140092"/>
            </a:xfrm>
            <a:custGeom>
              <a:avLst/>
              <a:gdLst>
                <a:gd name="connsiteX0" fmla="*/ 105255 w 152668"/>
                <a:gd name="connsiteY0" fmla="*/ 1718 h 140092"/>
                <a:gd name="connsiteX1" fmla="*/ 46643 w 152668"/>
                <a:gd name="connsiteY1" fmla="*/ 11625 h 140092"/>
                <a:gd name="connsiteX2" fmla="*/ 4802 w 152668"/>
                <a:gd name="connsiteY2" fmla="*/ 53824 h 140092"/>
                <a:gd name="connsiteX3" fmla="*/ 7130 w 152668"/>
                <a:gd name="connsiteY3" fmla="*/ 105692 h 140092"/>
                <a:gd name="connsiteX4" fmla="*/ 47717 w 152668"/>
                <a:gd name="connsiteY4" fmla="*/ 138042 h 140092"/>
                <a:gd name="connsiteX5" fmla="*/ 106449 w 152668"/>
                <a:gd name="connsiteY5" fmla="*/ 129029 h 140092"/>
                <a:gd name="connsiteX6" fmla="*/ 148289 w 152668"/>
                <a:gd name="connsiteY6" fmla="*/ 86174 h 140092"/>
                <a:gd name="connsiteX7" fmla="*/ 144947 w 152668"/>
                <a:gd name="connsiteY7" fmla="*/ 32874 h 140092"/>
                <a:gd name="connsiteX8" fmla="*/ 105255 w 152668"/>
                <a:gd name="connsiteY8" fmla="*/ 1658 h 140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668" h="140092">
                  <a:moveTo>
                    <a:pt x="105255" y="1718"/>
                  </a:moveTo>
                  <a:cubicBezTo>
                    <a:pt x="87289" y="-2401"/>
                    <a:pt x="67772" y="882"/>
                    <a:pt x="46643" y="11625"/>
                  </a:cubicBezTo>
                  <a:cubicBezTo>
                    <a:pt x="25872" y="22190"/>
                    <a:pt x="11965" y="36276"/>
                    <a:pt x="4802" y="53824"/>
                  </a:cubicBezTo>
                  <a:cubicBezTo>
                    <a:pt x="-2300" y="71372"/>
                    <a:pt x="-1524" y="88681"/>
                    <a:pt x="7130" y="105692"/>
                  </a:cubicBezTo>
                  <a:cubicBezTo>
                    <a:pt x="15785" y="122703"/>
                    <a:pt x="29334" y="133505"/>
                    <a:pt x="47717" y="138042"/>
                  </a:cubicBezTo>
                  <a:cubicBezTo>
                    <a:pt x="66101" y="142578"/>
                    <a:pt x="85678" y="139594"/>
                    <a:pt x="106449" y="129029"/>
                  </a:cubicBezTo>
                  <a:cubicBezTo>
                    <a:pt x="127518" y="118286"/>
                    <a:pt x="141485" y="104021"/>
                    <a:pt x="148289" y="86174"/>
                  </a:cubicBezTo>
                  <a:cubicBezTo>
                    <a:pt x="155093" y="68388"/>
                    <a:pt x="153959" y="50601"/>
                    <a:pt x="144947" y="32874"/>
                  </a:cubicBezTo>
                  <a:cubicBezTo>
                    <a:pt x="136471" y="16221"/>
                    <a:pt x="123221" y="5776"/>
                    <a:pt x="105255" y="1658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49AC1A6E-0E26-01A2-675F-236B531DDE4E}"/>
                </a:ext>
              </a:extLst>
            </p:cNvPr>
            <p:cNvSpPr/>
            <p:nvPr/>
          </p:nvSpPr>
          <p:spPr>
            <a:xfrm>
              <a:off x="7644922" y="6018805"/>
              <a:ext cx="340046" cy="381755"/>
            </a:xfrm>
            <a:custGeom>
              <a:avLst/>
              <a:gdLst>
                <a:gd name="connsiteX0" fmla="*/ 278982 w 340046"/>
                <a:gd name="connsiteY0" fmla="*/ 118836 h 381755"/>
                <a:gd name="connsiteX1" fmla="*/ 224250 w 340046"/>
                <a:gd name="connsiteY1" fmla="*/ 119553 h 381755"/>
                <a:gd name="connsiteX2" fmla="*/ 162533 w 340046"/>
                <a:gd name="connsiteY2" fmla="*/ 143427 h 381755"/>
                <a:gd name="connsiteX3" fmla="*/ 128631 w 340046"/>
                <a:gd name="connsiteY3" fmla="*/ 157215 h 381755"/>
                <a:gd name="connsiteX4" fmla="*/ 113292 w 340046"/>
                <a:gd name="connsiteY4" fmla="*/ 154170 h 381755"/>
                <a:gd name="connsiteX5" fmla="*/ 141583 w 340046"/>
                <a:gd name="connsiteY5" fmla="*/ 119254 h 381755"/>
                <a:gd name="connsiteX6" fmla="*/ 230695 w 340046"/>
                <a:gd name="connsiteY6" fmla="*/ 91321 h 381755"/>
                <a:gd name="connsiteX7" fmla="*/ 216192 w 340046"/>
                <a:gd name="connsiteY7" fmla="*/ 0 h 381755"/>
                <a:gd name="connsiteX8" fmla="*/ 156624 w 340046"/>
                <a:gd name="connsiteY8" fmla="*/ 14146 h 381755"/>
                <a:gd name="connsiteX9" fmla="*/ 93894 w 340046"/>
                <a:gd name="connsiteY9" fmla="*/ 45004 h 381755"/>
                <a:gd name="connsiteX10" fmla="*/ 26985 w 340046"/>
                <a:gd name="connsiteY10" fmla="*/ 103019 h 381755"/>
                <a:gd name="connsiteX11" fmla="*/ 484 w 340046"/>
                <a:gd name="connsiteY11" fmla="*/ 164377 h 381755"/>
                <a:gd name="connsiteX12" fmla="*/ 13436 w 340046"/>
                <a:gd name="connsiteY12" fmla="*/ 220363 h 381755"/>
                <a:gd name="connsiteX13" fmla="*/ 61722 w 340046"/>
                <a:gd name="connsiteY13" fmla="*/ 259935 h 381755"/>
                <a:gd name="connsiteX14" fmla="*/ 116574 w 340046"/>
                <a:gd name="connsiteY14" fmla="*/ 258801 h 381755"/>
                <a:gd name="connsiteX15" fmla="*/ 178350 w 340046"/>
                <a:gd name="connsiteY15" fmla="*/ 234568 h 381755"/>
                <a:gd name="connsiteX16" fmla="*/ 212312 w 340046"/>
                <a:gd name="connsiteY16" fmla="*/ 220363 h 381755"/>
                <a:gd name="connsiteX17" fmla="*/ 227234 w 340046"/>
                <a:gd name="connsiteY17" fmla="*/ 223288 h 381755"/>
                <a:gd name="connsiteX18" fmla="*/ 225503 w 340046"/>
                <a:gd name="connsiteY18" fmla="*/ 237434 h 381755"/>
                <a:gd name="connsiteX19" fmla="*/ 200852 w 340046"/>
                <a:gd name="connsiteY19" fmla="*/ 256951 h 381755"/>
                <a:gd name="connsiteX20" fmla="*/ 147671 w 340046"/>
                <a:gd name="connsiteY20" fmla="*/ 280945 h 381755"/>
                <a:gd name="connsiteX21" fmla="*/ 92939 w 340046"/>
                <a:gd name="connsiteY21" fmla="*/ 290436 h 381755"/>
                <a:gd name="connsiteX22" fmla="*/ 107443 w 340046"/>
                <a:gd name="connsiteY22" fmla="*/ 381756 h 381755"/>
                <a:gd name="connsiteX23" fmla="*/ 172859 w 340046"/>
                <a:gd name="connsiteY23" fmla="*/ 367730 h 381755"/>
                <a:gd name="connsiteX24" fmla="*/ 244722 w 340046"/>
                <a:gd name="connsiteY24" fmla="*/ 333589 h 381755"/>
                <a:gd name="connsiteX25" fmla="*/ 312824 w 340046"/>
                <a:gd name="connsiteY25" fmla="*/ 274857 h 381755"/>
                <a:gd name="connsiteX26" fmla="*/ 339564 w 340046"/>
                <a:gd name="connsiteY26" fmla="*/ 213320 h 381755"/>
                <a:gd name="connsiteX27" fmla="*/ 327269 w 340046"/>
                <a:gd name="connsiteY27" fmla="*/ 158349 h 381755"/>
                <a:gd name="connsiteX28" fmla="*/ 278982 w 340046"/>
                <a:gd name="connsiteY28" fmla="*/ 118777 h 381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0046" h="381755">
                  <a:moveTo>
                    <a:pt x="278982" y="118836"/>
                  </a:moveTo>
                  <a:cubicBezTo>
                    <a:pt x="260240" y="114240"/>
                    <a:pt x="241976" y="114479"/>
                    <a:pt x="224250" y="119553"/>
                  </a:cubicBezTo>
                  <a:cubicBezTo>
                    <a:pt x="206522" y="124626"/>
                    <a:pt x="185930" y="132624"/>
                    <a:pt x="162533" y="143427"/>
                  </a:cubicBezTo>
                  <a:cubicBezTo>
                    <a:pt x="147552" y="150410"/>
                    <a:pt x="136271" y="155006"/>
                    <a:pt x="128631" y="157215"/>
                  </a:cubicBezTo>
                  <a:cubicBezTo>
                    <a:pt x="121051" y="159423"/>
                    <a:pt x="115918" y="158408"/>
                    <a:pt x="113292" y="154170"/>
                  </a:cubicBezTo>
                  <a:cubicBezTo>
                    <a:pt x="108099" y="145695"/>
                    <a:pt x="117530" y="134056"/>
                    <a:pt x="141583" y="119254"/>
                  </a:cubicBezTo>
                  <a:cubicBezTo>
                    <a:pt x="169576" y="102004"/>
                    <a:pt x="199241" y="92693"/>
                    <a:pt x="230695" y="91321"/>
                  </a:cubicBezTo>
                  <a:lnTo>
                    <a:pt x="216192" y="0"/>
                  </a:lnTo>
                  <a:cubicBezTo>
                    <a:pt x="198107" y="1253"/>
                    <a:pt x="178291" y="5969"/>
                    <a:pt x="156624" y="14146"/>
                  </a:cubicBezTo>
                  <a:cubicBezTo>
                    <a:pt x="134958" y="22323"/>
                    <a:pt x="114068" y="32589"/>
                    <a:pt x="93894" y="45004"/>
                  </a:cubicBezTo>
                  <a:cubicBezTo>
                    <a:pt x="64946" y="62850"/>
                    <a:pt x="42623" y="82188"/>
                    <a:pt x="26985" y="103019"/>
                  </a:cubicBezTo>
                  <a:cubicBezTo>
                    <a:pt x="11347" y="123850"/>
                    <a:pt x="2513" y="144322"/>
                    <a:pt x="484" y="164377"/>
                  </a:cubicBezTo>
                  <a:cubicBezTo>
                    <a:pt x="-1545" y="184432"/>
                    <a:pt x="2812" y="203114"/>
                    <a:pt x="13436" y="220363"/>
                  </a:cubicBezTo>
                  <a:cubicBezTo>
                    <a:pt x="26866" y="242149"/>
                    <a:pt x="42921" y="255340"/>
                    <a:pt x="61722" y="259935"/>
                  </a:cubicBezTo>
                  <a:cubicBezTo>
                    <a:pt x="80464" y="264531"/>
                    <a:pt x="98728" y="264173"/>
                    <a:pt x="116574" y="258801"/>
                  </a:cubicBezTo>
                  <a:cubicBezTo>
                    <a:pt x="134361" y="253489"/>
                    <a:pt x="154953" y="245372"/>
                    <a:pt x="178350" y="234568"/>
                  </a:cubicBezTo>
                  <a:cubicBezTo>
                    <a:pt x="193690" y="227406"/>
                    <a:pt x="204970" y="222631"/>
                    <a:pt x="212312" y="220363"/>
                  </a:cubicBezTo>
                  <a:cubicBezTo>
                    <a:pt x="219654" y="218095"/>
                    <a:pt x="224608" y="219050"/>
                    <a:pt x="227234" y="223288"/>
                  </a:cubicBezTo>
                  <a:cubicBezTo>
                    <a:pt x="229860" y="227526"/>
                    <a:pt x="229263" y="232241"/>
                    <a:pt x="225503" y="237434"/>
                  </a:cubicBezTo>
                  <a:cubicBezTo>
                    <a:pt x="221742" y="242686"/>
                    <a:pt x="213565" y="249192"/>
                    <a:pt x="200852" y="256951"/>
                  </a:cubicBezTo>
                  <a:cubicBezTo>
                    <a:pt x="184916" y="266739"/>
                    <a:pt x="167189" y="274738"/>
                    <a:pt x="147671" y="280945"/>
                  </a:cubicBezTo>
                  <a:cubicBezTo>
                    <a:pt x="128154" y="287153"/>
                    <a:pt x="109890" y="290316"/>
                    <a:pt x="92939" y="290436"/>
                  </a:cubicBezTo>
                  <a:lnTo>
                    <a:pt x="107443" y="381756"/>
                  </a:lnTo>
                  <a:cubicBezTo>
                    <a:pt x="125886" y="381159"/>
                    <a:pt x="147731" y="376503"/>
                    <a:pt x="172859" y="367730"/>
                  </a:cubicBezTo>
                  <a:cubicBezTo>
                    <a:pt x="197987" y="359016"/>
                    <a:pt x="221922" y="347615"/>
                    <a:pt x="244722" y="333589"/>
                  </a:cubicBezTo>
                  <a:cubicBezTo>
                    <a:pt x="274326" y="315384"/>
                    <a:pt x="297008" y="295747"/>
                    <a:pt x="312824" y="274857"/>
                  </a:cubicBezTo>
                  <a:cubicBezTo>
                    <a:pt x="328641" y="253907"/>
                    <a:pt x="337535" y="233375"/>
                    <a:pt x="339564" y="213320"/>
                  </a:cubicBezTo>
                  <a:cubicBezTo>
                    <a:pt x="341534" y="193266"/>
                    <a:pt x="337475" y="174941"/>
                    <a:pt x="327269" y="158349"/>
                  </a:cubicBezTo>
                  <a:cubicBezTo>
                    <a:pt x="313839" y="136563"/>
                    <a:pt x="297784" y="123372"/>
                    <a:pt x="278982" y="118777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6" name="Forme libre : forme 135">
              <a:extLst>
                <a:ext uri="{FF2B5EF4-FFF2-40B4-BE49-F238E27FC236}">
                  <a16:creationId xmlns:a16="http://schemas.microsoft.com/office/drawing/2014/main" id="{E5C1EA61-ACD5-7B3F-4BBF-F30E882456D3}"/>
                </a:ext>
              </a:extLst>
            </p:cNvPr>
            <p:cNvSpPr/>
            <p:nvPr/>
          </p:nvSpPr>
          <p:spPr>
            <a:xfrm>
              <a:off x="7917875" y="5826315"/>
              <a:ext cx="342303" cy="391007"/>
            </a:xfrm>
            <a:custGeom>
              <a:avLst/>
              <a:gdLst>
                <a:gd name="connsiteX0" fmla="*/ 272291 w 342303"/>
                <a:gd name="connsiteY0" fmla="*/ 111853 h 391007"/>
                <a:gd name="connsiteX1" fmla="*/ 217917 w 342303"/>
                <a:gd name="connsiteY1" fmla="*/ 118120 h 391007"/>
                <a:gd name="connsiteX2" fmla="*/ 158946 w 342303"/>
                <a:gd name="connsiteY2" fmla="*/ 148083 h 391007"/>
                <a:gd name="connsiteX3" fmla="*/ 126656 w 342303"/>
                <a:gd name="connsiteY3" fmla="*/ 165272 h 391007"/>
                <a:gd name="connsiteX4" fmla="*/ 111137 w 342303"/>
                <a:gd name="connsiteY4" fmla="*/ 163840 h 391007"/>
                <a:gd name="connsiteX5" fmla="*/ 135728 w 342303"/>
                <a:gd name="connsiteY5" fmla="*/ 126237 h 391007"/>
                <a:gd name="connsiteX6" fmla="*/ 221557 w 342303"/>
                <a:gd name="connsiteY6" fmla="*/ 89411 h 391007"/>
                <a:gd name="connsiteX7" fmla="*/ 197862 w 342303"/>
                <a:gd name="connsiteY7" fmla="*/ 0 h 391007"/>
                <a:gd name="connsiteX8" fmla="*/ 140025 w 342303"/>
                <a:gd name="connsiteY8" fmla="*/ 20114 h 391007"/>
                <a:gd name="connsiteX9" fmla="*/ 80757 w 342303"/>
                <a:gd name="connsiteY9" fmla="*/ 57239 h 391007"/>
                <a:gd name="connsiteX10" fmla="*/ 20115 w 342303"/>
                <a:gd name="connsiteY10" fmla="*/ 121761 h 391007"/>
                <a:gd name="connsiteX11" fmla="*/ 0 w 342303"/>
                <a:gd name="connsiteY11" fmla="*/ 185506 h 391007"/>
                <a:gd name="connsiteX12" fmla="*/ 18563 w 342303"/>
                <a:gd name="connsiteY12" fmla="*/ 239881 h 391007"/>
                <a:gd name="connsiteX13" fmla="*/ 70610 w 342303"/>
                <a:gd name="connsiteY13" fmla="*/ 274380 h 391007"/>
                <a:gd name="connsiteX14" fmla="*/ 125044 w 342303"/>
                <a:gd name="connsiteY14" fmla="*/ 267695 h 391007"/>
                <a:gd name="connsiteX15" fmla="*/ 184074 w 342303"/>
                <a:gd name="connsiteY15" fmla="*/ 237314 h 391007"/>
                <a:gd name="connsiteX16" fmla="*/ 216424 w 342303"/>
                <a:gd name="connsiteY16" fmla="*/ 219766 h 391007"/>
                <a:gd name="connsiteX17" fmla="*/ 231585 w 342303"/>
                <a:gd name="connsiteY17" fmla="*/ 221139 h 391007"/>
                <a:gd name="connsiteX18" fmla="*/ 231346 w 342303"/>
                <a:gd name="connsiteY18" fmla="*/ 235404 h 391007"/>
                <a:gd name="connsiteX19" fmla="*/ 208844 w 342303"/>
                <a:gd name="connsiteY19" fmla="*/ 257369 h 391007"/>
                <a:gd name="connsiteX20" fmla="*/ 158349 w 342303"/>
                <a:gd name="connsiteY20" fmla="*/ 286616 h 391007"/>
                <a:gd name="connsiteX21" fmla="*/ 104870 w 342303"/>
                <a:gd name="connsiteY21" fmla="*/ 301597 h 391007"/>
                <a:gd name="connsiteX22" fmla="*/ 128566 w 342303"/>
                <a:gd name="connsiteY22" fmla="*/ 391008 h 391007"/>
                <a:gd name="connsiteX23" fmla="*/ 192192 w 342303"/>
                <a:gd name="connsiteY23" fmla="*/ 370415 h 391007"/>
                <a:gd name="connsiteX24" fmla="*/ 260175 w 342303"/>
                <a:gd name="connsiteY24" fmla="*/ 329172 h 391007"/>
                <a:gd name="connsiteX25" fmla="*/ 321950 w 342303"/>
                <a:gd name="connsiteY25" fmla="*/ 263815 h 391007"/>
                <a:gd name="connsiteX26" fmla="*/ 342304 w 342303"/>
                <a:gd name="connsiteY26" fmla="*/ 199891 h 391007"/>
                <a:gd name="connsiteX27" fmla="*/ 324457 w 342303"/>
                <a:gd name="connsiteY27" fmla="*/ 146411 h 391007"/>
                <a:gd name="connsiteX28" fmla="*/ 272411 w 342303"/>
                <a:gd name="connsiteY28" fmla="*/ 111913 h 391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2303" h="391007">
                  <a:moveTo>
                    <a:pt x="272291" y="111853"/>
                  </a:moveTo>
                  <a:cubicBezTo>
                    <a:pt x="253132" y="109167"/>
                    <a:pt x="235047" y="111256"/>
                    <a:pt x="217917" y="118120"/>
                  </a:cubicBezTo>
                  <a:cubicBezTo>
                    <a:pt x="200786" y="124984"/>
                    <a:pt x="181150" y="134952"/>
                    <a:pt x="158946" y="148083"/>
                  </a:cubicBezTo>
                  <a:cubicBezTo>
                    <a:pt x="144741" y="156558"/>
                    <a:pt x="133997" y="162288"/>
                    <a:pt x="126656" y="165272"/>
                  </a:cubicBezTo>
                  <a:cubicBezTo>
                    <a:pt x="119314" y="168257"/>
                    <a:pt x="114121" y="167779"/>
                    <a:pt x="111137" y="163840"/>
                  </a:cubicBezTo>
                  <a:cubicBezTo>
                    <a:pt x="105109" y="155961"/>
                    <a:pt x="113286" y="143427"/>
                    <a:pt x="135728" y="126237"/>
                  </a:cubicBezTo>
                  <a:cubicBezTo>
                    <a:pt x="161811" y="106242"/>
                    <a:pt x="190401" y="94007"/>
                    <a:pt x="221557" y="89411"/>
                  </a:cubicBezTo>
                  <a:lnTo>
                    <a:pt x="197862" y="0"/>
                  </a:lnTo>
                  <a:cubicBezTo>
                    <a:pt x="180016" y="3103"/>
                    <a:pt x="160737" y="9788"/>
                    <a:pt x="140025" y="20114"/>
                  </a:cubicBezTo>
                  <a:cubicBezTo>
                    <a:pt x="119314" y="30440"/>
                    <a:pt x="99558" y="42795"/>
                    <a:pt x="80757" y="57239"/>
                  </a:cubicBezTo>
                  <a:cubicBezTo>
                    <a:pt x="53778" y="77891"/>
                    <a:pt x="33544" y="99438"/>
                    <a:pt x="20115" y="121761"/>
                  </a:cubicBezTo>
                  <a:cubicBezTo>
                    <a:pt x="6685" y="144083"/>
                    <a:pt x="-59" y="165332"/>
                    <a:pt x="0" y="185506"/>
                  </a:cubicBezTo>
                  <a:cubicBezTo>
                    <a:pt x="0" y="205680"/>
                    <a:pt x="6208" y="223825"/>
                    <a:pt x="18563" y="239881"/>
                  </a:cubicBezTo>
                  <a:cubicBezTo>
                    <a:pt x="34141" y="260234"/>
                    <a:pt x="51450" y="271694"/>
                    <a:pt x="70610" y="274380"/>
                  </a:cubicBezTo>
                  <a:cubicBezTo>
                    <a:pt x="89710" y="277066"/>
                    <a:pt x="107854" y="274857"/>
                    <a:pt x="125044" y="267695"/>
                  </a:cubicBezTo>
                  <a:cubicBezTo>
                    <a:pt x="142234" y="260592"/>
                    <a:pt x="161871" y="250445"/>
                    <a:pt x="184074" y="237314"/>
                  </a:cubicBezTo>
                  <a:cubicBezTo>
                    <a:pt x="198578" y="228600"/>
                    <a:pt x="209381" y="222750"/>
                    <a:pt x="216424" y="219766"/>
                  </a:cubicBezTo>
                  <a:cubicBezTo>
                    <a:pt x="223527" y="216782"/>
                    <a:pt x="228541" y="217200"/>
                    <a:pt x="231585" y="221139"/>
                  </a:cubicBezTo>
                  <a:cubicBezTo>
                    <a:pt x="234629" y="225078"/>
                    <a:pt x="234510" y="229853"/>
                    <a:pt x="231346" y="235404"/>
                  </a:cubicBezTo>
                  <a:cubicBezTo>
                    <a:pt x="228182" y="241015"/>
                    <a:pt x="220662" y="248296"/>
                    <a:pt x="208844" y="257369"/>
                  </a:cubicBezTo>
                  <a:cubicBezTo>
                    <a:pt x="193982" y="268769"/>
                    <a:pt x="177150" y="278498"/>
                    <a:pt x="158349" y="286616"/>
                  </a:cubicBezTo>
                  <a:cubicBezTo>
                    <a:pt x="139548" y="294733"/>
                    <a:pt x="121761" y="299746"/>
                    <a:pt x="104870" y="301597"/>
                  </a:cubicBezTo>
                  <a:lnTo>
                    <a:pt x="128566" y="391008"/>
                  </a:lnTo>
                  <a:cubicBezTo>
                    <a:pt x="146889" y="388500"/>
                    <a:pt x="168078" y="381696"/>
                    <a:pt x="192192" y="370415"/>
                  </a:cubicBezTo>
                  <a:cubicBezTo>
                    <a:pt x="216305" y="359194"/>
                    <a:pt x="238986" y="345407"/>
                    <a:pt x="260175" y="329172"/>
                  </a:cubicBezTo>
                  <a:cubicBezTo>
                    <a:pt x="287750" y="308043"/>
                    <a:pt x="308342" y="286257"/>
                    <a:pt x="321950" y="263815"/>
                  </a:cubicBezTo>
                  <a:cubicBezTo>
                    <a:pt x="335559" y="241373"/>
                    <a:pt x="342304" y="220065"/>
                    <a:pt x="342304" y="199891"/>
                  </a:cubicBezTo>
                  <a:cubicBezTo>
                    <a:pt x="342304" y="179717"/>
                    <a:pt x="336275" y="161930"/>
                    <a:pt x="324457" y="146411"/>
                  </a:cubicBezTo>
                  <a:cubicBezTo>
                    <a:pt x="308879" y="126118"/>
                    <a:pt x="291570" y="114598"/>
                    <a:pt x="272411" y="111913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7" name="Forme libre : forme 136">
              <a:extLst>
                <a:ext uri="{FF2B5EF4-FFF2-40B4-BE49-F238E27FC236}">
                  <a16:creationId xmlns:a16="http://schemas.microsoft.com/office/drawing/2014/main" id="{172B373D-4646-9B5D-BCBD-6A2F9D5733E7}"/>
                </a:ext>
              </a:extLst>
            </p:cNvPr>
            <p:cNvSpPr/>
            <p:nvPr/>
          </p:nvSpPr>
          <p:spPr>
            <a:xfrm>
              <a:off x="8049485" y="5594269"/>
              <a:ext cx="147905" cy="146652"/>
            </a:xfrm>
            <a:custGeom>
              <a:avLst/>
              <a:gdLst>
                <a:gd name="connsiteX0" fmla="*/ 84038 w 147905"/>
                <a:gd name="connsiteY0" fmla="*/ 44 h 146652"/>
                <a:gd name="connsiteX1" fmla="*/ 30022 w 147905"/>
                <a:gd name="connsiteY1" fmla="*/ 24814 h 146652"/>
                <a:gd name="connsiteX2" fmla="*/ 536 w 147905"/>
                <a:gd name="connsiteY2" fmla="*/ 76443 h 146652"/>
                <a:gd name="connsiteX3" fmla="*/ 16234 w 147905"/>
                <a:gd name="connsiteY3" fmla="*/ 125923 h 146652"/>
                <a:gd name="connsiteX4" fmla="*/ 63864 w 147905"/>
                <a:gd name="connsiteY4" fmla="*/ 146635 h 146652"/>
                <a:gd name="connsiteX5" fmla="*/ 118238 w 147905"/>
                <a:gd name="connsiteY5" fmla="*/ 122700 h 146652"/>
                <a:gd name="connsiteX6" fmla="*/ 147545 w 147905"/>
                <a:gd name="connsiteY6" fmla="*/ 70475 h 146652"/>
                <a:gd name="connsiteX7" fmla="*/ 130474 w 147905"/>
                <a:gd name="connsiteY7" fmla="*/ 19920 h 146652"/>
                <a:gd name="connsiteX8" fmla="*/ 84038 w 147905"/>
                <a:gd name="connsiteY8" fmla="*/ 44 h 146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7905" h="146652">
                  <a:moveTo>
                    <a:pt x="84038" y="44"/>
                  </a:moveTo>
                  <a:cubicBezTo>
                    <a:pt x="65595" y="701"/>
                    <a:pt x="47570" y="8997"/>
                    <a:pt x="30022" y="24814"/>
                  </a:cubicBezTo>
                  <a:cubicBezTo>
                    <a:pt x="12712" y="40392"/>
                    <a:pt x="2924" y="57642"/>
                    <a:pt x="536" y="76443"/>
                  </a:cubicBezTo>
                  <a:cubicBezTo>
                    <a:pt x="-1791" y="95244"/>
                    <a:pt x="3461" y="111778"/>
                    <a:pt x="16234" y="125923"/>
                  </a:cubicBezTo>
                  <a:cubicBezTo>
                    <a:pt x="29007" y="140129"/>
                    <a:pt x="44884" y="147052"/>
                    <a:pt x="63864" y="146635"/>
                  </a:cubicBezTo>
                  <a:cubicBezTo>
                    <a:pt x="82844" y="146277"/>
                    <a:pt x="100929" y="138279"/>
                    <a:pt x="118238" y="122700"/>
                  </a:cubicBezTo>
                  <a:cubicBezTo>
                    <a:pt x="135846" y="106824"/>
                    <a:pt x="145575" y="89455"/>
                    <a:pt x="147545" y="70475"/>
                  </a:cubicBezTo>
                  <a:cubicBezTo>
                    <a:pt x="149455" y="51494"/>
                    <a:pt x="143784" y="34663"/>
                    <a:pt x="130474" y="19920"/>
                  </a:cubicBezTo>
                  <a:cubicBezTo>
                    <a:pt x="117940" y="6013"/>
                    <a:pt x="102481" y="-612"/>
                    <a:pt x="84038" y="44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8" name="Forme libre : forme 137">
              <a:extLst>
                <a:ext uri="{FF2B5EF4-FFF2-40B4-BE49-F238E27FC236}">
                  <a16:creationId xmlns:a16="http://schemas.microsoft.com/office/drawing/2014/main" id="{28F0BE0C-AC03-448B-FB65-68E272C29995}"/>
                </a:ext>
              </a:extLst>
            </p:cNvPr>
            <p:cNvSpPr/>
            <p:nvPr/>
          </p:nvSpPr>
          <p:spPr>
            <a:xfrm rot="19078198">
              <a:off x="8224791" y="5694956"/>
              <a:ext cx="129520" cy="313414"/>
            </a:xfrm>
            <a:custGeom>
              <a:avLst/>
              <a:gdLst>
                <a:gd name="connsiteX0" fmla="*/ 0 w 129520"/>
                <a:gd name="connsiteY0" fmla="*/ 0 h 313414"/>
                <a:gd name="connsiteX1" fmla="*/ 129520 w 129520"/>
                <a:gd name="connsiteY1" fmla="*/ 0 h 313414"/>
                <a:gd name="connsiteX2" fmla="*/ 129520 w 129520"/>
                <a:gd name="connsiteY2" fmla="*/ 313415 h 313414"/>
                <a:gd name="connsiteX3" fmla="*/ 0 w 129520"/>
                <a:gd name="connsiteY3" fmla="*/ 313415 h 313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520" h="313414">
                  <a:moveTo>
                    <a:pt x="0" y="0"/>
                  </a:moveTo>
                  <a:lnTo>
                    <a:pt x="129520" y="0"/>
                  </a:lnTo>
                  <a:lnTo>
                    <a:pt x="129520" y="313415"/>
                  </a:lnTo>
                  <a:lnTo>
                    <a:pt x="0" y="313415"/>
                  </a:ln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42" name="Forme libre : forme 141">
              <a:extLst>
                <a:ext uri="{FF2B5EF4-FFF2-40B4-BE49-F238E27FC236}">
                  <a16:creationId xmlns:a16="http://schemas.microsoft.com/office/drawing/2014/main" id="{11AF1897-F134-E22A-A7E1-7B3BDA72AF1F}"/>
                </a:ext>
              </a:extLst>
            </p:cNvPr>
            <p:cNvSpPr/>
            <p:nvPr/>
          </p:nvSpPr>
          <p:spPr>
            <a:xfrm>
              <a:off x="8325286" y="5467894"/>
              <a:ext cx="349597" cy="352409"/>
            </a:xfrm>
            <a:custGeom>
              <a:avLst/>
              <a:gdLst>
                <a:gd name="connsiteX0" fmla="*/ 298503 w 349597"/>
                <a:gd name="connsiteY0" fmla="*/ 42738 h 352409"/>
                <a:gd name="connsiteX1" fmla="*/ 221149 w 349597"/>
                <a:gd name="connsiteY1" fmla="*/ 2688 h 352409"/>
                <a:gd name="connsiteX2" fmla="*/ 134902 w 349597"/>
                <a:gd name="connsiteY2" fmla="*/ 11045 h 352409"/>
                <a:gd name="connsiteX3" fmla="*/ 55698 w 349597"/>
                <a:gd name="connsiteY3" fmla="*/ 66135 h 352409"/>
                <a:gd name="connsiteX4" fmla="*/ 7113 w 349597"/>
                <a:gd name="connsiteY4" fmla="*/ 148861 h 352409"/>
                <a:gd name="connsiteX5" fmla="*/ 5143 w 349597"/>
                <a:gd name="connsiteY5" fmla="*/ 235705 h 352409"/>
                <a:gd name="connsiteX6" fmla="*/ 50744 w 349597"/>
                <a:gd name="connsiteY6" fmla="*/ 310015 h 352409"/>
                <a:gd name="connsiteX7" fmla="*/ 128277 w 349597"/>
                <a:gd name="connsiteY7" fmla="*/ 349826 h 352409"/>
                <a:gd name="connsiteX8" fmla="*/ 214942 w 349597"/>
                <a:gd name="connsiteY8" fmla="*/ 341470 h 352409"/>
                <a:gd name="connsiteX9" fmla="*/ 293967 w 349597"/>
                <a:gd name="connsiteY9" fmla="*/ 286976 h 352409"/>
                <a:gd name="connsiteX10" fmla="*/ 342731 w 349597"/>
                <a:gd name="connsiteY10" fmla="*/ 203653 h 352409"/>
                <a:gd name="connsiteX11" fmla="*/ 344283 w 349597"/>
                <a:gd name="connsiteY11" fmla="*/ 116809 h 352409"/>
                <a:gd name="connsiteX12" fmla="*/ 298503 w 349597"/>
                <a:gd name="connsiteY12" fmla="*/ 42738 h 352409"/>
                <a:gd name="connsiteX13" fmla="*/ 220015 w 349597"/>
                <a:gd name="connsiteY13" fmla="*/ 218456 h 352409"/>
                <a:gd name="connsiteX14" fmla="*/ 183129 w 349597"/>
                <a:gd name="connsiteY14" fmla="*/ 234273 h 352409"/>
                <a:gd name="connsiteX15" fmla="*/ 139975 w 349597"/>
                <a:gd name="connsiteY15" fmla="*/ 213800 h 352409"/>
                <a:gd name="connsiteX16" fmla="*/ 116519 w 349597"/>
                <a:gd name="connsiteY16" fmla="*/ 172497 h 352409"/>
                <a:gd name="connsiteX17" fmla="*/ 129709 w 349597"/>
                <a:gd name="connsiteY17" fmla="*/ 134715 h 352409"/>
                <a:gd name="connsiteX18" fmla="*/ 166417 w 349597"/>
                <a:gd name="connsiteY18" fmla="*/ 118719 h 352409"/>
                <a:gd name="connsiteX19" fmla="*/ 209331 w 349597"/>
                <a:gd name="connsiteY19" fmla="*/ 139013 h 352409"/>
                <a:gd name="connsiteX20" fmla="*/ 233027 w 349597"/>
                <a:gd name="connsiteY20" fmla="*/ 180495 h 352409"/>
                <a:gd name="connsiteX21" fmla="*/ 220075 w 349597"/>
                <a:gd name="connsiteY21" fmla="*/ 218516 h 352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49597" h="352409">
                  <a:moveTo>
                    <a:pt x="298503" y="42738"/>
                  </a:moveTo>
                  <a:cubicBezTo>
                    <a:pt x="275524" y="21430"/>
                    <a:pt x="249739" y="8120"/>
                    <a:pt x="221149" y="2688"/>
                  </a:cubicBezTo>
                  <a:cubicBezTo>
                    <a:pt x="192559" y="-2743"/>
                    <a:pt x="163790" y="62"/>
                    <a:pt x="134902" y="11045"/>
                  </a:cubicBezTo>
                  <a:cubicBezTo>
                    <a:pt x="106014" y="22027"/>
                    <a:pt x="79573" y="40351"/>
                    <a:pt x="55698" y="66135"/>
                  </a:cubicBezTo>
                  <a:cubicBezTo>
                    <a:pt x="32062" y="91622"/>
                    <a:pt x="15887" y="119197"/>
                    <a:pt x="7113" y="148861"/>
                  </a:cubicBezTo>
                  <a:cubicBezTo>
                    <a:pt x="-1661" y="178525"/>
                    <a:pt x="-2318" y="207473"/>
                    <a:pt x="5143" y="235705"/>
                  </a:cubicBezTo>
                  <a:cubicBezTo>
                    <a:pt x="12544" y="263937"/>
                    <a:pt x="27765" y="288707"/>
                    <a:pt x="50744" y="310015"/>
                  </a:cubicBezTo>
                  <a:cubicBezTo>
                    <a:pt x="73723" y="331323"/>
                    <a:pt x="99567" y="344574"/>
                    <a:pt x="128277" y="349826"/>
                  </a:cubicBezTo>
                  <a:cubicBezTo>
                    <a:pt x="156986" y="355079"/>
                    <a:pt x="185875" y="352333"/>
                    <a:pt x="214942" y="341470"/>
                  </a:cubicBezTo>
                  <a:cubicBezTo>
                    <a:pt x="244009" y="330667"/>
                    <a:pt x="270331" y="312462"/>
                    <a:pt x="293967" y="286976"/>
                  </a:cubicBezTo>
                  <a:cubicBezTo>
                    <a:pt x="317842" y="261191"/>
                    <a:pt x="334136" y="233437"/>
                    <a:pt x="342731" y="203653"/>
                  </a:cubicBezTo>
                  <a:cubicBezTo>
                    <a:pt x="351326" y="173870"/>
                    <a:pt x="351863" y="144922"/>
                    <a:pt x="344283" y="116809"/>
                  </a:cubicBezTo>
                  <a:cubicBezTo>
                    <a:pt x="336703" y="88697"/>
                    <a:pt x="321482" y="64046"/>
                    <a:pt x="298503" y="42738"/>
                  </a:cubicBezTo>
                  <a:close/>
                  <a:moveTo>
                    <a:pt x="220015" y="218456"/>
                  </a:moveTo>
                  <a:cubicBezTo>
                    <a:pt x="209868" y="229379"/>
                    <a:pt x="197573" y="234631"/>
                    <a:pt x="183129" y="234273"/>
                  </a:cubicBezTo>
                  <a:cubicBezTo>
                    <a:pt x="168625" y="233855"/>
                    <a:pt x="154300" y="227051"/>
                    <a:pt x="139975" y="213800"/>
                  </a:cubicBezTo>
                  <a:cubicBezTo>
                    <a:pt x="125710" y="200550"/>
                    <a:pt x="117891" y="186822"/>
                    <a:pt x="116519" y="172497"/>
                  </a:cubicBezTo>
                  <a:cubicBezTo>
                    <a:pt x="115146" y="158232"/>
                    <a:pt x="119563" y="145638"/>
                    <a:pt x="129709" y="134715"/>
                  </a:cubicBezTo>
                  <a:cubicBezTo>
                    <a:pt x="139856" y="123793"/>
                    <a:pt x="152092" y="118481"/>
                    <a:pt x="166417" y="118719"/>
                  </a:cubicBezTo>
                  <a:cubicBezTo>
                    <a:pt x="180742" y="119018"/>
                    <a:pt x="195066" y="125762"/>
                    <a:pt x="209331" y="139013"/>
                  </a:cubicBezTo>
                  <a:cubicBezTo>
                    <a:pt x="223597" y="152263"/>
                    <a:pt x="231475" y="166110"/>
                    <a:pt x="233027" y="180495"/>
                  </a:cubicBezTo>
                  <a:cubicBezTo>
                    <a:pt x="234519" y="194879"/>
                    <a:pt x="230222" y="207593"/>
                    <a:pt x="220075" y="218516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45" name="Forme libre : forme 144">
              <a:extLst>
                <a:ext uri="{FF2B5EF4-FFF2-40B4-BE49-F238E27FC236}">
                  <a16:creationId xmlns:a16="http://schemas.microsoft.com/office/drawing/2014/main" id="{7F0F6F10-D5E6-4B35-F1E2-4D54BC4F1F93}"/>
                </a:ext>
              </a:extLst>
            </p:cNvPr>
            <p:cNvSpPr/>
            <p:nvPr/>
          </p:nvSpPr>
          <p:spPr>
            <a:xfrm>
              <a:off x="8529485" y="5141977"/>
              <a:ext cx="456483" cy="419687"/>
            </a:xfrm>
            <a:custGeom>
              <a:avLst/>
              <a:gdLst>
                <a:gd name="connsiteX0" fmla="*/ 205441 w 456483"/>
                <a:gd name="connsiteY0" fmla="*/ 1284 h 419687"/>
                <a:gd name="connsiteX1" fmla="*/ 122656 w 456483"/>
                <a:gd name="connsiteY1" fmla="*/ 56375 h 419687"/>
                <a:gd name="connsiteX2" fmla="*/ 99617 w 456483"/>
                <a:gd name="connsiteY2" fmla="*/ 104064 h 419687"/>
                <a:gd name="connsiteX3" fmla="*/ 97170 w 456483"/>
                <a:gd name="connsiteY3" fmla="*/ 154559 h 419687"/>
                <a:gd name="connsiteX4" fmla="*/ 72042 w 456483"/>
                <a:gd name="connsiteY4" fmla="*/ 136474 h 419687"/>
                <a:gd name="connsiteX5" fmla="*/ 0 w 456483"/>
                <a:gd name="connsiteY5" fmla="*/ 236449 h 419687"/>
                <a:gd name="connsiteX6" fmla="*/ 254265 w 456483"/>
                <a:gd name="connsiteY6" fmla="*/ 419687 h 419687"/>
                <a:gd name="connsiteX7" fmla="*/ 329948 w 456483"/>
                <a:gd name="connsiteY7" fmla="*/ 314639 h 419687"/>
                <a:gd name="connsiteX8" fmla="*/ 210455 w 456483"/>
                <a:gd name="connsiteY8" fmla="*/ 228571 h 419687"/>
                <a:gd name="connsiteX9" fmla="*/ 179478 w 456483"/>
                <a:gd name="connsiteY9" fmla="*/ 189655 h 419687"/>
                <a:gd name="connsiteX10" fmla="*/ 187774 w 456483"/>
                <a:gd name="connsiteY10" fmla="*/ 152172 h 419687"/>
                <a:gd name="connsiteX11" fmla="*/ 253907 w 456483"/>
                <a:gd name="connsiteY11" fmla="*/ 152530 h 419687"/>
                <a:gd name="connsiteX12" fmla="*/ 380801 w 456483"/>
                <a:gd name="connsiteY12" fmla="*/ 243970 h 419687"/>
                <a:gd name="connsiteX13" fmla="*/ 456483 w 456483"/>
                <a:gd name="connsiteY13" fmla="*/ 138921 h 419687"/>
                <a:gd name="connsiteX14" fmla="*/ 311445 w 456483"/>
                <a:gd name="connsiteY14" fmla="*/ 34410 h 419687"/>
                <a:gd name="connsiteX15" fmla="*/ 205322 w 456483"/>
                <a:gd name="connsiteY15" fmla="*/ 1343 h 419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6483" h="419687">
                  <a:moveTo>
                    <a:pt x="205441" y="1284"/>
                  </a:moveTo>
                  <a:cubicBezTo>
                    <a:pt x="172793" y="6715"/>
                    <a:pt x="145217" y="25099"/>
                    <a:pt x="122656" y="56375"/>
                  </a:cubicBezTo>
                  <a:cubicBezTo>
                    <a:pt x="111733" y="71535"/>
                    <a:pt x="104034" y="87472"/>
                    <a:pt x="99617" y="104064"/>
                  </a:cubicBezTo>
                  <a:cubicBezTo>
                    <a:pt x="95200" y="120657"/>
                    <a:pt x="94365" y="137489"/>
                    <a:pt x="97170" y="154559"/>
                  </a:cubicBezTo>
                  <a:lnTo>
                    <a:pt x="72042" y="136474"/>
                  </a:lnTo>
                  <a:lnTo>
                    <a:pt x="0" y="236449"/>
                  </a:lnTo>
                  <a:lnTo>
                    <a:pt x="254265" y="419687"/>
                  </a:lnTo>
                  <a:lnTo>
                    <a:pt x="329948" y="314639"/>
                  </a:lnTo>
                  <a:lnTo>
                    <a:pt x="210455" y="228571"/>
                  </a:lnTo>
                  <a:cubicBezTo>
                    <a:pt x="192788" y="215857"/>
                    <a:pt x="182462" y="202905"/>
                    <a:pt x="179478" y="189655"/>
                  </a:cubicBezTo>
                  <a:cubicBezTo>
                    <a:pt x="176494" y="176464"/>
                    <a:pt x="179299" y="163990"/>
                    <a:pt x="187774" y="152172"/>
                  </a:cubicBezTo>
                  <a:cubicBezTo>
                    <a:pt x="202755" y="131401"/>
                    <a:pt x="224780" y="131520"/>
                    <a:pt x="253907" y="152530"/>
                  </a:cubicBezTo>
                  <a:lnTo>
                    <a:pt x="380801" y="243970"/>
                  </a:lnTo>
                  <a:lnTo>
                    <a:pt x="456483" y="138921"/>
                  </a:lnTo>
                  <a:lnTo>
                    <a:pt x="311445" y="34410"/>
                  </a:lnTo>
                  <a:cubicBezTo>
                    <a:pt x="273305" y="6954"/>
                    <a:pt x="237971" y="-4088"/>
                    <a:pt x="205322" y="1343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46" name="Forme libre : forme 145">
              <a:extLst>
                <a:ext uri="{FF2B5EF4-FFF2-40B4-BE49-F238E27FC236}">
                  <a16:creationId xmlns:a16="http://schemas.microsoft.com/office/drawing/2014/main" id="{43EF8312-0F5C-0250-BA34-FEBA2D26DF0D}"/>
                </a:ext>
              </a:extLst>
            </p:cNvPr>
            <p:cNvSpPr/>
            <p:nvPr/>
          </p:nvSpPr>
          <p:spPr>
            <a:xfrm>
              <a:off x="4629117" y="2026997"/>
              <a:ext cx="2931377" cy="2931377"/>
            </a:xfrm>
            <a:custGeom>
              <a:avLst/>
              <a:gdLst>
                <a:gd name="connsiteX0" fmla="*/ 2704844 w 2931377"/>
                <a:gd name="connsiteY0" fmla="*/ 226533 h 2931377"/>
                <a:gd name="connsiteX1" fmla="*/ 1611921 w 2931377"/>
                <a:gd name="connsiteY1" fmla="*/ 226533 h 2931377"/>
                <a:gd name="connsiteX2" fmla="*/ 226533 w 2931377"/>
                <a:gd name="connsiteY2" fmla="*/ 1611921 h 2931377"/>
                <a:gd name="connsiteX3" fmla="*/ 226533 w 2931377"/>
                <a:gd name="connsiteY3" fmla="*/ 2704844 h 2931377"/>
                <a:gd name="connsiteX4" fmla="*/ 1319456 w 2931377"/>
                <a:gd name="connsiteY4" fmla="*/ 2704844 h 2931377"/>
                <a:gd name="connsiteX5" fmla="*/ 1485743 w 2931377"/>
                <a:gd name="connsiteY5" fmla="*/ 2538557 h 2931377"/>
                <a:gd name="connsiteX6" fmla="*/ 2158352 w 2931377"/>
                <a:gd name="connsiteY6" fmla="*/ 2931176 h 2931377"/>
                <a:gd name="connsiteX7" fmla="*/ 2931176 w 2931377"/>
                <a:gd name="connsiteY7" fmla="*/ 2158353 h 2931377"/>
                <a:gd name="connsiteX8" fmla="*/ 2538557 w 2931377"/>
                <a:gd name="connsiteY8" fmla="*/ 1485744 h 2931377"/>
                <a:gd name="connsiteX9" fmla="*/ 2704844 w 2931377"/>
                <a:gd name="connsiteY9" fmla="*/ 1319456 h 2931377"/>
                <a:gd name="connsiteX10" fmla="*/ 2704844 w 2931377"/>
                <a:gd name="connsiteY10" fmla="*/ 226533 h 2931377"/>
                <a:gd name="connsiteX11" fmla="*/ 1385529 w 2931377"/>
                <a:gd name="connsiteY11" fmla="*/ 2158412 h 2931377"/>
                <a:gd name="connsiteX12" fmla="*/ 1414239 w 2931377"/>
                <a:gd name="connsiteY12" fmla="*/ 2367256 h 2931377"/>
                <a:gd name="connsiteX13" fmla="*/ 1198054 w 2931377"/>
                <a:gd name="connsiteY13" fmla="*/ 2583441 h 2931377"/>
                <a:gd name="connsiteX14" fmla="*/ 347996 w 2931377"/>
                <a:gd name="connsiteY14" fmla="*/ 2583441 h 2931377"/>
                <a:gd name="connsiteX15" fmla="*/ 347996 w 2931377"/>
                <a:gd name="connsiteY15" fmla="*/ 1733384 h 2931377"/>
                <a:gd name="connsiteX16" fmla="*/ 974706 w 2931377"/>
                <a:gd name="connsiteY16" fmla="*/ 1106673 h 2931377"/>
                <a:gd name="connsiteX17" fmla="*/ 1550145 w 2931377"/>
                <a:gd name="connsiteY17" fmla="*/ 1682113 h 2931377"/>
                <a:gd name="connsiteX18" fmla="*/ 1385529 w 2931377"/>
                <a:gd name="connsiteY18" fmla="*/ 2158412 h 2931377"/>
                <a:gd name="connsiteX19" fmla="*/ 2072523 w 2931377"/>
                <a:gd name="connsiteY19" fmla="*/ 2753310 h 2931377"/>
                <a:gd name="connsiteX20" fmla="*/ 1557308 w 2931377"/>
                <a:gd name="connsiteY20" fmla="*/ 2158353 h 2931377"/>
                <a:gd name="connsiteX21" fmla="*/ 2072523 w 2931377"/>
                <a:gd name="connsiteY21" fmla="*/ 1563396 h 2931377"/>
                <a:gd name="connsiteX22" fmla="*/ 2072523 w 2931377"/>
                <a:gd name="connsiteY22" fmla="*/ 2753250 h 2931377"/>
                <a:gd name="connsiteX23" fmla="*/ 2759457 w 2931377"/>
                <a:gd name="connsiteY23" fmla="*/ 2158412 h 2931377"/>
                <a:gd name="connsiteX24" fmla="*/ 2244242 w 2931377"/>
                <a:gd name="connsiteY24" fmla="*/ 2753310 h 2931377"/>
                <a:gd name="connsiteX25" fmla="*/ 2244242 w 2931377"/>
                <a:gd name="connsiteY25" fmla="*/ 1563455 h 2931377"/>
                <a:gd name="connsiteX26" fmla="*/ 2759457 w 2931377"/>
                <a:gd name="connsiteY26" fmla="*/ 2158412 h 2931377"/>
                <a:gd name="connsiteX27" fmla="*/ 2367196 w 2931377"/>
                <a:gd name="connsiteY27" fmla="*/ 1414239 h 2931377"/>
                <a:gd name="connsiteX28" fmla="*/ 2158352 w 2931377"/>
                <a:gd name="connsiteY28" fmla="*/ 1385529 h 2931377"/>
                <a:gd name="connsiteX29" fmla="*/ 1670414 w 2931377"/>
                <a:gd name="connsiteY29" fmla="*/ 1559516 h 2931377"/>
                <a:gd name="connsiteX30" fmla="*/ 1096109 w 2931377"/>
                <a:gd name="connsiteY30" fmla="*/ 985211 h 2931377"/>
                <a:gd name="connsiteX31" fmla="*/ 1733324 w 2931377"/>
                <a:gd name="connsiteY31" fmla="*/ 347996 h 2931377"/>
                <a:gd name="connsiteX32" fmla="*/ 2583381 w 2931377"/>
                <a:gd name="connsiteY32" fmla="*/ 347996 h 2931377"/>
                <a:gd name="connsiteX33" fmla="*/ 2583381 w 2931377"/>
                <a:gd name="connsiteY33" fmla="*/ 1198054 h 2931377"/>
                <a:gd name="connsiteX34" fmla="*/ 2367196 w 2931377"/>
                <a:gd name="connsiteY34" fmla="*/ 1414239 h 293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931377" h="2931377">
                  <a:moveTo>
                    <a:pt x="2704844" y="226533"/>
                  </a:moveTo>
                  <a:cubicBezTo>
                    <a:pt x="2402829" y="-75481"/>
                    <a:pt x="1913936" y="-75541"/>
                    <a:pt x="1611921" y="226533"/>
                  </a:cubicBezTo>
                  <a:cubicBezTo>
                    <a:pt x="1547459" y="290995"/>
                    <a:pt x="285026" y="1553428"/>
                    <a:pt x="226533" y="1611921"/>
                  </a:cubicBezTo>
                  <a:cubicBezTo>
                    <a:pt x="-75481" y="1913936"/>
                    <a:pt x="-75541" y="2402829"/>
                    <a:pt x="226533" y="2704844"/>
                  </a:cubicBezTo>
                  <a:cubicBezTo>
                    <a:pt x="528548" y="3006859"/>
                    <a:pt x="1017442" y="3006918"/>
                    <a:pt x="1319456" y="2704844"/>
                  </a:cubicBezTo>
                  <a:lnTo>
                    <a:pt x="1485743" y="2538557"/>
                  </a:lnTo>
                  <a:cubicBezTo>
                    <a:pt x="1618666" y="2772767"/>
                    <a:pt x="1870364" y="2931176"/>
                    <a:pt x="2158352" y="2931176"/>
                  </a:cubicBezTo>
                  <a:cubicBezTo>
                    <a:pt x="2584516" y="2931176"/>
                    <a:pt x="2931176" y="2584456"/>
                    <a:pt x="2931176" y="2158353"/>
                  </a:cubicBezTo>
                  <a:cubicBezTo>
                    <a:pt x="2931176" y="1870305"/>
                    <a:pt x="2772767" y="1618666"/>
                    <a:pt x="2538557" y="1485744"/>
                  </a:cubicBezTo>
                  <a:lnTo>
                    <a:pt x="2704844" y="1319456"/>
                  </a:lnTo>
                  <a:cubicBezTo>
                    <a:pt x="3006859" y="1017442"/>
                    <a:pt x="3006918" y="528548"/>
                    <a:pt x="2704844" y="226533"/>
                  </a:cubicBezTo>
                  <a:close/>
                  <a:moveTo>
                    <a:pt x="1385529" y="2158412"/>
                  </a:moveTo>
                  <a:cubicBezTo>
                    <a:pt x="1385529" y="2230752"/>
                    <a:pt x="1395557" y="2300765"/>
                    <a:pt x="1414239" y="2367256"/>
                  </a:cubicBezTo>
                  <a:lnTo>
                    <a:pt x="1198054" y="2583441"/>
                  </a:lnTo>
                  <a:cubicBezTo>
                    <a:pt x="963127" y="2818368"/>
                    <a:pt x="582923" y="2818368"/>
                    <a:pt x="347996" y="2583441"/>
                  </a:cubicBezTo>
                  <a:cubicBezTo>
                    <a:pt x="113069" y="2348515"/>
                    <a:pt x="113069" y="1968310"/>
                    <a:pt x="347996" y="1733384"/>
                  </a:cubicBezTo>
                  <a:lnTo>
                    <a:pt x="974706" y="1106673"/>
                  </a:lnTo>
                  <a:lnTo>
                    <a:pt x="1550145" y="1682113"/>
                  </a:lnTo>
                  <a:cubicBezTo>
                    <a:pt x="1447066" y="1813483"/>
                    <a:pt x="1385529" y="1978875"/>
                    <a:pt x="1385529" y="2158412"/>
                  </a:cubicBezTo>
                  <a:close/>
                  <a:moveTo>
                    <a:pt x="2072523" y="2753310"/>
                  </a:moveTo>
                  <a:cubicBezTo>
                    <a:pt x="1781610" y="2711529"/>
                    <a:pt x="1557308" y="2460666"/>
                    <a:pt x="1557308" y="2158353"/>
                  </a:cubicBezTo>
                  <a:cubicBezTo>
                    <a:pt x="1557308" y="1856040"/>
                    <a:pt x="1781610" y="1605236"/>
                    <a:pt x="2072523" y="1563396"/>
                  </a:cubicBezTo>
                  <a:lnTo>
                    <a:pt x="2072523" y="2753250"/>
                  </a:lnTo>
                  <a:close/>
                  <a:moveTo>
                    <a:pt x="2759457" y="2158412"/>
                  </a:moveTo>
                  <a:cubicBezTo>
                    <a:pt x="2759457" y="2460725"/>
                    <a:pt x="2535155" y="2711529"/>
                    <a:pt x="2244242" y="2753310"/>
                  </a:cubicBezTo>
                  <a:lnTo>
                    <a:pt x="2244242" y="1563455"/>
                  </a:lnTo>
                  <a:cubicBezTo>
                    <a:pt x="2535155" y="1605236"/>
                    <a:pt x="2759457" y="1856099"/>
                    <a:pt x="2759457" y="2158412"/>
                  </a:cubicBezTo>
                  <a:close/>
                  <a:moveTo>
                    <a:pt x="2367196" y="1414239"/>
                  </a:moveTo>
                  <a:cubicBezTo>
                    <a:pt x="2300765" y="1395557"/>
                    <a:pt x="2230693" y="1385529"/>
                    <a:pt x="2158352" y="1385529"/>
                  </a:cubicBezTo>
                  <a:cubicBezTo>
                    <a:pt x="1973503" y="1385529"/>
                    <a:pt x="1803575" y="1450827"/>
                    <a:pt x="1670414" y="1559516"/>
                  </a:cubicBezTo>
                  <a:lnTo>
                    <a:pt x="1096109" y="985211"/>
                  </a:lnTo>
                  <a:lnTo>
                    <a:pt x="1733324" y="347996"/>
                  </a:lnTo>
                  <a:cubicBezTo>
                    <a:pt x="1968250" y="113069"/>
                    <a:pt x="2348455" y="113069"/>
                    <a:pt x="2583381" y="347996"/>
                  </a:cubicBezTo>
                  <a:cubicBezTo>
                    <a:pt x="2818308" y="582923"/>
                    <a:pt x="2818308" y="963127"/>
                    <a:pt x="2583381" y="1198054"/>
                  </a:cubicBezTo>
                  <a:lnTo>
                    <a:pt x="2367196" y="1414239"/>
                  </a:lnTo>
                  <a:close/>
                </a:path>
              </a:pathLst>
            </a:custGeom>
            <a:solidFill>
              <a:srgbClr val="9097B3"/>
            </a:solidFill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47" name="Forme libre : forme 146">
              <a:extLst>
                <a:ext uri="{FF2B5EF4-FFF2-40B4-BE49-F238E27FC236}">
                  <a16:creationId xmlns:a16="http://schemas.microsoft.com/office/drawing/2014/main" id="{AC2EC5A0-C1ED-6C4E-F7AD-A35C125EA1C3}"/>
                </a:ext>
              </a:extLst>
            </p:cNvPr>
            <p:cNvSpPr/>
            <p:nvPr/>
          </p:nvSpPr>
          <p:spPr>
            <a:xfrm>
              <a:off x="3961184" y="1104955"/>
              <a:ext cx="4840513" cy="2652620"/>
            </a:xfrm>
            <a:custGeom>
              <a:avLst/>
              <a:gdLst>
                <a:gd name="connsiteX0" fmla="*/ 677565 w 4840513"/>
                <a:gd name="connsiteY0" fmla="*/ 556483 h 2652620"/>
                <a:gd name="connsiteX1" fmla="*/ 7283 w 4840513"/>
                <a:gd name="connsiteY1" fmla="*/ 1482105 h 2652620"/>
                <a:gd name="connsiteX2" fmla="*/ 60464 w 4840513"/>
                <a:gd name="connsiteY2" fmla="*/ 1609058 h 2652620"/>
                <a:gd name="connsiteX3" fmla="*/ 187418 w 4840513"/>
                <a:gd name="connsiteY3" fmla="*/ 1555877 h 2652620"/>
                <a:gd name="connsiteX4" fmla="*/ 1804390 w 4840513"/>
                <a:gd name="connsiteY4" fmla="*/ 230594 h 2652620"/>
                <a:gd name="connsiteX5" fmla="*/ 3811653 w 4840513"/>
                <a:gd name="connsiteY5" fmla="*/ 1031291 h 2652620"/>
                <a:gd name="connsiteX6" fmla="*/ 4250470 w 4840513"/>
                <a:gd name="connsiteY6" fmla="*/ 2343563 h 2652620"/>
                <a:gd name="connsiteX7" fmla="*/ 4016915 w 4840513"/>
                <a:gd name="connsiteY7" fmla="*/ 2132152 h 2652620"/>
                <a:gd name="connsiteX8" fmla="*/ 3879457 w 4840513"/>
                <a:gd name="connsiteY8" fmla="*/ 2139016 h 2652620"/>
                <a:gd name="connsiteX9" fmla="*/ 3886321 w 4840513"/>
                <a:gd name="connsiteY9" fmla="*/ 2276475 h 2652620"/>
                <a:gd name="connsiteX10" fmla="*/ 4274165 w 4840513"/>
                <a:gd name="connsiteY10" fmla="*/ 2627492 h 2652620"/>
                <a:gd name="connsiteX11" fmla="*/ 4276851 w 4840513"/>
                <a:gd name="connsiteY11" fmla="*/ 2629701 h 2652620"/>
                <a:gd name="connsiteX12" fmla="*/ 4279597 w 4840513"/>
                <a:gd name="connsiteY12" fmla="*/ 2631969 h 2652620"/>
                <a:gd name="connsiteX13" fmla="*/ 4284312 w 4840513"/>
                <a:gd name="connsiteY13" fmla="*/ 2635371 h 2652620"/>
                <a:gd name="connsiteX14" fmla="*/ 4287117 w 4840513"/>
                <a:gd name="connsiteY14" fmla="*/ 2637281 h 2652620"/>
                <a:gd name="connsiteX15" fmla="*/ 4292369 w 4840513"/>
                <a:gd name="connsiteY15" fmla="*/ 2640385 h 2652620"/>
                <a:gd name="connsiteX16" fmla="*/ 4295115 w 4840513"/>
                <a:gd name="connsiteY16" fmla="*/ 2641877 h 2652620"/>
                <a:gd name="connsiteX17" fmla="*/ 4300964 w 4840513"/>
                <a:gd name="connsiteY17" fmla="*/ 2644622 h 2652620"/>
                <a:gd name="connsiteX18" fmla="*/ 4303471 w 4840513"/>
                <a:gd name="connsiteY18" fmla="*/ 2645697 h 2652620"/>
                <a:gd name="connsiteX19" fmla="*/ 4310455 w 4840513"/>
                <a:gd name="connsiteY19" fmla="*/ 2648144 h 2652620"/>
                <a:gd name="connsiteX20" fmla="*/ 4312185 w 4840513"/>
                <a:gd name="connsiteY20" fmla="*/ 2648741 h 2652620"/>
                <a:gd name="connsiteX21" fmla="*/ 4339402 w 4840513"/>
                <a:gd name="connsiteY21" fmla="*/ 2652620 h 2652620"/>
                <a:gd name="connsiteX22" fmla="*/ 4348594 w 4840513"/>
                <a:gd name="connsiteY22" fmla="*/ 2652143 h 2652620"/>
                <a:gd name="connsiteX23" fmla="*/ 4349967 w 4840513"/>
                <a:gd name="connsiteY23" fmla="*/ 2651964 h 2652620"/>
                <a:gd name="connsiteX24" fmla="*/ 4357308 w 4840513"/>
                <a:gd name="connsiteY24" fmla="*/ 2650889 h 2652620"/>
                <a:gd name="connsiteX25" fmla="*/ 4359756 w 4840513"/>
                <a:gd name="connsiteY25" fmla="*/ 2650352 h 2652620"/>
                <a:gd name="connsiteX26" fmla="*/ 4365903 w 4840513"/>
                <a:gd name="connsiteY26" fmla="*/ 2648860 h 2652620"/>
                <a:gd name="connsiteX27" fmla="*/ 4368530 w 4840513"/>
                <a:gd name="connsiteY27" fmla="*/ 2648025 h 2652620"/>
                <a:gd name="connsiteX28" fmla="*/ 4374319 w 4840513"/>
                <a:gd name="connsiteY28" fmla="*/ 2646055 h 2652620"/>
                <a:gd name="connsiteX29" fmla="*/ 4376766 w 4840513"/>
                <a:gd name="connsiteY29" fmla="*/ 2645040 h 2652620"/>
                <a:gd name="connsiteX30" fmla="*/ 4382377 w 4840513"/>
                <a:gd name="connsiteY30" fmla="*/ 2642533 h 2652620"/>
                <a:gd name="connsiteX31" fmla="*/ 4384705 w 4840513"/>
                <a:gd name="connsiteY31" fmla="*/ 2641339 h 2652620"/>
                <a:gd name="connsiteX32" fmla="*/ 4390017 w 4840513"/>
                <a:gd name="connsiteY32" fmla="*/ 2638355 h 2652620"/>
                <a:gd name="connsiteX33" fmla="*/ 4392345 w 4840513"/>
                <a:gd name="connsiteY33" fmla="*/ 2636863 h 2652620"/>
                <a:gd name="connsiteX34" fmla="*/ 4397239 w 4840513"/>
                <a:gd name="connsiteY34" fmla="*/ 2633461 h 2652620"/>
                <a:gd name="connsiteX35" fmla="*/ 4399627 w 4840513"/>
                <a:gd name="connsiteY35" fmla="*/ 2631611 h 2652620"/>
                <a:gd name="connsiteX36" fmla="*/ 4402193 w 4840513"/>
                <a:gd name="connsiteY36" fmla="*/ 2629641 h 2652620"/>
                <a:gd name="connsiteX37" fmla="*/ 4805974 w 4840513"/>
                <a:gd name="connsiteY37" fmla="*/ 2288830 h 2652620"/>
                <a:gd name="connsiteX38" fmla="*/ 4817552 w 4840513"/>
                <a:gd name="connsiteY38" fmla="*/ 2151670 h 2652620"/>
                <a:gd name="connsiteX39" fmla="*/ 4680393 w 4840513"/>
                <a:gd name="connsiteY39" fmla="*/ 2140091 h 2652620"/>
                <a:gd name="connsiteX40" fmla="*/ 4444809 w 4840513"/>
                <a:gd name="connsiteY40" fmla="*/ 2338907 h 2652620"/>
                <a:gd name="connsiteX41" fmla="*/ 4359219 w 4840513"/>
                <a:gd name="connsiteY41" fmla="*/ 1720553 h 2652620"/>
                <a:gd name="connsiteX42" fmla="*/ 3968629 w 4840513"/>
                <a:gd name="connsiteY42" fmla="*/ 916096 h 2652620"/>
                <a:gd name="connsiteX43" fmla="*/ 2991856 w 4840513"/>
                <a:gd name="connsiteY43" fmla="*/ 156463 h 2652620"/>
                <a:gd name="connsiteX44" fmla="*/ 1767623 w 4840513"/>
                <a:gd name="connsiteY44" fmla="*/ 39298 h 2652620"/>
                <a:gd name="connsiteX45" fmla="*/ 677505 w 4840513"/>
                <a:gd name="connsiteY45" fmla="*/ 556304 h 2652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4840513" h="2652620">
                  <a:moveTo>
                    <a:pt x="677565" y="556483"/>
                  </a:moveTo>
                  <a:cubicBezTo>
                    <a:pt x="386174" y="802930"/>
                    <a:pt x="154411" y="1123030"/>
                    <a:pt x="7283" y="1482105"/>
                  </a:cubicBezTo>
                  <a:cubicBezTo>
                    <a:pt x="-13070" y="1531824"/>
                    <a:pt x="10685" y="1588705"/>
                    <a:pt x="60464" y="1609058"/>
                  </a:cubicBezTo>
                  <a:cubicBezTo>
                    <a:pt x="110183" y="1629411"/>
                    <a:pt x="167065" y="1605656"/>
                    <a:pt x="187418" y="1555877"/>
                  </a:cubicBezTo>
                  <a:cubicBezTo>
                    <a:pt x="474212" y="855872"/>
                    <a:pt x="1063558" y="372828"/>
                    <a:pt x="1804390" y="230594"/>
                  </a:cubicBezTo>
                  <a:cubicBezTo>
                    <a:pt x="2572438" y="83108"/>
                    <a:pt x="3341620" y="389958"/>
                    <a:pt x="3811653" y="1031291"/>
                  </a:cubicBezTo>
                  <a:cubicBezTo>
                    <a:pt x="4098209" y="1422239"/>
                    <a:pt x="4248082" y="1872336"/>
                    <a:pt x="4250470" y="2343563"/>
                  </a:cubicBezTo>
                  <a:lnTo>
                    <a:pt x="4016915" y="2132152"/>
                  </a:lnTo>
                  <a:cubicBezTo>
                    <a:pt x="3977045" y="2096102"/>
                    <a:pt x="3915508" y="2099146"/>
                    <a:pt x="3879457" y="2139016"/>
                  </a:cubicBezTo>
                  <a:cubicBezTo>
                    <a:pt x="3843406" y="2178887"/>
                    <a:pt x="3846450" y="2240424"/>
                    <a:pt x="3886321" y="2276475"/>
                  </a:cubicBezTo>
                  <a:lnTo>
                    <a:pt x="4274165" y="2627492"/>
                  </a:lnTo>
                  <a:cubicBezTo>
                    <a:pt x="4275060" y="2628268"/>
                    <a:pt x="4275956" y="2628985"/>
                    <a:pt x="4276851" y="2629701"/>
                  </a:cubicBezTo>
                  <a:cubicBezTo>
                    <a:pt x="4277746" y="2630477"/>
                    <a:pt x="4278701" y="2631252"/>
                    <a:pt x="4279597" y="2631969"/>
                  </a:cubicBezTo>
                  <a:cubicBezTo>
                    <a:pt x="4281148" y="2633162"/>
                    <a:pt x="4282700" y="2634296"/>
                    <a:pt x="4284312" y="2635371"/>
                  </a:cubicBezTo>
                  <a:cubicBezTo>
                    <a:pt x="4285267" y="2636028"/>
                    <a:pt x="4286162" y="2636684"/>
                    <a:pt x="4287117" y="2637281"/>
                  </a:cubicBezTo>
                  <a:cubicBezTo>
                    <a:pt x="4288848" y="2638355"/>
                    <a:pt x="4290579" y="2639370"/>
                    <a:pt x="4292369" y="2640385"/>
                  </a:cubicBezTo>
                  <a:cubicBezTo>
                    <a:pt x="4293265" y="2640862"/>
                    <a:pt x="4294220" y="2641399"/>
                    <a:pt x="4295115" y="2641877"/>
                  </a:cubicBezTo>
                  <a:cubicBezTo>
                    <a:pt x="4297025" y="2642891"/>
                    <a:pt x="4298995" y="2643727"/>
                    <a:pt x="4300964" y="2644622"/>
                  </a:cubicBezTo>
                  <a:cubicBezTo>
                    <a:pt x="4301800" y="2644981"/>
                    <a:pt x="4302636" y="2645398"/>
                    <a:pt x="4303471" y="2645697"/>
                  </a:cubicBezTo>
                  <a:cubicBezTo>
                    <a:pt x="4305799" y="2646592"/>
                    <a:pt x="4308127" y="2647428"/>
                    <a:pt x="4310455" y="2648144"/>
                  </a:cubicBezTo>
                  <a:cubicBezTo>
                    <a:pt x="4311051" y="2648323"/>
                    <a:pt x="4311589" y="2648562"/>
                    <a:pt x="4312185" y="2648741"/>
                  </a:cubicBezTo>
                  <a:cubicBezTo>
                    <a:pt x="4321079" y="2651307"/>
                    <a:pt x="4330211" y="2652620"/>
                    <a:pt x="4339402" y="2652620"/>
                  </a:cubicBezTo>
                  <a:cubicBezTo>
                    <a:pt x="4342447" y="2652620"/>
                    <a:pt x="4345550" y="2652441"/>
                    <a:pt x="4348594" y="2652143"/>
                  </a:cubicBezTo>
                  <a:cubicBezTo>
                    <a:pt x="4349072" y="2652143"/>
                    <a:pt x="4349490" y="2652024"/>
                    <a:pt x="4349967" y="2651964"/>
                  </a:cubicBezTo>
                  <a:cubicBezTo>
                    <a:pt x="4352414" y="2651725"/>
                    <a:pt x="4354861" y="2651367"/>
                    <a:pt x="4357308" y="2650889"/>
                  </a:cubicBezTo>
                  <a:cubicBezTo>
                    <a:pt x="4358144" y="2650710"/>
                    <a:pt x="4358920" y="2650531"/>
                    <a:pt x="4359756" y="2650352"/>
                  </a:cubicBezTo>
                  <a:cubicBezTo>
                    <a:pt x="4361785" y="2649934"/>
                    <a:pt x="4363874" y="2649457"/>
                    <a:pt x="4365903" y="2648860"/>
                  </a:cubicBezTo>
                  <a:cubicBezTo>
                    <a:pt x="4366799" y="2648621"/>
                    <a:pt x="4367635" y="2648323"/>
                    <a:pt x="4368530" y="2648025"/>
                  </a:cubicBezTo>
                  <a:cubicBezTo>
                    <a:pt x="4370499" y="2647428"/>
                    <a:pt x="4372409" y="2646771"/>
                    <a:pt x="4374319" y="2646055"/>
                  </a:cubicBezTo>
                  <a:cubicBezTo>
                    <a:pt x="4375155" y="2645756"/>
                    <a:pt x="4375990" y="2645398"/>
                    <a:pt x="4376766" y="2645040"/>
                  </a:cubicBezTo>
                  <a:cubicBezTo>
                    <a:pt x="4378676" y="2644264"/>
                    <a:pt x="4380527" y="2643429"/>
                    <a:pt x="4382377" y="2642533"/>
                  </a:cubicBezTo>
                  <a:cubicBezTo>
                    <a:pt x="4383153" y="2642115"/>
                    <a:pt x="4383929" y="2641757"/>
                    <a:pt x="4384705" y="2641339"/>
                  </a:cubicBezTo>
                  <a:cubicBezTo>
                    <a:pt x="4386495" y="2640385"/>
                    <a:pt x="4388286" y="2639370"/>
                    <a:pt x="4390017" y="2638355"/>
                  </a:cubicBezTo>
                  <a:cubicBezTo>
                    <a:pt x="4390793" y="2637878"/>
                    <a:pt x="4391569" y="2637400"/>
                    <a:pt x="4392345" y="2636863"/>
                  </a:cubicBezTo>
                  <a:cubicBezTo>
                    <a:pt x="4394016" y="2635789"/>
                    <a:pt x="4395628" y="2634654"/>
                    <a:pt x="4397239" y="2633461"/>
                  </a:cubicBezTo>
                  <a:cubicBezTo>
                    <a:pt x="4398075" y="2632864"/>
                    <a:pt x="4398851" y="2632208"/>
                    <a:pt x="4399627" y="2631611"/>
                  </a:cubicBezTo>
                  <a:cubicBezTo>
                    <a:pt x="4400462" y="2630954"/>
                    <a:pt x="4401357" y="2630357"/>
                    <a:pt x="4402193" y="2629641"/>
                  </a:cubicBezTo>
                  <a:lnTo>
                    <a:pt x="4805974" y="2288830"/>
                  </a:lnTo>
                  <a:cubicBezTo>
                    <a:pt x="4847038" y="2254152"/>
                    <a:pt x="4852231" y="2192734"/>
                    <a:pt x="4817552" y="2151670"/>
                  </a:cubicBezTo>
                  <a:cubicBezTo>
                    <a:pt x="4782874" y="2110605"/>
                    <a:pt x="4721457" y="2105413"/>
                    <a:pt x="4680393" y="2140091"/>
                  </a:cubicBezTo>
                  <a:lnTo>
                    <a:pt x="4444809" y="2338907"/>
                  </a:lnTo>
                  <a:cubicBezTo>
                    <a:pt x="4443138" y="2129825"/>
                    <a:pt x="4414548" y="1922652"/>
                    <a:pt x="4359219" y="1720553"/>
                  </a:cubicBezTo>
                  <a:cubicBezTo>
                    <a:pt x="4280372" y="1432803"/>
                    <a:pt x="4148942" y="1162124"/>
                    <a:pt x="3968629" y="916096"/>
                  </a:cubicBezTo>
                  <a:cubicBezTo>
                    <a:pt x="3718124" y="574330"/>
                    <a:pt x="3380417" y="311649"/>
                    <a:pt x="2991856" y="156463"/>
                  </a:cubicBezTo>
                  <a:cubicBezTo>
                    <a:pt x="2602222" y="860"/>
                    <a:pt x="2178864" y="-39667"/>
                    <a:pt x="1767623" y="39298"/>
                  </a:cubicBezTo>
                  <a:cubicBezTo>
                    <a:pt x="1356560" y="118204"/>
                    <a:pt x="989786" y="292191"/>
                    <a:pt x="677505" y="556304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48" name="Forme libre : forme 147">
              <a:extLst>
                <a:ext uri="{FF2B5EF4-FFF2-40B4-BE49-F238E27FC236}">
                  <a16:creationId xmlns:a16="http://schemas.microsoft.com/office/drawing/2014/main" id="{933AD1CE-C8B6-30E7-D2BC-AAD49CD942D9}"/>
                </a:ext>
              </a:extLst>
            </p:cNvPr>
            <p:cNvSpPr/>
            <p:nvPr/>
          </p:nvSpPr>
          <p:spPr>
            <a:xfrm>
              <a:off x="3387913" y="3242456"/>
              <a:ext cx="4842645" cy="2637875"/>
            </a:xfrm>
            <a:custGeom>
              <a:avLst/>
              <a:gdLst>
                <a:gd name="connsiteX0" fmla="*/ 4111678 w 4842645"/>
                <a:gd name="connsiteY0" fmla="*/ 2121586 h 2637875"/>
                <a:gd name="connsiteX1" fmla="*/ 4835379 w 4842645"/>
                <a:gd name="connsiteY1" fmla="*/ 1150841 h 2637875"/>
                <a:gd name="connsiteX2" fmla="*/ 4782139 w 4842645"/>
                <a:gd name="connsiteY2" fmla="*/ 1023947 h 2637875"/>
                <a:gd name="connsiteX3" fmla="*/ 4655245 w 4842645"/>
                <a:gd name="connsiteY3" fmla="*/ 1077188 h 2637875"/>
                <a:gd name="connsiteX4" fmla="*/ 2896696 w 4842645"/>
                <a:gd name="connsiteY4" fmla="*/ 2426883 h 2637875"/>
                <a:gd name="connsiteX5" fmla="*/ 1131343 w 4842645"/>
                <a:gd name="connsiteY5" fmla="*/ 1732130 h 2637875"/>
                <a:gd name="connsiteX6" fmla="*/ 591954 w 4842645"/>
                <a:gd name="connsiteY6" fmla="*/ 310632 h 2637875"/>
                <a:gd name="connsiteX7" fmla="*/ 823598 w 4842645"/>
                <a:gd name="connsiteY7" fmla="*/ 520251 h 2637875"/>
                <a:gd name="connsiteX8" fmla="*/ 888896 w 4842645"/>
                <a:gd name="connsiteY8" fmla="*/ 545439 h 2637875"/>
                <a:gd name="connsiteX9" fmla="*/ 961057 w 4842645"/>
                <a:gd name="connsiteY9" fmla="*/ 513447 h 2637875"/>
                <a:gd name="connsiteX10" fmla="*/ 954193 w 4842645"/>
                <a:gd name="connsiteY10" fmla="*/ 375989 h 2637875"/>
                <a:gd name="connsiteX11" fmla="*/ 566349 w 4842645"/>
                <a:gd name="connsiteY11" fmla="*/ 24971 h 2637875"/>
                <a:gd name="connsiteX12" fmla="*/ 563245 w 4842645"/>
                <a:gd name="connsiteY12" fmla="*/ 22405 h 2637875"/>
                <a:gd name="connsiteX13" fmla="*/ 560679 w 4842645"/>
                <a:gd name="connsiteY13" fmla="*/ 20316 h 2637875"/>
                <a:gd name="connsiteX14" fmla="*/ 555605 w 4842645"/>
                <a:gd name="connsiteY14" fmla="*/ 16675 h 2637875"/>
                <a:gd name="connsiteX15" fmla="*/ 553218 w 4842645"/>
                <a:gd name="connsiteY15" fmla="*/ 15064 h 2637875"/>
                <a:gd name="connsiteX16" fmla="*/ 547189 w 4842645"/>
                <a:gd name="connsiteY16" fmla="*/ 11542 h 2637875"/>
                <a:gd name="connsiteX17" fmla="*/ 545279 w 4842645"/>
                <a:gd name="connsiteY17" fmla="*/ 10527 h 2637875"/>
                <a:gd name="connsiteX18" fmla="*/ 537162 w 4842645"/>
                <a:gd name="connsiteY18" fmla="*/ 6827 h 2637875"/>
                <a:gd name="connsiteX19" fmla="*/ 536983 w 4842645"/>
                <a:gd name="connsiteY19" fmla="*/ 6707 h 2637875"/>
                <a:gd name="connsiteX20" fmla="*/ 518480 w 4842645"/>
                <a:gd name="connsiteY20" fmla="*/ 1455 h 2637875"/>
                <a:gd name="connsiteX21" fmla="*/ 517943 w 4842645"/>
                <a:gd name="connsiteY21" fmla="*/ 1395 h 2637875"/>
                <a:gd name="connsiteX22" fmla="*/ 509050 w 4842645"/>
                <a:gd name="connsiteY22" fmla="*/ 261 h 2637875"/>
                <a:gd name="connsiteX23" fmla="*/ 508512 w 4842645"/>
                <a:gd name="connsiteY23" fmla="*/ 202 h 2637875"/>
                <a:gd name="connsiteX24" fmla="*/ 507558 w 4842645"/>
                <a:gd name="connsiteY24" fmla="*/ 202 h 2637875"/>
                <a:gd name="connsiteX25" fmla="*/ 499559 w 4842645"/>
                <a:gd name="connsiteY25" fmla="*/ 22 h 2637875"/>
                <a:gd name="connsiteX26" fmla="*/ 497470 w 4842645"/>
                <a:gd name="connsiteY26" fmla="*/ 22 h 2637875"/>
                <a:gd name="connsiteX27" fmla="*/ 490189 w 4842645"/>
                <a:gd name="connsiteY27" fmla="*/ 560 h 2637875"/>
                <a:gd name="connsiteX28" fmla="*/ 487921 w 4842645"/>
                <a:gd name="connsiteY28" fmla="*/ 798 h 2637875"/>
                <a:gd name="connsiteX29" fmla="*/ 480699 w 4842645"/>
                <a:gd name="connsiteY29" fmla="*/ 2052 h 2637875"/>
                <a:gd name="connsiteX30" fmla="*/ 478788 w 4842645"/>
                <a:gd name="connsiteY30" fmla="*/ 2469 h 2637875"/>
                <a:gd name="connsiteX31" fmla="*/ 470791 w 4842645"/>
                <a:gd name="connsiteY31" fmla="*/ 4738 h 2637875"/>
                <a:gd name="connsiteX32" fmla="*/ 470015 w 4842645"/>
                <a:gd name="connsiteY32" fmla="*/ 4977 h 2637875"/>
                <a:gd name="connsiteX33" fmla="*/ 438321 w 4842645"/>
                <a:gd name="connsiteY33" fmla="*/ 22823 h 2637875"/>
                <a:gd name="connsiteX34" fmla="*/ 34541 w 4842645"/>
                <a:gd name="connsiteY34" fmla="*/ 363634 h 2637875"/>
                <a:gd name="connsiteX35" fmla="*/ 22961 w 4842645"/>
                <a:gd name="connsiteY35" fmla="*/ 500794 h 2637875"/>
                <a:gd name="connsiteX36" fmla="*/ 160121 w 4842645"/>
                <a:gd name="connsiteY36" fmla="*/ 512373 h 2637875"/>
                <a:gd name="connsiteX37" fmla="*/ 397197 w 4842645"/>
                <a:gd name="connsiteY37" fmla="*/ 312243 h 2637875"/>
                <a:gd name="connsiteX38" fmla="*/ 508274 w 4842645"/>
                <a:gd name="connsiteY38" fmla="*/ 1001087 h 2637875"/>
                <a:gd name="connsiteX39" fmla="*/ 982544 w 4842645"/>
                <a:gd name="connsiteY39" fmla="*/ 1857711 h 2637875"/>
                <a:gd name="connsiteX40" fmla="*/ 1857372 w 4842645"/>
                <a:gd name="connsiteY40" fmla="*/ 2488122 h 2637875"/>
                <a:gd name="connsiteX41" fmla="*/ 2646669 w 4842645"/>
                <a:gd name="connsiteY41" fmla="*/ 2637876 h 2637875"/>
                <a:gd name="connsiteX42" fmla="*/ 2921884 w 4842645"/>
                <a:gd name="connsiteY42" fmla="*/ 2620089 h 2637875"/>
                <a:gd name="connsiteX43" fmla="*/ 3568947 w 4842645"/>
                <a:gd name="connsiteY43" fmla="*/ 2445326 h 2637875"/>
                <a:gd name="connsiteX44" fmla="*/ 4111798 w 4842645"/>
                <a:gd name="connsiteY44" fmla="*/ 2121765 h 2637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4842645" h="2637875">
                  <a:moveTo>
                    <a:pt x="4111678" y="2121586"/>
                  </a:moveTo>
                  <a:cubicBezTo>
                    <a:pt x="4428913" y="1868693"/>
                    <a:pt x="4679179" y="1533015"/>
                    <a:pt x="4835379" y="1150841"/>
                  </a:cubicBezTo>
                  <a:cubicBezTo>
                    <a:pt x="4855733" y="1101063"/>
                    <a:pt x="4831858" y="1044241"/>
                    <a:pt x="4782139" y="1023947"/>
                  </a:cubicBezTo>
                  <a:cubicBezTo>
                    <a:pt x="4732360" y="1003594"/>
                    <a:pt x="4675538" y="1027469"/>
                    <a:pt x="4655245" y="1077188"/>
                  </a:cubicBezTo>
                  <a:cubicBezTo>
                    <a:pt x="4352275" y="1818437"/>
                    <a:pt x="3694886" y="2322969"/>
                    <a:pt x="2896696" y="2426883"/>
                  </a:cubicBezTo>
                  <a:cubicBezTo>
                    <a:pt x="2230832" y="2513548"/>
                    <a:pt x="1570876" y="2253851"/>
                    <a:pt x="1131343" y="1732130"/>
                  </a:cubicBezTo>
                  <a:cubicBezTo>
                    <a:pt x="788085" y="1324649"/>
                    <a:pt x="600311" y="826385"/>
                    <a:pt x="591954" y="310632"/>
                  </a:cubicBezTo>
                  <a:lnTo>
                    <a:pt x="823598" y="520251"/>
                  </a:lnTo>
                  <a:cubicBezTo>
                    <a:pt x="842221" y="537083"/>
                    <a:pt x="865618" y="545439"/>
                    <a:pt x="888896" y="545439"/>
                  </a:cubicBezTo>
                  <a:cubicBezTo>
                    <a:pt x="915456" y="545439"/>
                    <a:pt x="941897" y="534636"/>
                    <a:pt x="961057" y="513447"/>
                  </a:cubicBezTo>
                  <a:cubicBezTo>
                    <a:pt x="997108" y="473577"/>
                    <a:pt x="994064" y="412040"/>
                    <a:pt x="954193" y="375989"/>
                  </a:cubicBezTo>
                  <a:lnTo>
                    <a:pt x="566349" y="24971"/>
                  </a:lnTo>
                  <a:cubicBezTo>
                    <a:pt x="565334" y="24076"/>
                    <a:pt x="564260" y="23241"/>
                    <a:pt x="563245" y="22405"/>
                  </a:cubicBezTo>
                  <a:cubicBezTo>
                    <a:pt x="562410" y="21689"/>
                    <a:pt x="561574" y="20972"/>
                    <a:pt x="560679" y="20316"/>
                  </a:cubicBezTo>
                  <a:cubicBezTo>
                    <a:pt x="559007" y="19062"/>
                    <a:pt x="557336" y="17869"/>
                    <a:pt x="555605" y="16675"/>
                  </a:cubicBezTo>
                  <a:cubicBezTo>
                    <a:pt x="554829" y="16138"/>
                    <a:pt x="554053" y="15541"/>
                    <a:pt x="553218" y="15064"/>
                  </a:cubicBezTo>
                  <a:cubicBezTo>
                    <a:pt x="551248" y="13810"/>
                    <a:pt x="549219" y="12676"/>
                    <a:pt x="547189" y="11542"/>
                  </a:cubicBezTo>
                  <a:cubicBezTo>
                    <a:pt x="546533" y="11184"/>
                    <a:pt x="545936" y="10826"/>
                    <a:pt x="545279" y="10527"/>
                  </a:cubicBezTo>
                  <a:cubicBezTo>
                    <a:pt x="542594" y="9155"/>
                    <a:pt x="539908" y="7961"/>
                    <a:pt x="537162" y="6827"/>
                  </a:cubicBezTo>
                  <a:cubicBezTo>
                    <a:pt x="537102" y="6827"/>
                    <a:pt x="537043" y="6767"/>
                    <a:pt x="536983" y="6707"/>
                  </a:cubicBezTo>
                  <a:cubicBezTo>
                    <a:pt x="530955" y="4320"/>
                    <a:pt x="524807" y="2589"/>
                    <a:pt x="518480" y="1455"/>
                  </a:cubicBezTo>
                  <a:cubicBezTo>
                    <a:pt x="518301" y="1455"/>
                    <a:pt x="518122" y="1455"/>
                    <a:pt x="517943" y="1395"/>
                  </a:cubicBezTo>
                  <a:cubicBezTo>
                    <a:pt x="514959" y="858"/>
                    <a:pt x="512034" y="500"/>
                    <a:pt x="509050" y="261"/>
                  </a:cubicBezTo>
                  <a:cubicBezTo>
                    <a:pt x="508871" y="261"/>
                    <a:pt x="508691" y="261"/>
                    <a:pt x="508512" y="202"/>
                  </a:cubicBezTo>
                  <a:cubicBezTo>
                    <a:pt x="508154" y="202"/>
                    <a:pt x="507856" y="202"/>
                    <a:pt x="507558" y="202"/>
                  </a:cubicBezTo>
                  <a:cubicBezTo>
                    <a:pt x="504872" y="22"/>
                    <a:pt x="502245" y="-37"/>
                    <a:pt x="499559" y="22"/>
                  </a:cubicBezTo>
                  <a:cubicBezTo>
                    <a:pt x="498843" y="22"/>
                    <a:pt x="498187" y="22"/>
                    <a:pt x="497470" y="22"/>
                  </a:cubicBezTo>
                  <a:cubicBezTo>
                    <a:pt x="495023" y="142"/>
                    <a:pt x="492576" y="321"/>
                    <a:pt x="490189" y="560"/>
                  </a:cubicBezTo>
                  <a:cubicBezTo>
                    <a:pt x="489413" y="619"/>
                    <a:pt x="488697" y="739"/>
                    <a:pt x="487921" y="798"/>
                  </a:cubicBezTo>
                  <a:cubicBezTo>
                    <a:pt x="485533" y="1097"/>
                    <a:pt x="483086" y="1574"/>
                    <a:pt x="480699" y="2052"/>
                  </a:cubicBezTo>
                  <a:cubicBezTo>
                    <a:pt x="480042" y="2171"/>
                    <a:pt x="479385" y="2291"/>
                    <a:pt x="478788" y="2469"/>
                  </a:cubicBezTo>
                  <a:cubicBezTo>
                    <a:pt x="476103" y="3126"/>
                    <a:pt x="473417" y="3842"/>
                    <a:pt x="470791" y="4738"/>
                  </a:cubicBezTo>
                  <a:cubicBezTo>
                    <a:pt x="470552" y="4797"/>
                    <a:pt x="470253" y="4857"/>
                    <a:pt x="470015" y="4977"/>
                  </a:cubicBezTo>
                  <a:cubicBezTo>
                    <a:pt x="458674" y="8796"/>
                    <a:pt x="447930" y="14705"/>
                    <a:pt x="438321" y="22823"/>
                  </a:cubicBezTo>
                  <a:lnTo>
                    <a:pt x="34541" y="363634"/>
                  </a:lnTo>
                  <a:cubicBezTo>
                    <a:pt x="-6524" y="398312"/>
                    <a:pt x="-11717" y="459729"/>
                    <a:pt x="22961" y="500794"/>
                  </a:cubicBezTo>
                  <a:cubicBezTo>
                    <a:pt x="57639" y="541858"/>
                    <a:pt x="119057" y="547051"/>
                    <a:pt x="160121" y="512373"/>
                  </a:cubicBezTo>
                  <a:lnTo>
                    <a:pt x="397197" y="312243"/>
                  </a:lnTo>
                  <a:cubicBezTo>
                    <a:pt x="400599" y="546156"/>
                    <a:pt x="437724" y="777024"/>
                    <a:pt x="508274" y="1001087"/>
                  </a:cubicBezTo>
                  <a:cubicBezTo>
                    <a:pt x="606220" y="1312115"/>
                    <a:pt x="765762" y="1600342"/>
                    <a:pt x="982544" y="1857711"/>
                  </a:cubicBezTo>
                  <a:cubicBezTo>
                    <a:pt x="1218187" y="2137462"/>
                    <a:pt x="1520739" y="2355438"/>
                    <a:pt x="1857372" y="2488122"/>
                  </a:cubicBezTo>
                  <a:cubicBezTo>
                    <a:pt x="2109071" y="2587321"/>
                    <a:pt x="2377601" y="2637876"/>
                    <a:pt x="2646669" y="2637876"/>
                  </a:cubicBezTo>
                  <a:cubicBezTo>
                    <a:pt x="2738586" y="2637876"/>
                    <a:pt x="2830563" y="2631967"/>
                    <a:pt x="2921884" y="2620089"/>
                  </a:cubicBezTo>
                  <a:cubicBezTo>
                    <a:pt x="3147917" y="2590663"/>
                    <a:pt x="3365594" y="2531872"/>
                    <a:pt x="3568947" y="2445326"/>
                  </a:cubicBezTo>
                  <a:cubicBezTo>
                    <a:pt x="3764003" y="2362302"/>
                    <a:pt x="3946645" y="2253433"/>
                    <a:pt x="4111798" y="2121765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49" name="Forme libre : forme 148">
              <a:extLst>
                <a:ext uri="{FF2B5EF4-FFF2-40B4-BE49-F238E27FC236}">
                  <a16:creationId xmlns:a16="http://schemas.microsoft.com/office/drawing/2014/main" id="{5FA26617-2F27-20E1-5F4B-1BAD7906941E}"/>
                </a:ext>
              </a:extLst>
            </p:cNvPr>
            <p:cNvSpPr/>
            <p:nvPr/>
          </p:nvSpPr>
          <p:spPr>
            <a:xfrm>
              <a:off x="3201601" y="1342711"/>
              <a:ext cx="464135" cy="474136"/>
            </a:xfrm>
            <a:custGeom>
              <a:avLst/>
              <a:gdLst>
                <a:gd name="connsiteX0" fmla="*/ 42508 w 464135"/>
                <a:gd name="connsiteY0" fmla="*/ 343795 h 474136"/>
                <a:gd name="connsiteX1" fmla="*/ 85960 w 464135"/>
                <a:gd name="connsiteY1" fmla="*/ 360269 h 474136"/>
                <a:gd name="connsiteX2" fmla="*/ 132874 w 464135"/>
                <a:gd name="connsiteY2" fmla="*/ 351137 h 474136"/>
                <a:gd name="connsiteX3" fmla="*/ 136157 w 464135"/>
                <a:gd name="connsiteY3" fmla="*/ 410764 h 474136"/>
                <a:gd name="connsiteX4" fmla="*/ 171074 w 464135"/>
                <a:gd name="connsiteY4" fmla="*/ 455648 h 474136"/>
                <a:gd name="connsiteX5" fmla="*/ 238042 w 464135"/>
                <a:gd name="connsiteY5" fmla="*/ 473733 h 474136"/>
                <a:gd name="connsiteX6" fmla="*/ 315336 w 464135"/>
                <a:gd name="connsiteY6" fmla="*/ 441144 h 474136"/>
                <a:gd name="connsiteX7" fmla="*/ 394779 w 464135"/>
                <a:gd name="connsiteY7" fmla="*/ 356688 h 474136"/>
                <a:gd name="connsiteX8" fmla="*/ 440559 w 464135"/>
                <a:gd name="connsiteY8" fmla="*/ 276051 h 474136"/>
                <a:gd name="connsiteX9" fmla="*/ 464135 w 464135"/>
                <a:gd name="connsiteY9" fmla="*/ 197921 h 474136"/>
                <a:gd name="connsiteX10" fmla="*/ 361355 w 464135"/>
                <a:gd name="connsiteY10" fmla="*/ 173330 h 474136"/>
                <a:gd name="connsiteX11" fmla="*/ 344284 w 464135"/>
                <a:gd name="connsiteY11" fmla="*/ 235404 h 474136"/>
                <a:gd name="connsiteX12" fmla="*/ 313665 w 464135"/>
                <a:gd name="connsiteY12" fmla="*/ 292763 h 474136"/>
                <a:gd name="connsiteX13" fmla="*/ 242638 w 464135"/>
                <a:gd name="connsiteY13" fmla="*/ 339259 h 474136"/>
                <a:gd name="connsiteX14" fmla="*/ 232551 w 464135"/>
                <a:gd name="connsiteY14" fmla="*/ 318369 h 474136"/>
                <a:gd name="connsiteX15" fmla="*/ 246159 w 464135"/>
                <a:gd name="connsiteY15" fmla="*/ 286914 h 474136"/>
                <a:gd name="connsiteX16" fmla="*/ 319574 w 464135"/>
                <a:gd name="connsiteY16" fmla="*/ 183716 h 474136"/>
                <a:gd name="connsiteX17" fmla="*/ 238340 w 464135"/>
                <a:gd name="connsiteY17" fmla="*/ 125939 h 474136"/>
                <a:gd name="connsiteX18" fmla="*/ 170238 w 464135"/>
                <a:gd name="connsiteY18" fmla="*/ 221676 h 474136"/>
                <a:gd name="connsiteX19" fmla="*/ 148512 w 464135"/>
                <a:gd name="connsiteY19" fmla="*/ 241373 h 474136"/>
                <a:gd name="connsiteX20" fmla="*/ 128577 w 464135"/>
                <a:gd name="connsiteY20" fmla="*/ 237732 h 474136"/>
                <a:gd name="connsiteX21" fmla="*/ 120519 w 464135"/>
                <a:gd name="connsiteY21" fmla="*/ 210515 h 474136"/>
                <a:gd name="connsiteX22" fmla="*/ 144692 w 464135"/>
                <a:gd name="connsiteY22" fmla="*/ 162646 h 474136"/>
                <a:gd name="connsiteX23" fmla="*/ 225209 w 464135"/>
                <a:gd name="connsiteY23" fmla="*/ 87023 h 474136"/>
                <a:gd name="connsiteX24" fmla="*/ 166179 w 464135"/>
                <a:gd name="connsiteY24" fmla="*/ 0 h 474136"/>
                <a:gd name="connsiteX25" fmla="*/ 109835 w 464135"/>
                <a:gd name="connsiteY25" fmla="*/ 46078 h 474136"/>
                <a:gd name="connsiteX26" fmla="*/ 57669 w 464135"/>
                <a:gd name="connsiteY26" fmla="*/ 107078 h 474136"/>
                <a:gd name="connsiteX27" fmla="*/ 6756 w 464135"/>
                <a:gd name="connsiteY27" fmla="*/ 208306 h 474136"/>
                <a:gd name="connsiteX28" fmla="*/ 4667 w 464135"/>
                <a:gd name="connsiteY28" fmla="*/ 289779 h 474136"/>
                <a:gd name="connsiteX29" fmla="*/ 42568 w 464135"/>
                <a:gd name="connsiteY29" fmla="*/ 343795 h 474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64135" h="474136">
                  <a:moveTo>
                    <a:pt x="42508" y="343795"/>
                  </a:moveTo>
                  <a:cubicBezTo>
                    <a:pt x="55878" y="353345"/>
                    <a:pt x="70382" y="358836"/>
                    <a:pt x="85960" y="360269"/>
                  </a:cubicBezTo>
                  <a:cubicBezTo>
                    <a:pt x="101539" y="361761"/>
                    <a:pt x="117176" y="358717"/>
                    <a:pt x="132874" y="351137"/>
                  </a:cubicBezTo>
                  <a:cubicBezTo>
                    <a:pt x="128278" y="372743"/>
                    <a:pt x="129412" y="392619"/>
                    <a:pt x="136157" y="410764"/>
                  </a:cubicBezTo>
                  <a:cubicBezTo>
                    <a:pt x="142901" y="428909"/>
                    <a:pt x="154540" y="443890"/>
                    <a:pt x="171074" y="455648"/>
                  </a:cubicBezTo>
                  <a:cubicBezTo>
                    <a:pt x="191009" y="469794"/>
                    <a:pt x="213332" y="475822"/>
                    <a:pt x="238042" y="473733"/>
                  </a:cubicBezTo>
                  <a:cubicBezTo>
                    <a:pt x="262752" y="471644"/>
                    <a:pt x="288537" y="460781"/>
                    <a:pt x="315336" y="441144"/>
                  </a:cubicBezTo>
                  <a:cubicBezTo>
                    <a:pt x="342136" y="421567"/>
                    <a:pt x="368637" y="393395"/>
                    <a:pt x="394779" y="356688"/>
                  </a:cubicBezTo>
                  <a:cubicBezTo>
                    <a:pt x="412924" y="331142"/>
                    <a:pt x="428204" y="304283"/>
                    <a:pt x="440559" y="276051"/>
                  </a:cubicBezTo>
                  <a:cubicBezTo>
                    <a:pt x="452914" y="247819"/>
                    <a:pt x="460793" y="221736"/>
                    <a:pt x="464135" y="197921"/>
                  </a:cubicBezTo>
                  <a:lnTo>
                    <a:pt x="361355" y="173330"/>
                  </a:lnTo>
                  <a:cubicBezTo>
                    <a:pt x="358609" y="192967"/>
                    <a:pt x="352939" y="213678"/>
                    <a:pt x="344284" y="235404"/>
                  </a:cubicBezTo>
                  <a:cubicBezTo>
                    <a:pt x="335630" y="257130"/>
                    <a:pt x="325423" y="276230"/>
                    <a:pt x="313665" y="292763"/>
                  </a:cubicBezTo>
                  <a:cubicBezTo>
                    <a:pt x="283106" y="335738"/>
                    <a:pt x="259410" y="351196"/>
                    <a:pt x="242638" y="339259"/>
                  </a:cubicBezTo>
                  <a:cubicBezTo>
                    <a:pt x="235476" y="334186"/>
                    <a:pt x="232133" y="327202"/>
                    <a:pt x="232551" y="318369"/>
                  </a:cubicBezTo>
                  <a:cubicBezTo>
                    <a:pt x="232969" y="309535"/>
                    <a:pt x="237505" y="299030"/>
                    <a:pt x="246159" y="286914"/>
                  </a:cubicBezTo>
                  <a:lnTo>
                    <a:pt x="319574" y="183716"/>
                  </a:lnTo>
                  <a:lnTo>
                    <a:pt x="238340" y="125939"/>
                  </a:lnTo>
                  <a:lnTo>
                    <a:pt x="170238" y="221676"/>
                  </a:lnTo>
                  <a:cubicBezTo>
                    <a:pt x="162479" y="232599"/>
                    <a:pt x="155257" y="239165"/>
                    <a:pt x="148512" y="241373"/>
                  </a:cubicBezTo>
                  <a:cubicBezTo>
                    <a:pt x="141767" y="243581"/>
                    <a:pt x="135142" y="242388"/>
                    <a:pt x="128577" y="237732"/>
                  </a:cubicBezTo>
                  <a:cubicBezTo>
                    <a:pt x="120817" y="232181"/>
                    <a:pt x="118132" y="223169"/>
                    <a:pt x="120519" y="210515"/>
                  </a:cubicBezTo>
                  <a:cubicBezTo>
                    <a:pt x="122906" y="197921"/>
                    <a:pt x="130964" y="181985"/>
                    <a:pt x="144692" y="162646"/>
                  </a:cubicBezTo>
                  <a:cubicBezTo>
                    <a:pt x="165702" y="133101"/>
                    <a:pt x="192561" y="107854"/>
                    <a:pt x="225209" y="87023"/>
                  </a:cubicBezTo>
                  <a:lnTo>
                    <a:pt x="166179" y="0"/>
                  </a:lnTo>
                  <a:cubicBezTo>
                    <a:pt x="147676" y="12176"/>
                    <a:pt x="128935" y="27516"/>
                    <a:pt x="109835" y="46078"/>
                  </a:cubicBezTo>
                  <a:cubicBezTo>
                    <a:pt x="90795" y="64641"/>
                    <a:pt x="73366" y="84994"/>
                    <a:pt x="57669" y="107078"/>
                  </a:cubicBezTo>
                  <a:cubicBezTo>
                    <a:pt x="32004" y="143188"/>
                    <a:pt x="14993" y="176911"/>
                    <a:pt x="6756" y="208306"/>
                  </a:cubicBezTo>
                  <a:cubicBezTo>
                    <a:pt x="-1481" y="239702"/>
                    <a:pt x="-2197" y="266859"/>
                    <a:pt x="4667" y="289779"/>
                  </a:cubicBezTo>
                  <a:cubicBezTo>
                    <a:pt x="11531" y="312699"/>
                    <a:pt x="24185" y="330724"/>
                    <a:pt x="42568" y="343795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50" name="Forme libre : forme 149">
              <a:extLst>
                <a:ext uri="{FF2B5EF4-FFF2-40B4-BE49-F238E27FC236}">
                  <a16:creationId xmlns:a16="http://schemas.microsoft.com/office/drawing/2014/main" id="{2E192691-958B-8ACF-D3DF-E8F3C0CDA383}"/>
                </a:ext>
              </a:extLst>
            </p:cNvPr>
            <p:cNvSpPr/>
            <p:nvPr/>
          </p:nvSpPr>
          <p:spPr>
            <a:xfrm>
              <a:off x="3470501" y="1119741"/>
              <a:ext cx="464959" cy="421308"/>
            </a:xfrm>
            <a:custGeom>
              <a:avLst/>
              <a:gdLst>
                <a:gd name="connsiteX0" fmla="*/ 318309 w 464959"/>
                <a:gd name="connsiteY0" fmla="*/ 326109 h 421308"/>
                <a:gd name="connsiteX1" fmla="*/ 209978 w 464959"/>
                <a:gd name="connsiteY1" fmla="*/ 226313 h 421308"/>
                <a:gd name="connsiteX2" fmla="*/ 183895 w 464959"/>
                <a:gd name="connsiteY2" fmla="*/ 183995 h 421308"/>
                <a:gd name="connsiteX3" fmla="*/ 196608 w 464959"/>
                <a:gd name="connsiteY3" fmla="*/ 147765 h 421308"/>
                <a:gd name="connsiteX4" fmla="*/ 262204 w 464959"/>
                <a:gd name="connsiteY4" fmla="*/ 156002 h 421308"/>
                <a:gd name="connsiteX5" fmla="*/ 377220 w 464959"/>
                <a:gd name="connsiteY5" fmla="*/ 262005 h 421308"/>
                <a:gd name="connsiteX6" fmla="*/ 464959 w 464959"/>
                <a:gd name="connsiteY6" fmla="*/ 166745 h 421308"/>
                <a:gd name="connsiteX7" fmla="*/ 333470 w 464959"/>
                <a:gd name="connsiteY7" fmla="*/ 45641 h 421308"/>
                <a:gd name="connsiteX8" fmla="*/ 232062 w 464959"/>
                <a:gd name="connsiteY8" fmla="*/ 100 h 421308"/>
                <a:gd name="connsiteX9" fmla="*/ 143248 w 464959"/>
                <a:gd name="connsiteY9" fmla="*/ 44865 h 421308"/>
                <a:gd name="connsiteX10" fmla="*/ 114658 w 464959"/>
                <a:gd name="connsiteY10" fmla="*/ 89451 h 421308"/>
                <a:gd name="connsiteX11" fmla="*/ 106183 w 464959"/>
                <a:gd name="connsiteY11" fmla="*/ 139289 h 421308"/>
                <a:gd name="connsiteX12" fmla="*/ 83442 w 464959"/>
                <a:gd name="connsiteY12" fmla="*/ 118339 h 421308"/>
                <a:gd name="connsiteX13" fmla="*/ 0 w 464959"/>
                <a:gd name="connsiteY13" fmla="*/ 208944 h 421308"/>
                <a:gd name="connsiteX14" fmla="*/ 230510 w 464959"/>
                <a:gd name="connsiteY14" fmla="*/ 421309 h 421308"/>
                <a:gd name="connsiteX15" fmla="*/ 318249 w 464959"/>
                <a:gd name="connsiteY15" fmla="*/ 326049 h 421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64959" h="421308">
                  <a:moveTo>
                    <a:pt x="318309" y="326109"/>
                  </a:moveTo>
                  <a:lnTo>
                    <a:pt x="209978" y="226313"/>
                  </a:lnTo>
                  <a:cubicBezTo>
                    <a:pt x="193982" y="211570"/>
                    <a:pt x="185267" y="197484"/>
                    <a:pt x="183895" y="183995"/>
                  </a:cubicBezTo>
                  <a:cubicBezTo>
                    <a:pt x="182522" y="170565"/>
                    <a:pt x="186760" y="158449"/>
                    <a:pt x="196608" y="147765"/>
                  </a:cubicBezTo>
                  <a:cubicBezTo>
                    <a:pt x="213917" y="128964"/>
                    <a:pt x="235822" y="131709"/>
                    <a:pt x="262204" y="156002"/>
                  </a:cubicBezTo>
                  <a:lnTo>
                    <a:pt x="377220" y="262005"/>
                  </a:lnTo>
                  <a:lnTo>
                    <a:pt x="464959" y="166745"/>
                  </a:lnTo>
                  <a:lnTo>
                    <a:pt x="333470" y="45641"/>
                  </a:lnTo>
                  <a:cubicBezTo>
                    <a:pt x="298911" y="13828"/>
                    <a:pt x="265128" y="-1392"/>
                    <a:pt x="232062" y="100"/>
                  </a:cubicBezTo>
                  <a:cubicBezTo>
                    <a:pt x="198995" y="1592"/>
                    <a:pt x="169391" y="16514"/>
                    <a:pt x="143248" y="44865"/>
                  </a:cubicBezTo>
                  <a:cubicBezTo>
                    <a:pt x="130535" y="58653"/>
                    <a:pt x="121045" y="73515"/>
                    <a:pt x="114658" y="89451"/>
                  </a:cubicBezTo>
                  <a:cubicBezTo>
                    <a:pt x="108272" y="105387"/>
                    <a:pt x="105466" y="121980"/>
                    <a:pt x="106183" y="139289"/>
                  </a:cubicBezTo>
                  <a:lnTo>
                    <a:pt x="83442" y="118339"/>
                  </a:lnTo>
                  <a:lnTo>
                    <a:pt x="0" y="208944"/>
                  </a:lnTo>
                  <a:lnTo>
                    <a:pt x="230510" y="421309"/>
                  </a:lnTo>
                  <a:lnTo>
                    <a:pt x="318249" y="326049"/>
                  </a:ln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51" name="Forme libre : forme 150">
              <a:extLst>
                <a:ext uri="{FF2B5EF4-FFF2-40B4-BE49-F238E27FC236}">
                  <a16:creationId xmlns:a16="http://schemas.microsoft.com/office/drawing/2014/main" id="{451CC3C8-553A-70E7-BA0C-7C87446E77FA}"/>
                </a:ext>
              </a:extLst>
            </p:cNvPr>
            <p:cNvSpPr/>
            <p:nvPr/>
          </p:nvSpPr>
          <p:spPr>
            <a:xfrm>
              <a:off x="3716231" y="884317"/>
              <a:ext cx="409391" cy="330427"/>
            </a:xfrm>
            <a:custGeom>
              <a:avLst/>
              <a:gdLst>
                <a:gd name="connsiteX0" fmla="*/ 263696 w 409391"/>
                <a:gd name="connsiteY0" fmla="*/ 330426 h 330427"/>
                <a:gd name="connsiteX1" fmla="*/ 360746 w 409391"/>
                <a:gd name="connsiteY1" fmla="*/ 287093 h 330427"/>
                <a:gd name="connsiteX2" fmla="*/ 409391 w 409391"/>
                <a:gd name="connsiteY2" fmla="*/ 221915 h 330427"/>
                <a:gd name="connsiteX3" fmla="*/ 326606 w 409391"/>
                <a:gd name="connsiteY3" fmla="*/ 175001 h 330427"/>
                <a:gd name="connsiteX4" fmla="*/ 310431 w 409391"/>
                <a:gd name="connsiteY4" fmla="*/ 200786 h 330427"/>
                <a:gd name="connsiteX5" fmla="*/ 290495 w 409391"/>
                <a:gd name="connsiteY5" fmla="*/ 207650 h 330427"/>
                <a:gd name="connsiteX6" fmla="*/ 270082 w 409391"/>
                <a:gd name="connsiteY6" fmla="*/ 195832 h 330427"/>
                <a:gd name="connsiteX7" fmla="*/ 217737 w 409391"/>
                <a:gd name="connsiteY7" fmla="*/ 136563 h 330427"/>
                <a:gd name="connsiteX8" fmla="*/ 265845 w 409391"/>
                <a:gd name="connsiteY8" fmla="*/ 94066 h 330427"/>
                <a:gd name="connsiteX9" fmla="*/ 203233 w 409391"/>
                <a:gd name="connsiteY9" fmla="*/ 23218 h 330427"/>
                <a:gd name="connsiteX10" fmla="*/ 155126 w 409391"/>
                <a:gd name="connsiteY10" fmla="*/ 65715 h 330427"/>
                <a:gd name="connsiteX11" fmla="*/ 97051 w 409391"/>
                <a:gd name="connsiteY11" fmla="*/ 0 h 330427"/>
                <a:gd name="connsiteX12" fmla="*/ 0 w 409391"/>
                <a:gd name="connsiteY12" fmla="*/ 85770 h 330427"/>
                <a:gd name="connsiteX13" fmla="*/ 173808 w 409391"/>
                <a:gd name="connsiteY13" fmla="*/ 282378 h 330427"/>
                <a:gd name="connsiteX14" fmla="*/ 263576 w 409391"/>
                <a:gd name="connsiteY14" fmla="*/ 330306 h 330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09391" h="330427">
                  <a:moveTo>
                    <a:pt x="263696" y="330426"/>
                  </a:moveTo>
                  <a:cubicBezTo>
                    <a:pt x="295509" y="330605"/>
                    <a:pt x="327859" y="316160"/>
                    <a:pt x="360746" y="287093"/>
                  </a:cubicBezTo>
                  <a:cubicBezTo>
                    <a:pt x="385934" y="264830"/>
                    <a:pt x="402169" y="243104"/>
                    <a:pt x="409391" y="221915"/>
                  </a:cubicBezTo>
                  <a:lnTo>
                    <a:pt x="326606" y="175001"/>
                  </a:lnTo>
                  <a:cubicBezTo>
                    <a:pt x="324099" y="184850"/>
                    <a:pt x="318727" y="193445"/>
                    <a:pt x="310431" y="200786"/>
                  </a:cubicBezTo>
                  <a:cubicBezTo>
                    <a:pt x="304402" y="206098"/>
                    <a:pt x="297777" y="208426"/>
                    <a:pt x="290495" y="207650"/>
                  </a:cubicBezTo>
                  <a:cubicBezTo>
                    <a:pt x="283213" y="206934"/>
                    <a:pt x="276469" y="202994"/>
                    <a:pt x="270082" y="195832"/>
                  </a:cubicBezTo>
                  <a:lnTo>
                    <a:pt x="217737" y="136563"/>
                  </a:lnTo>
                  <a:lnTo>
                    <a:pt x="265845" y="94066"/>
                  </a:lnTo>
                  <a:lnTo>
                    <a:pt x="203233" y="23218"/>
                  </a:lnTo>
                  <a:lnTo>
                    <a:pt x="155126" y="65715"/>
                  </a:lnTo>
                  <a:lnTo>
                    <a:pt x="97051" y="0"/>
                  </a:lnTo>
                  <a:lnTo>
                    <a:pt x="0" y="85770"/>
                  </a:lnTo>
                  <a:lnTo>
                    <a:pt x="173808" y="282378"/>
                  </a:lnTo>
                  <a:cubicBezTo>
                    <a:pt x="201920" y="314131"/>
                    <a:pt x="231823" y="330127"/>
                    <a:pt x="263576" y="330306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52" name="Forme libre : forme 151">
              <a:extLst>
                <a:ext uri="{FF2B5EF4-FFF2-40B4-BE49-F238E27FC236}">
                  <a16:creationId xmlns:a16="http://schemas.microsoft.com/office/drawing/2014/main" id="{17F9EE24-7992-1D75-0A35-46EF1FC4D0AB}"/>
                </a:ext>
              </a:extLst>
            </p:cNvPr>
            <p:cNvSpPr/>
            <p:nvPr/>
          </p:nvSpPr>
          <p:spPr>
            <a:xfrm>
              <a:off x="3964767" y="709018"/>
              <a:ext cx="291629" cy="390052"/>
            </a:xfrm>
            <a:custGeom>
              <a:avLst/>
              <a:gdLst>
                <a:gd name="connsiteX0" fmla="*/ 291629 w 291629"/>
                <a:gd name="connsiteY0" fmla="*/ 312340 h 390052"/>
                <a:gd name="connsiteX1" fmla="*/ 208128 w 291629"/>
                <a:gd name="connsiteY1" fmla="*/ 200965 h 390052"/>
                <a:gd name="connsiteX2" fmla="*/ 220721 w 291629"/>
                <a:gd name="connsiteY2" fmla="*/ 107018 h 390052"/>
                <a:gd name="connsiteX3" fmla="*/ 245014 w 291629"/>
                <a:gd name="connsiteY3" fmla="*/ 91679 h 390052"/>
                <a:gd name="connsiteX4" fmla="*/ 176255 w 291629"/>
                <a:gd name="connsiteY4" fmla="*/ 0 h 390052"/>
                <a:gd name="connsiteX5" fmla="*/ 118836 w 291629"/>
                <a:gd name="connsiteY5" fmla="*/ 92455 h 390052"/>
                <a:gd name="connsiteX6" fmla="*/ 98543 w 291629"/>
                <a:gd name="connsiteY6" fmla="*/ 65417 h 390052"/>
                <a:gd name="connsiteX7" fmla="*/ 0 w 291629"/>
                <a:gd name="connsiteY7" fmla="*/ 139309 h 390052"/>
                <a:gd name="connsiteX8" fmla="*/ 188013 w 291629"/>
                <a:gd name="connsiteY8" fmla="*/ 390052 h 390052"/>
                <a:gd name="connsiteX9" fmla="*/ 291629 w 291629"/>
                <a:gd name="connsiteY9" fmla="*/ 312340 h 390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1629" h="390052">
                  <a:moveTo>
                    <a:pt x="291629" y="312340"/>
                  </a:moveTo>
                  <a:lnTo>
                    <a:pt x="208128" y="200965"/>
                  </a:lnTo>
                  <a:cubicBezTo>
                    <a:pt x="181089" y="164914"/>
                    <a:pt x="185268" y="133579"/>
                    <a:pt x="220721" y="107018"/>
                  </a:cubicBezTo>
                  <a:cubicBezTo>
                    <a:pt x="227764" y="101766"/>
                    <a:pt x="235822" y="96633"/>
                    <a:pt x="245014" y="91679"/>
                  </a:cubicBezTo>
                  <a:lnTo>
                    <a:pt x="176255" y="0"/>
                  </a:lnTo>
                  <a:cubicBezTo>
                    <a:pt x="140503" y="26799"/>
                    <a:pt x="121343" y="57657"/>
                    <a:pt x="118836" y="92455"/>
                  </a:cubicBezTo>
                  <a:lnTo>
                    <a:pt x="98543" y="65417"/>
                  </a:lnTo>
                  <a:lnTo>
                    <a:pt x="0" y="139309"/>
                  </a:lnTo>
                  <a:lnTo>
                    <a:pt x="188013" y="390052"/>
                  </a:lnTo>
                  <a:lnTo>
                    <a:pt x="291629" y="312340"/>
                  </a:ln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53" name="Forme libre : forme 152">
              <a:extLst>
                <a:ext uri="{FF2B5EF4-FFF2-40B4-BE49-F238E27FC236}">
                  <a16:creationId xmlns:a16="http://schemas.microsoft.com/office/drawing/2014/main" id="{AFAB447D-9DDC-0EF6-F99B-249E7886B36A}"/>
                </a:ext>
              </a:extLst>
            </p:cNvPr>
            <p:cNvSpPr/>
            <p:nvPr/>
          </p:nvSpPr>
          <p:spPr>
            <a:xfrm>
              <a:off x="4232721" y="562687"/>
              <a:ext cx="360963" cy="336486"/>
            </a:xfrm>
            <a:custGeom>
              <a:avLst/>
              <a:gdLst>
                <a:gd name="connsiteX0" fmla="*/ 86704 w 360963"/>
                <a:gd name="connsiteY0" fmla="*/ 320317 h 336486"/>
                <a:gd name="connsiteX1" fmla="*/ 173667 w 360963"/>
                <a:gd name="connsiteY1" fmla="*/ 335717 h 336486"/>
                <a:gd name="connsiteX2" fmla="*/ 269822 w 360963"/>
                <a:gd name="connsiteY2" fmla="*/ 302053 h 336486"/>
                <a:gd name="connsiteX3" fmla="*/ 360964 w 360963"/>
                <a:gd name="connsiteY3" fmla="*/ 188052 h 336486"/>
                <a:gd name="connsiteX4" fmla="*/ 267853 w 360963"/>
                <a:gd name="connsiteY4" fmla="*/ 164654 h 336486"/>
                <a:gd name="connsiteX5" fmla="*/ 250782 w 360963"/>
                <a:gd name="connsiteY5" fmla="*/ 195692 h 336486"/>
                <a:gd name="connsiteX6" fmla="*/ 223804 w 360963"/>
                <a:gd name="connsiteY6" fmla="*/ 218014 h 336486"/>
                <a:gd name="connsiteX7" fmla="*/ 160058 w 360963"/>
                <a:gd name="connsiteY7" fmla="*/ 224401 h 336486"/>
                <a:gd name="connsiteX8" fmla="*/ 322108 w 360963"/>
                <a:gd name="connsiteY8" fmla="*/ 78228 h 336486"/>
                <a:gd name="connsiteX9" fmla="*/ 257587 w 360963"/>
                <a:gd name="connsiteY9" fmla="*/ 15796 h 336486"/>
                <a:gd name="connsiteX10" fmla="*/ 176174 w 360963"/>
                <a:gd name="connsiteY10" fmla="*/ 755 h 336486"/>
                <a:gd name="connsiteX11" fmla="*/ 93448 w 360963"/>
                <a:gd name="connsiteY11" fmla="*/ 28987 h 336486"/>
                <a:gd name="connsiteX12" fmla="*/ 25405 w 360963"/>
                <a:gd name="connsiteY12" fmla="*/ 94224 h 336486"/>
                <a:gd name="connsiteX13" fmla="*/ 38 w 360963"/>
                <a:gd name="connsiteY13" fmla="*/ 176831 h 336486"/>
                <a:gd name="connsiteX14" fmla="*/ 23376 w 360963"/>
                <a:gd name="connsiteY14" fmla="*/ 260810 h 336486"/>
                <a:gd name="connsiteX15" fmla="*/ 86763 w 360963"/>
                <a:gd name="connsiteY15" fmla="*/ 320258 h 336486"/>
                <a:gd name="connsiteX16" fmla="*/ 115234 w 360963"/>
                <a:gd name="connsiteY16" fmla="*/ 134334 h 336486"/>
                <a:gd name="connsiteX17" fmla="*/ 139586 w 360963"/>
                <a:gd name="connsiteY17" fmla="*/ 104252 h 336486"/>
                <a:gd name="connsiteX18" fmla="*/ 169429 w 360963"/>
                <a:gd name="connsiteY18" fmla="*/ 96612 h 336486"/>
                <a:gd name="connsiteX19" fmla="*/ 196706 w 360963"/>
                <a:gd name="connsiteY19" fmla="*/ 107892 h 336486"/>
                <a:gd name="connsiteX20" fmla="*/ 120964 w 360963"/>
                <a:gd name="connsiteY20" fmla="*/ 176413 h 336486"/>
                <a:gd name="connsiteX21" fmla="*/ 115293 w 360963"/>
                <a:gd name="connsiteY21" fmla="*/ 134334 h 336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60963" h="336486">
                  <a:moveTo>
                    <a:pt x="86704" y="320317"/>
                  </a:moveTo>
                  <a:cubicBezTo>
                    <a:pt x="112966" y="333448"/>
                    <a:pt x="141914" y="338581"/>
                    <a:pt x="173667" y="335717"/>
                  </a:cubicBezTo>
                  <a:cubicBezTo>
                    <a:pt x="205420" y="332852"/>
                    <a:pt x="237472" y="321631"/>
                    <a:pt x="269822" y="302053"/>
                  </a:cubicBezTo>
                  <a:cubicBezTo>
                    <a:pt x="321153" y="271016"/>
                    <a:pt x="351533" y="233055"/>
                    <a:pt x="360964" y="188052"/>
                  </a:cubicBezTo>
                  <a:lnTo>
                    <a:pt x="267853" y="164654"/>
                  </a:lnTo>
                  <a:cubicBezTo>
                    <a:pt x="262719" y="177606"/>
                    <a:pt x="257049" y="187932"/>
                    <a:pt x="250782" y="195692"/>
                  </a:cubicBezTo>
                  <a:cubicBezTo>
                    <a:pt x="244575" y="203451"/>
                    <a:pt x="235562" y="210912"/>
                    <a:pt x="223804" y="218014"/>
                  </a:cubicBezTo>
                  <a:cubicBezTo>
                    <a:pt x="198974" y="233055"/>
                    <a:pt x="177726" y="235144"/>
                    <a:pt x="160058" y="224401"/>
                  </a:cubicBezTo>
                  <a:lnTo>
                    <a:pt x="322108" y="78228"/>
                  </a:lnTo>
                  <a:cubicBezTo>
                    <a:pt x="304739" y="49459"/>
                    <a:pt x="283192" y="28629"/>
                    <a:pt x="257587" y="15796"/>
                  </a:cubicBezTo>
                  <a:cubicBezTo>
                    <a:pt x="231981" y="2963"/>
                    <a:pt x="204824" y="-2050"/>
                    <a:pt x="176174" y="755"/>
                  </a:cubicBezTo>
                  <a:cubicBezTo>
                    <a:pt x="147524" y="3560"/>
                    <a:pt x="119949" y="12991"/>
                    <a:pt x="93448" y="28987"/>
                  </a:cubicBezTo>
                  <a:cubicBezTo>
                    <a:pt x="64321" y="46594"/>
                    <a:pt x="41700" y="68320"/>
                    <a:pt x="25405" y="94224"/>
                  </a:cubicBezTo>
                  <a:cubicBezTo>
                    <a:pt x="9170" y="120128"/>
                    <a:pt x="695" y="147644"/>
                    <a:pt x="38" y="176831"/>
                  </a:cubicBezTo>
                  <a:cubicBezTo>
                    <a:pt x="-618" y="206017"/>
                    <a:pt x="7141" y="234010"/>
                    <a:pt x="23376" y="260810"/>
                  </a:cubicBezTo>
                  <a:cubicBezTo>
                    <a:pt x="39372" y="287311"/>
                    <a:pt x="60501" y="307127"/>
                    <a:pt x="86763" y="320258"/>
                  </a:cubicBezTo>
                  <a:close/>
                  <a:moveTo>
                    <a:pt x="115234" y="134334"/>
                  </a:moveTo>
                  <a:cubicBezTo>
                    <a:pt x="118695" y="121979"/>
                    <a:pt x="126813" y="111951"/>
                    <a:pt x="139586" y="104252"/>
                  </a:cubicBezTo>
                  <a:cubicBezTo>
                    <a:pt x="149375" y="98343"/>
                    <a:pt x="159342" y="95776"/>
                    <a:pt x="169429" y="96612"/>
                  </a:cubicBezTo>
                  <a:cubicBezTo>
                    <a:pt x="179516" y="97447"/>
                    <a:pt x="188589" y="101208"/>
                    <a:pt x="196706" y="107892"/>
                  </a:cubicBezTo>
                  <a:lnTo>
                    <a:pt x="120964" y="176413"/>
                  </a:lnTo>
                  <a:cubicBezTo>
                    <a:pt x="113682" y="160715"/>
                    <a:pt x="111832" y="146689"/>
                    <a:pt x="115293" y="134334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54" name="Forme libre : forme 153">
              <a:extLst>
                <a:ext uri="{FF2B5EF4-FFF2-40B4-BE49-F238E27FC236}">
                  <a16:creationId xmlns:a16="http://schemas.microsoft.com/office/drawing/2014/main" id="{4CBDAEB7-24AD-ACA1-7C9E-12E1F4FCE04C}"/>
                </a:ext>
              </a:extLst>
            </p:cNvPr>
            <p:cNvSpPr/>
            <p:nvPr/>
          </p:nvSpPr>
          <p:spPr>
            <a:xfrm>
              <a:off x="4534953" y="373076"/>
              <a:ext cx="409914" cy="491962"/>
            </a:xfrm>
            <a:custGeom>
              <a:avLst/>
              <a:gdLst>
                <a:gd name="connsiteX0" fmla="*/ 291390 w 409914"/>
                <a:gd name="connsiteY0" fmla="*/ 439081 h 491962"/>
                <a:gd name="connsiteX1" fmla="*/ 237374 w 409914"/>
                <a:gd name="connsiteY1" fmla="*/ 318215 h 491962"/>
                <a:gd name="connsiteX2" fmla="*/ 321055 w 409914"/>
                <a:gd name="connsiteY2" fmla="*/ 310277 h 491962"/>
                <a:gd name="connsiteX3" fmla="*/ 382293 w 409914"/>
                <a:gd name="connsiteY3" fmla="*/ 261274 h 491962"/>
                <a:gd name="connsiteX4" fmla="*/ 409391 w 409914"/>
                <a:gd name="connsiteY4" fmla="*/ 187024 h 491962"/>
                <a:gd name="connsiteX5" fmla="*/ 393037 w 409914"/>
                <a:gd name="connsiteY5" fmla="*/ 100538 h 491962"/>
                <a:gd name="connsiteX6" fmla="*/ 339379 w 409914"/>
                <a:gd name="connsiteY6" fmla="*/ 30346 h 491962"/>
                <a:gd name="connsiteX7" fmla="*/ 265904 w 409914"/>
                <a:gd name="connsiteY7" fmla="*/ 742 h 491962"/>
                <a:gd name="connsiteX8" fmla="*/ 188550 w 409914"/>
                <a:gd name="connsiteY8" fmla="*/ 13694 h 491962"/>
                <a:gd name="connsiteX9" fmla="*/ 122955 w 409914"/>
                <a:gd name="connsiteY9" fmla="*/ 77558 h 491962"/>
                <a:gd name="connsiteX10" fmla="*/ 112450 w 409914"/>
                <a:gd name="connsiteY10" fmla="*/ 54042 h 491962"/>
                <a:gd name="connsiteX11" fmla="*/ 0 w 409914"/>
                <a:gd name="connsiteY11" fmla="*/ 104298 h 491962"/>
                <a:gd name="connsiteX12" fmla="*/ 173211 w 409914"/>
                <a:gd name="connsiteY12" fmla="*/ 491963 h 491962"/>
                <a:gd name="connsiteX13" fmla="*/ 291450 w 409914"/>
                <a:gd name="connsiteY13" fmla="*/ 439140 h 491962"/>
                <a:gd name="connsiteX14" fmla="*/ 174643 w 409914"/>
                <a:gd name="connsiteY14" fmla="*/ 148287 h 491962"/>
                <a:gd name="connsiteX15" fmla="*/ 201443 w 409914"/>
                <a:gd name="connsiteY15" fmla="*/ 118444 h 491962"/>
                <a:gd name="connsiteX16" fmla="*/ 241612 w 409914"/>
                <a:gd name="connsiteY16" fmla="*/ 118444 h 491962"/>
                <a:gd name="connsiteX17" fmla="*/ 273246 w 409914"/>
                <a:gd name="connsiteY17" fmla="*/ 154196 h 491962"/>
                <a:gd name="connsiteX18" fmla="*/ 278618 w 409914"/>
                <a:gd name="connsiteY18" fmla="*/ 201348 h 491962"/>
                <a:gd name="connsiteX19" fmla="*/ 251699 w 409914"/>
                <a:gd name="connsiteY19" fmla="*/ 230953 h 491962"/>
                <a:gd name="connsiteX20" fmla="*/ 211649 w 409914"/>
                <a:gd name="connsiteY20" fmla="*/ 231252 h 491962"/>
                <a:gd name="connsiteX21" fmla="*/ 180075 w 409914"/>
                <a:gd name="connsiteY21" fmla="*/ 195798 h 491962"/>
                <a:gd name="connsiteX22" fmla="*/ 174584 w 409914"/>
                <a:gd name="connsiteY22" fmla="*/ 148347 h 49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09914" h="491962">
                  <a:moveTo>
                    <a:pt x="291390" y="439081"/>
                  </a:moveTo>
                  <a:lnTo>
                    <a:pt x="237374" y="318215"/>
                  </a:lnTo>
                  <a:cubicBezTo>
                    <a:pt x="261428" y="327108"/>
                    <a:pt x="289361" y="324482"/>
                    <a:pt x="321055" y="310277"/>
                  </a:cubicBezTo>
                  <a:cubicBezTo>
                    <a:pt x="346183" y="299056"/>
                    <a:pt x="366596" y="282701"/>
                    <a:pt x="382293" y="261274"/>
                  </a:cubicBezTo>
                  <a:cubicBezTo>
                    <a:pt x="397991" y="239787"/>
                    <a:pt x="407063" y="215076"/>
                    <a:pt x="409391" y="187024"/>
                  </a:cubicBezTo>
                  <a:cubicBezTo>
                    <a:pt x="411719" y="158971"/>
                    <a:pt x="406287" y="130142"/>
                    <a:pt x="393037" y="100538"/>
                  </a:cubicBezTo>
                  <a:cubicBezTo>
                    <a:pt x="379786" y="70873"/>
                    <a:pt x="361880" y="47536"/>
                    <a:pt x="339379" y="30346"/>
                  </a:cubicBezTo>
                  <a:cubicBezTo>
                    <a:pt x="316877" y="13216"/>
                    <a:pt x="292345" y="3368"/>
                    <a:pt x="265904" y="742"/>
                  </a:cubicBezTo>
                  <a:cubicBezTo>
                    <a:pt x="239403" y="-1885"/>
                    <a:pt x="213619" y="2472"/>
                    <a:pt x="188550" y="13694"/>
                  </a:cubicBezTo>
                  <a:cubicBezTo>
                    <a:pt x="153335" y="29451"/>
                    <a:pt x="131430" y="50699"/>
                    <a:pt x="122955" y="77558"/>
                  </a:cubicBezTo>
                  <a:lnTo>
                    <a:pt x="112450" y="54042"/>
                  </a:lnTo>
                  <a:lnTo>
                    <a:pt x="0" y="104298"/>
                  </a:lnTo>
                  <a:lnTo>
                    <a:pt x="173211" y="491963"/>
                  </a:lnTo>
                  <a:lnTo>
                    <a:pt x="291450" y="439140"/>
                  </a:lnTo>
                  <a:close/>
                  <a:moveTo>
                    <a:pt x="174643" y="148287"/>
                  </a:moveTo>
                  <a:cubicBezTo>
                    <a:pt x="178941" y="134440"/>
                    <a:pt x="187834" y="124472"/>
                    <a:pt x="201443" y="118444"/>
                  </a:cubicBezTo>
                  <a:cubicBezTo>
                    <a:pt x="215051" y="112356"/>
                    <a:pt x="228421" y="112356"/>
                    <a:pt x="241612" y="118444"/>
                  </a:cubicBezTo>
                  <a:cubicBezTo>
                    <a:pt x="254743" y="124472"/>
                    <a:pt x="265307" y="136409"/>
                    <a:pt x="273246" y="154196"/>
                  </a:cubicBezTo>
                  <a:cubicBezTo>
                    <a:pt x="281184" y="171983"/>
                    <a:pt x="282975" y="187740"/>
                    <a:pt x="278618" y="201348"/>
                  </a:cubicBezTo>
                  <a:cubicBezTo>
                    <a:pt x="274260" y="215017"/>
                    <a:pt x="265307" y="224865"/>
                    <a:pt x="251699" y="230953"/>
                  </a:cubicBezTo>
                  <a:cubicBezTo>
                    <a:pt x="238090" y="237041"/>
                    <a:pt x="224780" y="237160"/>
                    <a:pt x="211649" y="231252"/>
                  </a:cubicBezTo>
                  <a:cubicBezTo>
                    <a:pt x="198578" y="225402"/>
                    <a:pt x="188073" y="213584"/>
                    <a:pt x="180075" y="195798"/>
                  </a:cubicBezTo>
                  <a:cubicBezTo>
                    <a:pt x="172136" y="178011"/>
                    <a:pt x="170286" y="162194"/>
                    <a:pt x="174584" y="148347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55" name="Forme libre : forme 154">
              <a:extLst>
                <a:ext uri="{FF2B5EF4-FFF2-40B4-BE49-F238E27FC236}">
                  <a16:creationId xmlns:a16="http://schemas.microsoft.com/office/drawing/2014/main" id="{F87AA855-409F-8E50-05C6-261D127E9EEC}"/>
                </a:ext>
              </a:extLst>
            </p:cNvPr>
            <p:cNvSpPr/>
            <p:nvPr/>
          </p:nvSpPr>
          <p:spPr>
            <a:xfrm>
              <a:off x="4925006" y="236717"/>
              <a:ext cx="247281" cy="373041"/>
            </a:xfrm>
            <a:custGeom>
              <a:avLst/>
              <a:gdLst>
                <a:gd name="connsiteX0" fmla="*/ 220125 w 247281"/>
                <a:gd name="connsiteY0" fmla="*/ 332932 h 373041"/>
                <a:gd name="connsiteX1" fmla="*/ 177031 w 247281"/>
                <a:gd name="connsiteY1" fmla="*/ 200547 h 373041"/>
                <a:gd name="connsiteX2" fmla="*/ 219349 w 247281"/>
                <a:gd name="connsiteY2" fmla="*/ 115673 h 373041"/>
                <a:gd name="connsiteX3" fmla="*/ 247282 w 247281"/>
                <a:gd name="connsiteY3" fmla="*/ 108988 h 373041"/>
                <a:gd name="connsiteX4" fmla="*/ 211828 w 247281"/>
                <a:gd name="connsiteY4" fmla="*/ 0 h 373041"/>
                <a:gd name="connsiteX5" fmla="*/ 127610 w 247281"/>
                <a:gd name="connsiteY5" fmla="*/ 68998 h 373041"/>
                <a:gd name="connsiteX6" fmla="*/ 117165 w 247281"/>
                <a:gd name="connsiteY6" fmla="*/ 36827 h 373041"/>
                <a:gd name="connsiteX7" fmla="*/ 0 w 247281"/>
                <a:gd name="connsiteY7" fmla="*/ 74966 h 373041"/>
                <a:gd name="connsiteX8" fmla="*/ 96991 w 247281"/>
                <a:gd name="connsiteY8" fmla="*/ 373042 h 373041"/>
                <a:gd name="connsiteX9" fmla="*/ 220125 w 247281"/>
                <a:gd name="connsiteY9" fmla="*/ 332992 h 373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7281" h="373041">
                  <a:moveTo>
                    <a:pt x="220125" y="332932"/>
                  </a:moveTo>
                  <a:lnTo>
                    <a:pt x="177031" y="200547"/>
                  </a:lnTo>
                  <a:cubicBezTo>
                    <a:pt x="163064" y="157692"/>
                    <a:pt x="177150" y="129401"/>
                    <a:pt x="219349" y="115673"/>
                  </a:cubicBezTo>
                  <a:cubicBezTo>
                    <a:pt x="227705" y="112927"/>
                    <a:pt x="237016" y="110719"/>
                    <a:pt x="247282" y="108988"/>
                  </a:cubicBezTo>
                  <a:lnTo>
                    <a:pt x="211828" y="0"/>
                  </a:lnTo>
                  <a:cubicBezTo>
                    <a:pt x="169331" y="13847"/>
                    <a:pt x="141278" y="36827"/>
                    <a:pt x="127610" y="68998"/>
                  </a:cubicBezTo>
                  <a:lnTo>
                    <a:pt x="117165" y="36827"/>
                  </a:lnTo>
                  <a:lnTo>
                    <a:pt x="0" y="74966"/>
                  </a:lnTo>
                  <a:lnTo>
                    <a:pt x="96991" y="373042"/>
                  </a:lnTo>
                  <a:lnTo>
                    <a:pt x="220125" y="332992"/>
                  </a:ln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56" name="Forme libre : forme 155">
              <a:extLst>
                <a:ext uri="{FF2B5EF4-FFF2-40B4-BE49-F238E27FC236}">
                  <a16:creationId xmlns:a16="http://schemas.microsoft.com/office/drawing/2014/main" id="{AE82629A-8DDC-EEB5-9077-4A75723D425A}"/>
                </a:ext>
              </a:extLst>
            </p:cNvPr>
            <p:cNvSpPr/>
            <p:nvPr/>
          </p:nvSpPr>
          <p:spPr>
            <a:xfrm>
              <a:off x="5152460" y="58296"/>
              <a:ext cx="155031" cy="134771"/>
            </a:xfrm>
            <a:custGeom>
              <a:avLst/>
              <a:gdLst>
                <a:gd name="connsiteX0" fmla="*/ 34332 w 155031"/>
                <a:gd name="connsiteY0" fmla="*/ 126971 h 134771"/>
                <a:gd name="connsiteX1" fmla="*/ 93601 w 155031"/>
                <a:gd name="connsiteY1" fmla="*/ 131447 h 134771"/>
                <a:gd name="connsiteX2" fmla="*/ 144036 w 155031"/>
                <a:gd name="connsiteY2" fmla="*/ 99157 h 134771"/>
                <a:gd name="connsiteX3" fmla="*/ 152810 w 155031"/>
                <a:gd name="connsiteY3" fmla="*/ 46513 h 134771"/>
                <a:gd name="connsiteX4" fmla="*/ 121176 w 155031"/>
                <a:gd name="connsiteY4" fmla="*/ 7120 h 134771"/>
                <a:gd name="connsiteX5" fmla="*/ 61848 w 155031"/>
                <a:gd name="connsiteY5" fmla="*/ 3539 h 134771"/>
                <a:gd name="connsiteX6" fmla="*/ 11532 w 155031"/>
                <a:gd name="connsiteY6" fmla="*/ 35173 h 134771"/>
                <a:gd name="connsiteX7" fmla="*/ 2042 w 155031"/>
                <a:gd name="connsiteY7" fmla="*/ 86205 h 134771"/>
                <a:gd name="connsiteX8" fmla="*/ 34272 w 155031"/>
                <a:gd name="connsiteY8" fmla="*/ 126911 h 134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5031" h="134771">
                  <a:moveTo>
                    <a:pt x="34332" y="126971"/>
                  </a:moveTo>
                  <a:cubicBezTo>
                    <a:pt x="51223" y="135566"/>
                    <a:pt x="70980" y="137058"/>
                    <a:pt x="93601" y="131447"/>
                  </a:cubicBezTo>
                  <a:cubicBezTo>
                    <a:pt x="116580" y="125777"/>
                    <a:pt x="133412" y="114974"/>
                    <a:pt x="144036" y="99157"/>
                  </a:cubicBezTo>
                  <a:cubicBezTo>
                    <a:pt x="154660" y="83340"/>
                    <a:pt x="157585" y="65792"/>
                    <a:pt x="152810" y="46513"/>
                  </a:cubicBezTo>
                  <a:cubicBezTo>
                    <a:pt x="148334" y="28368"/>
                    <a:pt x="137769" y="15237"/>
                    <a:pt x="121176" y="7120"/>
                  </a:cubicBezTo>
                  <a:cubicBezTo>
                    <a:pt x="104583" y="-938"/>
                    <a:pt x="84827" y="-2191"/>
                    <a:pt x="61848" y="3539"/>
                  </a:cubicBezTo>
                  <a:cubicBezTo>
                    <a:pt x="39226" y="9149"/>
                    <a:pt x="22454" y="19714"/>
                    <a:pt x="11532" y="35173"/>
                  </a:cubicBezTo>
                  <a:cubicBezTo>
                    <a:pt x="609" y="50691"/>
                    <a:pt x="-2554" y="67702"/>
                    <a:pt x="2042" y="86205"/>
                  </a:cubicBezTo>
                  <a:cubicBezTo>
                    <a:pt x="6638" y="104767"/>
                    <a:pt x="17381" y="118316"/>
                    <a:pt x="34272" y="126911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57" name="Forme libre : forme 156">
              <a:extLst>
                <a:ext uri="{FF2B5EF4-FFF2-40B4-BE49-F238E27FC236}">
                  <a16:creationId xmlns:a16="http://schemas.microsoft.com/office/drawing/2014/main" id="{F6ED3D04-EC7F-27EA-B3A6-81392C8816CB}"/>
                </a:ext>
              </a:extLst>
            </p:cNvPr>
            <p:cNvSpPr/>
            <p:nvPr/>
          </p:nvSpPr>
          <p:spPr>
            <a:xfrm rot="20764800">
              <a:off x="5225108" y="209821"/>
              <a:ext cx="129520" cy="313414"/>
            </a:xfrm>
            <a:custGeom>
              <a:avLst/>
              <a:gdLst>
                <a:gd name="connsiteX0" fmla="*/ 0 w 129520"/>
                <a:gd name="connsiteY0" fmla="*/ 0 h 313414"/>
                <a:gd name="connsiteX1" fmla="*/ 129520 w 129520"/>
                <a:gd name="connsiteY1" fmla="*/ 0 h 313414"/>
                <a:gd name="connsiteX2" fmla="*/ 129520 w 129520"/>
                <a:gd name="connsiteY2" fmla="*/ 313415 h 313414"/>
                <a:gd name="connsiteX3" fmla="*/ 0 w 129520"/>
                <a:gd name="connsiteY3" fmla="*/ 313415 h 313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520" h="313414">
                  <a:moveTo>
                    <a:pt x="0" y="0"/>
                  </a:moveTo>
                  <a:lnTo>
                    <a:pt x="129520" y="0"/>
                  </a:lnTo>
                  <a:lnTo>
                    <a:pt x="129520" y="313415"/>
                  </a:lnTo>
                  <a:lnTo>
                    <a:pt x="0" y="313415"/>
                  </a:ln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58" name="Forme libre : forme 157">
              <a:extLst>
                <a:ext uri="{FF2B5EF4-FFF2-40B4-BE49-F238E27FC236}">
                  <a16:creationId xmlns:a16="http://schemas.microsoft.com/office/drawing/2014/main" id="{9541F5BF-CD4D-F2A0-20B1-39BA76E3D4E7}"/>
                </a:ext>
              </a:extLst>
            </p:cNvPr>
            <p:cNvSpPr/>
            <p:nvPr/>
          </p:nvSpPr>
          <p:spPr>
            <a:xfrm>
              <a:off x="5388282" y="147041"/>
              <a:ext cx="316165" cy="333940"/>
            </a:xfrm>
            <a:custGeom>
              <a:avLst/>
              <a:gdLst>
                <a:gd name="connsiteX0" fmla="*/ 30691 w 316165"/>
                <a:gd name="connsiteY0" fmla="*/ 191323 h 333940"/>
                <a:gd name="connsiteX1" fmla="*/ 81843 w 316165"/>
                <a:gd name="connsiteY1" fmla="*/ 211139 h 333940"/>
                <a:gd name="connsiteX2" fmla="*/ 148214 w 316165"/>
                <a:gd name="connsiteY2" fmla="*/ 212213 h 333940"/>
                <a:gd name="connsiteX3" fmla="*/ 185041 w 316165"/>
                <a:gd name="connsiteY3" fmla="*/ 212034 h 333940"/>
                <a:gd name="connsiteX4" fmla="*/ 197754 w 316165"/>
                <a:gd name="connsiteY4" fmla="*/ 220390 h 333940"/>
                <a:gd name="connsiteX5" fmla="*/ 190771 w 316165"/>
                <a:gd name="connsiteY5" fmla="*/ 232865 h 333940"/>
                <a:gd name="connsiteX6" fmla="*/ 160569 w 316165"/>
                <a:gd name="connsiteY6" fmla="*/ 241579 h 333940"/>
                <a:gd name="connsiteX7" fmla="*/ 102255 w 316165"/>
                <a:gd name="connsiteY7" fmla="*/ 243549 h 333940"/>
                <a:gd name="connsiteX8" fmla="*/ 48060 w 316165"/>
                <a:gd name="connsiteY8" fmla="*/ 231492 h 333940"/>
                <a:gd name="connsiteX9" fmla="*/ 26752 w 316165"/>
                <a:gd name="connsiteY9" fmla="*/ 321499 h 333940"/>
                <a:gd name="connsiteX10" fmla="*/ 92586 w 316165"/>
                <a:gd name="connsiteY10" fmla="*/ 333377 h 333940"/>
                <a:gd name="connsiteX11" fmla="*/ 172029 w 316165"/>
                <a:gd name="connsiteY11" fmla="*/ 329139 h 333940"/>
                <a:gd name="connsiteX12" fmla="*/ 257381 w 316165"/>
                <a:gd name="connsiteY12" fmla="*/ 300669 h 333940"/>
                <a:gd name="connsiteX13" fmla="*/ 305488 w 316165"/>
                <a:gd name="connsiteY13" fmla="*/ 253934 h 333940"/>
                <a:gd name="connsiteX14" fmla="*/ 314979 w 316165"/>
                <a:gd name="connsiteY14" fmla="*/ 198366 h 333940"/>
                <a:gd name="connsiteX15" fmla="*/ 285374 w 316165"/>
                <a:gd name="connsiteY15" fmla="*/ 143394 h 333940"/>
                <a:gd name="connsiteX16" fmla="*/ 234461 w 316165"/>
                <a:gd name="connsiteY16" fmla="*/ 123280 h 333940"/>
                <a:gd name="connsiteX17" fmla="*/ 168329 w 316165"/>
                <a:gd name="connsiteY17" fmla="*/ 121907 h 333940"/>
                <a:gd name="connsiteX18" fmla="*/ 131741 w 316165"/>
                <a:gd name="connsiteY18" fmla="*/ 121788 h 333940"/>
                <a:gd name="connsiteX19" fmla="*/ 118729 w 316165"/>
                <a:gd name="connsiteY19" fmla="*/ 113193 h 333940"/>
                <a:gd name="connsiteX20" fmla="*/ 158182 w 316165"/>
                <a:gd name="connsiteY20" fmla="*/ 91646 h 333940"/>
                <a:gd name="connsiteX21" fmla="*/ 251233 w 316165"/>
                <a:gd name="connsiteY21" fmla="*/ 99704 h 333940"/>
                <a:gd name="connsiteX22" fmla="*/ 272542 w 316165"/>
                <a:gd name="connsiteY22" fmla="*/ 9696 h 333940"/>
                <a:gd name="connsiteX23" fmla="*/ 212079 w 316165"/>
                <a:gd name="connsiteY23" fmla="*/ 146 h 333940"/>
                <a:gd name="connsiteX24" fmla="*/ 142305 w 316165"/>
                <a:gd name="connsiteY24" fmla="*/ 4861 h 333940"/>
                <a:gd name="connsiteX25" fmla="*/ 58386 w 316165"/>
                <a:gd name="connsiteY25" fmla="*/ 33093 h 333940"/>
                <a:gd name="connsiteX26" fmla="*/ 10577 w 316165"/>
                <a:gd name="connsiteY26" fmla="*/ 79768 h 333940"/>
                <a:gd name="connsiteX27" fmla="*/ 1266 w 316165"/>
                <a:gd name="connsiteY27" fmla="*/ 136471 h 333940"/>
                <a:gd name="connsiteX28" fmla="*/ 30870 w 316165"/>
                <a:gd name="connsiteY28" fmla="*/ 191442 h 333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16165" h="333940">
                  <a:moveTo>
                    <a:pt x="30691" y="191323"/>
                  </a:moveTo>
                  <a:cubicBezTo>
                    <a:pt x="46269" y="202723"/>
                    <a:pt x="63340" y="209348"/>
                    <a:pt x="81843" y="211139"/>
                  </a:cubicBezTo>
                  <a:cubicBezTo>
                    <a:pt x="100345" y="212989"/>
                    <a:pt x="122430" y="213347"/>
                    <a:pt x="148214" y="212213"/>
                  </a:cubicBezTo>
                  <a:cubicBezTo>
                    <a:pt x="165105" y="211377"/>
                    <a:pt x="177401" y="211318"/>
                    <a:pt x="185041" y="212034"/>
                  </a:cubicBezTo>
                  <a:cubicBezTo>
                    <a:pt x="192681" y="212750"/>
                    <a:pt x="196919" y="215496"/>
                    <a:pt x="197754" y="220390"/>
                  </a:cubicBezTo>
                  <a:cubicBezTo>
                    <a:pt x="198530" y="225284"/>
                    <a:pt x="196262" y="229462"/>
                    <a:pt x="190771" y="232865"/>
                  </a:cubicBezTo>
                  <a:cubicBezTo>
                    <a:pt x="185339" y="236267"/>
                    <a:pt x="175252" y="239191"/>
                    <a:pt x="160569" y="241579"/>
                  </a:cubicBezTo>
                  <a:cubicBezTo>
                    <a:pt x="142066" y="244623"/>
                    <a:pt x="122668" y="245279"/>
                    <a:pt x="102255" y="243549"/>
                  </a:cubicBezTo>
                  <a:cubicBezTo>
                    <a:pt x="81843" y="241877"/>
                    <a:pt x="63757" y="237819"/>
                    <a:pt x="48060" y="231492"/>
                  </a:cubicBezTo>
                  <a:lnTo>
                    <a:pt x="26752" y="321499"/>
                  </a:lnTo>
                  <a:cubicBezTo>
                    <a:pt x="44061" y="327945"/>
                    <a:pt x="65966" y="331944"/>
                    <a:pt x="92586" y="333377"/>
                  </a:cubicBezTo>
                  <a:cubicBezTo>
                    <a:pt x="119147" y="334869"/>
                    <a:pt x="145648" y="333377"/>
                    <a:pt x="172029" y="329139"/>
                  </a:cubicBezTo>
                  <a:cubicBezTo>
                    <a:pt x="206349" y="323529"/>
                    <a:pt x="234760" y="314038"/>
                    <a:pt x="257381" y="300669"/>
                  </a:cubicBezTo>
                  <a:cubicBezTo>
                    <a:pt x="279943" y="287299"/>
                    <a:pt x="295998" y="271721"/>
                    <a:pt x="305488" y="253934"/>
                  </a:cubicBezTo>
                  <a:cubicBezTo>
                    <a:pt x="314979" y="236147"/>
                    <a:pt x="318142" y="217644"/>
                    <a:pt x="314979" y="198366"/>
                  </a:cubicBezTo>
                  <a:cubicBezTo>
                    <a:pt x="310860" y="173118"/>
                    <a:pt x="301012" y="154794"/>
                    <a:pt x="285374" y="143394"/>
                  </a:cubicBezTo>
                  <a:cubicBezTo>
                    <a:pt x="269796" y="131994"/>
                    <a:pt x="252785" y="125309"/>
                    <a:pt x="234461" y="123280"/>
                  </a:cubicBezTo>
                  <a:cubicBezTo>
                    <a:pt x="216138" y="121250"/>
                    <a:pt x="194113" y="120773"/>
                    <a:pt x="168329" y="121907"/>
                  </a:cubicBezTo>
                  <a:cubicBezTo>
                    <a:pt x="151795" y="122683"/>
                    <a:pt x="139619" y="122623"/>
                    <a:pt x="131741" y="121788"/>
                  </a:cubicBezTo>
                  <a:cubicBezTo>
                    <a:pt x="123862" y="120952"/>
                    <a:pt x="119505" y="118087"/>
                    <a:pt x="118729" y="113193"/>
                  </a:cubicBezTo>
                  <a:cubicBezTo>
                    <a:pt x="117117" y="103404"/>
                    <a:pt x="130248" y="96242"/>
                    <a:pt x="158182" y="91646"/>
                  </a:cubicBezTo>
                  <a:cubicBezTo>
                    <a:pt x="190592" y="86334"/>
                    <a:pt x="221629" y="89020"/>
                    <a:pt x="251233" y="99704"/>
                  </a:cubicBezTo>
                  <a:lnTo>
                    <a:pt x="272542" y="9696"/>
                  </a:lnTo>
                  <a:cubicBezTo>
                    <a:pt x="255352" y="3966"/>
                    <a:pt x="235178" y="803"/>
                    <a:pt x="212079" y="146"/>
                  </a:cubicBezTo>
                  <a:cubicBezTo>
                    <a:pt x="188920" y="-510"/>
                    <a:pt x="165702" y="1041"/>
                    <a:pt x="142305" y="4861"/>
                  </a:cubicBezTo>
                  <a:cubicBezTo>
                    <a:pt x="108761" y="10353"/>
                    <a:pt x="80768" y="19723"/>
                    <a:pt x="58386" y="33093"/>
                  </a:cubicBezTo>
                  <a:cubicBezTo>
                    <a:pt x="36003" y="46403"/>
                    <a:pt x="20067" y="61982"/>
                    <a:pt x="10577" y="79768"/>
                  </a:cubicBezTo>
                  <a:cubicBezTo>
                    <a:pt x="1086" y="97555"/>
                    <a:pt x="-2017" y="116476"/>
                    <a:pt x="1266" y="136471"/>
                  </a:cubicBezTo>
                  <a:cubicBezTo>
                    <a:pt x="5384" y="161718"/>
                    <a:pt x="15232" y="180042"/>
                    <a:pt x="30870" y="191442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59" name="Forme libre : forme 158">
              <a:extLst>
                <a:ext uri="{FF2B5EF4-FFF2-40B4-BE49-F238E27FC236}">
                  <a16:creationId xmlns:a16="http://schemas.microsoft.com/office/drawing/2014/main" id="{D3F8C3F3-62CB-C8A8-F289-468FFD3490D2}"/>
                </a:ext>
              </a:extLst>
            </p:cNvPr>
            <p:cNvSpPr/>
            <p:nvPr/>
          </p:nvSpPr>
          <p:spPr>
            <a:xfrm>
              <a:off x="5722593" y="113415"/>
              <a:ext cx="349830" cy="324733"/>
            </a:xfrm>
            <a:custGeom>
              <a:avLst/>
              <a:gdLst>
                <a:gd name="connsiteX0" fmla="*/ 28119 w 349830"/>
                <a:gd name="connsiteY0" fmla="*/ 254016 h 324733"/>
                <a:gd name="connsiteX1" fmla="*/ 97534 w 349830"/>
                <a:gd name="connsiteY1" fmla="*/ 308630 h 324733"/>
                <a:gd name="connsiteX2" fmla="*/ 198166 w 349830"/>
                <a:gd name="connsiteY2" fmla="*/ 324327 h 324733"/>
                <a:gd name="connsiteX3" fmla="*/ 332342 w 349830"/>
                <a:gd name="connsiteY3" fmla="*/ 266849 h 324733"/>
                <a:gd name="connsiteX4" fmla="*/ 261255 w 349830"/>
                <a:gd name="connsiteY4" fmla="*/ 202268 h 324733"/>
                <a:gd name="connsiteX5" fmla="*/ 231531 w 349830"/>
                <a:gd name="connsiteY5" fmla="*/ 221606 h 324733"/>
                <a:gd name="connsiteX6" fmla="*/ 197151 w 349830"/>
                <a:gd name="connsiteY6" fmla="*/ 228530 h 324733"/>
                <a:gd name="connsiteX7" fmla="*/ 137942 w 349830"/>
                <a:gd name="connsiteY7" fmla="*/ 204058 h 324733"/>
                <a:gd name="connsiteX8" fmla="*/ 349830 w 349830"/>
                <a:gd name="connsiteY8" fmla="*/ 151773 h 324733"/>
                <a:gd name="connsiteX9" fmla="*/ 322434 w 349830"/>
                <a:gd name="connsiteY9" fmla="*/ 66242 h 324733"/>
                <a:gd name="connsiteX10" fmla="*/ 257793 w 349830"/>
                <a:gd name="connsiteY10" fmla="*/ 14494 h 324733"/>
                <a:gd name="connsiteX11" fmla="*/ 171546 w 349830"/>
                <a:gd name="connsiteY11" fmla="*/ 288 h 324733"/>
                <a:gd name="connsiteX12" fmla="*/ 80763 w 349830"/>
                <a:gd name="connsiteY12" fmla="*/ 25655 h 324733"/>
                <a:gd name="connsiteX13" fmla="*/ 19345 w 349830"/>
                <a:gd name="connsiteY13" fmla="*/ 86476 h 324733"/>
                <a:gd name="connsiteX14" fmla="*/ 245 w 349830"/>
                <a:gd name="connsiteY14" fmla="*/ 171529 h 324733"/>
                <a:gd name="connsiteX15" fmla="*/ 28059 w 349830"/>
                <a:gd name="connsiteY15" fmla="*/ 253837 h 324733"/>
                <a:gd name="connsiteX16" fmla="*/ 141106 w 349830"/>
                <a:gd name="connsiteY16" fmla="*/ 103546 h 324733"/>
                <a:gd name="connsiteX17" fmla="*/ 176739 w 349830"/>
                <a:gd name="connsiteY17" fmla="*/ 88505 h 324733"/>
                <a:gd name="connsiteX18" fmla="*/ 206642 w 349830"/>
                <a:gd name="connsiteY18" fmla="*/ 95846 h 324733"/>
                <a:gd name="connsiteX19" fmla="*/ 225324 w 349830"/>
                <a:gd name="connsiteY19" fmla="*/ 118706 h 324733"/>
                <a:gd name="connsiteX20" fmla="*/ 126184 w 349830"/>
                <a:gd name="connsiteY20" fmla="*/ 143357 h 324733"/>
                <a:gd name="connsiteX21" fmla="*/ 141046 w 349830"/>
                <a:gd name="connsiteY21" fmla="*/ 103546 h 324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49830" h="324733">
                  <a:moveTo>
                    <a:pt x="28119" y="254016"/>
                  </a:moveTo>
                  <a:cubicBezTo>
                    <a:pt x="45070" y="278010"/>
                    <a:pt x="68169" y="296215"/>
                    <a:pt x="97534" y="308630"/>
                  </a:cubicBezTo>
                  <a:cubicBezTo>
                    <a:pt x="126900" y="321104"/>
                    <a:pt x="160444" y="326297"/>
                    <a:pt x="198166" y="324327"/>
                  </a:cubicBezTo>
                  <a:cubicBezTo>
                    <a:pt x="258032" y="321223"/>
                    <a:pt x="302797" y="302064"/>
                    <a:pt x="332342" y="266849"/>
                  </a:cubicBezTo>
                  <a:lnTo>
                    <a:pt x="261255" y="202268"/>
                  </a:lnTo>
                  <a:cubicBezTo>
                    <a:pt x="250631" y="211221"/>
                    <a:pt x="240723" y="217667"/>
                    <a:pt x="231531" y="221606"/>
                  </a:cubicBezTo>
                  <a:cubicBezTo>
                    <a:pt x="222339" y="225546"/>
                    <a:pt x="210939" y="227814"/>
                    <a:pt x="197151" y="228530"/>
                  </a:cubicBezTo>
                  <a:cubicBezTo>
                    <a:pt x="168144" y="230022"/>
                    <a:pt x="148387" y="221905"/>
                    <a:pt x="137942" y="204058"/>
                  </a:cubicBezTo>
                  <a:lnTo>
                    <a:pt x="349830" y="151773"/>
                  </a:lnTo>
                  <a:cubicBezTo>
                    <a:pt x="348099" y="118229"/>
                    <a:pt x="338967" y="89699"/>
                    <a:pt x="322434" y="66242"/>
                  </a:cubicBezTo>
                  <a:cubicBezTo>
                    <a:pt x="305901" y="42785"/>
                    <a:pt x="284354" y="25595"/>
                    <a:pt x="257793" y="14494"/>
                  </a:cubicBezTo>
                  <a:cubicBezTo>
                    <a:pt x="231173" y="3451"/>
                    <a:pt x="202464" y="-1264"/>
                    <a:pt x="171546" y="288"/>
                  </a:cubicBezTo>
                  <a:cubicBezTo>
                    <a:pt x="137584" y="2019"/>
                    <a:pt x="107323" y="10495"/>
                    <a:pt x="80763" y="25655"/>
                  </a:cubicBezTo>
                  <a:cubicBezTo>
                    <a:pt x="54202" y="40815"/>
                    <a:pt x="33729" y="61109"/>
                    <a:pt x="19345" y="86476"/>
                  </a:cubicBezTo>
                  <a:cubicBezTo>
                    <a:pt x="4960" y="111902"/>
                    <a:pt x="-1366" y="140253"/>
                    <a:pt x="245" y="171529"/>
                  </a:cubicBezTo>
                  <a:cubicBezTo>
                    <a:pt x="1857" y="202447"/>
                    <a:pt x="11108" y="229903"/>
                    <a:pt x="28059" y="253837"/>
                  </a:cubicBezTo>
                  <a:close/>
                  <a:moveTo>
                    <a:pt x="141106" y="103546"/>
                  </a:moveTo>
                  <a:cubicBezTo>
                    <a:pt x="149999" y="94295"/>
                    <a:pt x="161877" y="89281"/>
                    <a:pt x="176739" y="88505"/>
                  </a:cubicBezTo>
                  <a:cubicBezTo>
                    <a:pt x="188198" y="87908"/>
                    <a:pt x="198166" y="90355"/>
                    <a:pt x="206642" y="95846"/>
                  </a:cubicBezTo>
                  <a:cubicBezTo>
                    <a:pt x="215177" y="101338"/>
                    <a:pt x="221385" y="108978"/>
                    <a:pt x="225324" y="118706"/>
                  </a:cubicBezTo>
                  <a:lnTo>
                    <a:pt x="126184" y="143357"/>
                  </a:lnTo>
                  <a:cubicBezTo>
                    <a:pt x="127199" y="126108"/>
                    <a:pt x="132153" y="112857"/>
                    <a:pt x="141046" y="103546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60" name="Forme libre : forme 159">
              <a:extLst>
                <a:ext uri="{FF2B5EF4-FFF2-40B4-BE49-F238E27FC236}">
                  <a16:creationId xmlns:a16="http://schemas.microsoft.com/office/drawing/2014/main" id="{56CD3F98-DC81-40F9-5176-EF993E4D9302}"/>
                </a:ext>
              </a:extLst>
            </p:cNvPr>
            <p:cNvSpPr/>
            <p:nvPr/>
          </p:nvSpPr>
          <p:spPr>
            <a:xfrm>
              <a:off x="6277862" y="129498"/>
              <a:ext cx="378594" cy="343876"/>
            </a:xfrm>
            <a:custGeom>
              <a:avLst/>
              <a:gdLst>
                <a:gd name="connsiteX0" fmla="*/ 58734 w 378594"/>
                <a:gd name="connsiteY0" fmla="*/ 294695 h 343876"/>
                <a:gd name="connsiteX1" fmla="*/ 131611 w 378594"/>
                <a:gd name="connsiteY1" fmla="*/ 323702 h 343876"/>
                <a:gd name="connsiteX2" fmla="*/ 220783 w 378594"/>
                <a:gd name="connsiteY2" fmla="*/ 303051 h 343876"/>
                <a:gd name="connsiteX3" fmla="*/ 217620 w 378594"/>
                <a:gd name="connsiteY3" fmla="*/ 328656 h 343876"/>
                <a:gd name="connsiteX4" fmla="*/ 339858 w 378594"/>
                <a:gd name="connsiteY4" fmla="*/ 343876 h 343876"/>
                <a:gd name="connsiteX5" fmla="*/ 378595 w 378594"/>
                <a:gd name="connsiteY5" fmla="*/ 32849 h 343876"/>
                <a:gd name="connsiteX6" fmla="*/ 250089 w 378594"/>
                <a:gd name="connsiteY6" fmla="*/ 16853 h 343876"/>
                <a:gd name="connsiteX7" fmla="*/ 247463 w 378594"/>
                <a:gd name="connsiteY7" fmla="*/ 37863 h 343876"/>
                <a:gd name="connsiteX8" fmla="*/ 171780 w 378594"/>
                <a:gd name="connsiteY8" fmla="*/ 1275 h 343876"/>
                <a:gd name="connsiteX9" fmla="*/ 94008 w 378594"/>
                <a:gd name="connsiteY9" fmla="*/ 11541 h 343876"/>
                <a:gd name="connsiteX10" fmla="*/ 32412 w 378594"/>
                <a:gd name="connsiteY10" fmla="*/ 61021 h 343876"/>
                <a:gd name="connsiteX11" fmla="*/ 1673 w 378594"/>
                <a:gd name="connsiteY11" fmla="*/ 143508 h 343876"/>
                <a:gd name="connsiteX12" fmla="*/ 11223 w 378594"/>
                <a:gd name="connsiteY12" fmla="*/ 231307 h 343876"/>
                <a:gd name="connsiteX13" fmla="*/ 58793 w 378594"/>
                <a:gd name="connsiteY13" fmla="*/ 294695 h 343876"/>
                <a:gd name="connsiteX14" fmla="*/ 131790 w 378594"/>
                <a:gd name="connsiteY14" fmla="*/ 159743 h 343876"/>
                <a:gd name="connsiteX15" fmla="*/ 151606 w 378594"/>
                <a:gd name="connsiteY15" fmla="*/ 116590 h 343876"/>
                <a:gd name="connsiteX16" fmla="*/ 189985 w 378594"/>
                <a:gd name="connsiteY16" fmla="*/ 105189 h 343876"/>
                <a:gd name="connsiteX17" fmla="*/ 224424 w 378594"/>
                <a:gd name="connsiteY17" fmla="*/ 125662 h 343876"/>
                <a:gd name="connsiteX18" fmla="*/ 233019 w 378594"/>
                <a:gd name="connsiteY18" fmla="*/ 172337 h 343876"/>
                <a:gd name="connsiteX19" fmla="*/ 213203 w 378594"/>
                <a:gd name="connsiteY19" fmla="*/ 215789 h 343876"/>
                <a:gd name="connsiteX20" fmla="*/ 174765 w 378594"/>
                <a:gd name="connsiteY20" fmla="*/ 227487 h 343876"/>
                <a:gd name="connsiteX21" fmla="*/ 140385 w 378594"/>
                <a:gd name="connsiteY21" fmla="*/ 206776 h 343876"/>
                <a:gd name="connsiteX22" fmla="*/ 131790 w 378594"/>
                <a:gd name="connsiteY22" fmla="*/ 159803 h 343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78594" h="343876">
                  <a:moveTo>
                    <a:pt x="58734" y="294695"/>
                  </a:moveTo>
                  <a:cubicBezTo>
                    <a:pt x="80042" y="310631"/>
                    <a:pt x="104334" y="320300"/>
                    <a:pt x="131611" y="323702"/>
                  </a:cubicBezTo>
                  <a:cubicBezTo>
                    <a:pt x="169870" y="328477"/>
                    <a:pt x="199594" y="321613"/>
                    <a:pt x="220783" y="303051"/>
                  </a:cubicBezTo>
                  <a:lnTo>
                    <a:pt x="217620" y="328656"/>
                  </a:lnTo>
                  <a:lnTo>
                    <a:pt x="339858" y="343876"/>
                  </a:lnTo>
                  <a:lnTo>
                    <a:pt x="378595" y="32849"/>
                  </a:lnTo>
                  <a:lnTo>
                    <a:pt x="250089" y="16853"/>
                  </a:lnTo>
                  <a:lnTo>
                    <a:pt x="247463" y="37863"/>
                  </a:lnTo>
                  <a:cubicBezTo>
                    <a:pt x="231467" y="17808"/>
                    <a:pt x="206220" y="5572"/>
                    <a:pt x="171780" y="1275"/>
                  </a:cubicBezTo>
                  <a:cubicBezTo>
                    <a:pt x="144503" y="-2127"/>
                    <a:pt x="118540" y="1275"/>
                    <a:pt x="94008" y="11541"/>
                  </a:cubicBezTo>
                  <a:cubicBezTo>
                    <a:pt x="69418" y="21747"/>
                    <a:pt x="48885" y="38281"/>
                    <a:pt x="32412" y="61021"/>
                  </a:cubicBezTo>
                  <a:cubicBezTo>
                    <a:pt x="15938" y="83822"/>
                    <a:pt x="5672" y="111277"/>
                    <a:pt x="1673" y="143508"/>
                  </a:cubicBezTo>
                  <a:cubicBezTo>
                    <a:pt x="-2326" y="175739"/>
                    <a:pt x="838" y="204986"/>
                    <a:pt x="11223" y="231307"/>
                  </a:cubicBezTo>
                  <a:cubicBezTo>
                    <a:pt x="21609" y="257629"/>
                    <a:pt x="37485" y="278758"/>
                    <a:pt x="58793" y="294695"/>
                  </a:cubicBezTo>
                  <a:close/>
                  <a:moveTo>
                    <a:pt x="131790" y="159743"/>
                  </a:moveTo>
                  <a:cubicBezTo>
                    <a:pt x="134178" y="140405"/>
                    <a:pt x="140803" y="126020"/>
                    <a:pt x="151606" y="116590"/>
                  </a:cubicBezTo>
                  <a:cubicBezTo>
                    <a:pt x="162409" y="107159"/>
                    <a:pt x="175182" y="103339"/>
                    <a:pt x="189985" y="105189"/>
                  </a:cubicBezTo>
                  <a:cubicBezTo>
                    <a:pt x="204787" y="107040"/>
                    <a:pt x="216247" y="113844"/>
                    <a:pt x="224424" y="125662"/>
                  </a:cubicBezTo>
                  <a:cubicBezTo>
                    <a:pt x="232541" y="137480"/>
                    <a:pt x="235466" y="152998"/>
                    <a:pt x="233019" y="172337"/>
                  </a:cubicBezTo>
                  <a:cubicBezTo>
                    <a:pt x="230631" y="191675"/>
                    <a:pt x="224006" y="206120"/>
                    <a:pt x="213203" y="215789"/>
                  </a:cubicBezTo>
                  <a:cubicBezTo>
                    <a:pt x="202400" y="225398"/>
                    <a:pt x="189567" y="229278"/>
                    <a:pt x="174765" y="227487"/>
                  </a:cubicBezTo>
                  <a:cubicBezTo>
                    <a:pt x="159962" y="225637"/>
                    <a:pt x="148502" y="218713"/>
                    <a:pt x="140385" y="206776"/>
                  </a:cubicBezTo>
                  <a:cubicBezTo>
                    <a:pt x="132268" y="194779"/>
                    <a:pt x="129403" y="179141"/>
                    <a:pt x="131790" y="159803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61" name="Forme libre : forme 160">
              <a:extLst>
                <a:ext uri="{FF2B5EF4-FFF2-40B4-BE49-F238E27FC236}">
                  <a16:creationId xmlns:a16="http://schemas.microsoft.com/office/drawing/2014/main" id="{C28DA0F0-C651-BBDC-86EF-6D3C1E958621}"/>
                </a:ext>
              </a:extLst>
            </p:cNvPr>
            <p:cNvSpPr/>
            <p:nvPr/>
          </p:nvSpPr>
          <p:spPr>
            <a:xfrm>
              <a:off x="6372945" y="0"/>
              <a:ext cx="185983" cy="115553"/>
            </a:xfrm>
            <a:custGeom>
              <a:avLst/>
              <a:gdLst>
                <a:gd name="connsiteX0" fmla="*/ 185984 w 185983"/>
                <a:gd name="connsiteY0" fmla="*/ 115553 h 115553"/>
                <a:gd name="connsiteX1" fmla="*/ 122238 w 185983"/>
                <a:gd name="connsiteY1" fmla="*/ 15220 h 115553"/>
                <a:gd name="connsiteX2" fmla="*/ 0 w 185983"/>
                <a:gd name="connsiteY2" fmla="*/ 0 h 115553"/>
                <a:gd name="connsiteX3" fmla="*/ 100691 w 185983"/>
                <a:gd name="connsiteY3" fmla="*/ 104929 h 115553"/>
                <a:gd name="connsiteX4" fmla="*/ 185984 w 185983"/>
                <a:gd name="connsiteY4" fmla="*/ 115553 h 115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983" h="115553">
                  <a:moveTo>
                    <a:pt x="185984" y="115553"/>
                  </a:moveTo>
                  <a:lnTo>
                    <a:pt x="122238" y="15220"/>
                  </a:lnTo>
                  <a:lnTo>
                    <a:pt x="0" y="0"/>
                  </a:lnTo>
                  <a:lnTo>
                    <a:pt x="100691" y="104929"/>
                  </a:lnTo>
                  <a:lnTo>
                    <a:pt x="185984" y="115553"/>
                  </a:ln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62" name="Forme libre : forme 161">
              <a:extLst>
                <a:ext uri="{FF2B5EF4-FFF2-40B4-BE49-F238E27FC236}">
                  <a16:creationId xmlns:a16="http://schemas.microsoft.com/office/drawing/2014/main" id="{8F57C576-99C5-A373-E492-BFA8426B5AFE}"/>
                </a:ext>
              </a:extLst>
            </p:cNvPr>
            <p:cNvSpPr/>
            <p:nvPr/>
          </p:nvSpPr>
          <p:spPr>
            <a:xfrm>
              <a:off x="6824117" y="215349"/>
              <a:ext cx="580920" cy="474568"/>
            </a:xfrm>
            <a:custGeom>
              <a:avLst/>
              <a:gdLst>
                <a:gd name="connsiteX0" fmla="*/ 172853 w 580920"/>
                <a:gd name="connsiteY0" fmla="*/ 194280 h 474568"/>
                <a:gd name="connsiteX1" fmla="*/ 197802 w 580920"/>
                <a:gd name="connsiteY1" fmla="*/ 156916 h 474568"/>
                <a:gd name="connsiteX2" fmla="*/ 230212 w 580920"/>
                <a:gd name="connsiteY2" fmla="*/ 153693 h 474568"/>
                <a:gd name="connsiteX3" fmla="*/ 245372 w 580920"/>
                <a:gd name="connsiteY3" fmla="*/ 216066 h 474568"/>
                <a:gd name="connsiteX4" fmla="*/ 193564 w 580920"/>
                <a:gd name="connsiteY4" fmla="*/ 363671 h 474568"/>
                <a:gd name="connsiteX5" fmla="*/ 315743 w 580920"/>
                <a:gd name="connsiteY5" fmla="*/ 406586 h 474568"/>
                <a:gd name="connsiteX6" fmla="*/ 366417 w 580920"/>
                <a:gd name="connsiteY6" fmla="*/ 262263 h 474568"/>
                <a:gd name="connsiteX7" fmla="*/ 391366 w 580920"/>
                <a:gd name="connsiteY7" fmla="*/ 224899 h 474568"/>
                <a:gd name="connsiteX8" fmla="*/ 423775 w 580920"/>
                <a:gd name="connsiteY8" fmla="*/ 221676 h 474568"/>
                <a:gd name="connsiteX9" fmla="*/ 438936 w 580920"/>
                <a:gd name="connsiteY9" fmla="*/ 284049 h 474568"/>
                <a:gd name="connsiteX10" fmla="*/ 387128 w 580920"/>
                <a:gd name="connsiteY10" fmla="*/ 431654 h 474568"/>
                <a:gd name="connsiteX11" fmla="*/ 509307 w 580920"/>
                <a:gd name="connsiteY11" fmla="*/ 474569 h 474568"/>
                <a:gd name="connsiteX12" fmla="*/ 568516 w 580920"/>
                <a:gd name="connsiteY12" fmla="*/ 305894 h 474568"/>
                <a:gd name="connsiteX13" fmla="*/ 571261 w 580920"/>
                <a:gd name="connsiteY13" fmla="*/ 195116 h 474568"/>
                <a:gd name="connsiteX14" fmla="*/ 497131 w 580920"/>
                <a:gd name="connsiteY14" fmla="*/ 132027 h 474568"/>
                <a:gd name="connsiteX15" fmla="*/ 437384 w 580920"/>
                <a:gd name="connsiteY15" fmla="*/ 124089 h 474568"/>
                <a:gd name="connsiteX16" fmla="*/ 382472 w 580920"/>
                <a:gd name="connsiteY16" fmla="*/ 142174 h 474568"/>
                <a:gd name="connsiteX17" fmla="*/ 355434 w 580920"/>
                <a:gd name="connsiteY17" fmla="*/ 94723 h 474568"/>
                <a:gd name="connsiteX18" fmla="*/ 305775 w 580920"/>
                <a:gd name="connsiteY18" fmla="*/ 64820 h 474568"/>
                <a:gd name="connsiteX19" fmla="*/ 210396 w 580920"/>
                <a:gd name="connsiteY19" fmla="*/ 68401 h 474568"/>
                <a:gd name="connsiteX20" fmla="*/ 220065 w 580920"/>
                <a:gd name="connsiteY20" fmla="*/ 40826 h 474568"/>
                <a:gd name="connsiteX21" fmla="*/ 103855 w 580920"/>
                <a:gd name="connsiteY21" fmla="*/ 0 h 474568"/>
                <a:gd name="connsiteX22" fmla="*/ 0 w 580920"/>
                <a:gd name="connsiteY22" fmla="*/ 295748 h 474568"/>
                <a:gd name="connsiteX23" fmla="*/ 122179 w 580920"/>
                <a:gd name="connsiteY23" fmla="*/ 338662 h 474568"/>
                <a:gd name="connsiteX24" fmla="*/ 172853 w 580920"/>
                <a:gd name="connsiteY24" fmla="*/ 194340 h 474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80920" h="474568">
                  <a:moveTo>
                    <a:pt x="172853" y="194280"/>
                  </a:moveTo>
                  <a:cubicBezTo>
                    <a:pt x="179418" y="175539"/>
                    <a:pt x="187774" y="163064"/>
                    <a:pt x="197802" y="156916"/>
                  </a:cubicBezTo>
                  <a:cubicBezTo>
                    <a:pt x="207889" y="150709"/>
                    <a:pt x="218692" y="149694"/>
                    <a:pt x="230212" y="153693"/>
                  </a:cubicBezTo>
                  <a:cubicBezTo>
                    <a:pt x="252176" y="161393"/>
                    <a:pt x="257250" y="182223"/>
                    <a:pt x="245372" y="216066"/>
                  </a:cubicBezTo>
                  <a:lnTo>
                    <a:pt x="193564" y="363671"/>
                  </a:lnTo>
                  <a:lnTo>
                    <a:pt x="315743" y="406586"/>
                  </a:lnTo>
                  <a:lnTo>
                    <a:pt x="366417" y="262263"/>
                  </a:lnTo>
                  <a:cubicBezTo>
                    <a:pt x="372982" y="243522"/>
                    <a:pt x="381338" y="231047"/>
                    <a:pt x="391366" y="224899"/>
                  </a:cubicBezTo>
                  <a:cubicBezTo>
                    <a:pt x="401453" y="218692"/>
                    <a:pt x="412256" y="217677"/>
                    <a:pt x="423775" y="221676"/>
                  </a:cubicBezTo>
                  <a:cubicBezTo>
                    <a:pt x="445740" y="229376"/>
                    <a:pt x="450814" y="250207"/>
                    <a:pt x="438936" y="284049"/>
                  </a:cubicBezTo>
                  <a:lnTo>
                    <a:pt x="387128" y="431654"/>
                  </a:lnTo>
                  <a:lnTo>
                    <a:pt x="509307" y="474569"/>
                  </a:lnTo>
                  <a:lnTo>
                    <a:pt x="568516" y="305894"/>
                  </a:lnTo>
                  <a:cubicBezTo>
                    <a:pt x="584094" y="261547"/>
                    <a:pt x="584989" y="224661"/>
                    <a:pt x="571261" y="195116"/>
                  </a:cubicBezTo>
                  <a:cubicBezTo>
                    <a:pt x="557534" y="165631"/>
                    <a:pt x="532823" y="144561"/>
                    <a:pt x="497131" y="132027"/>
                  </a:cubicBezTo>
                  <a:cubicBezTo>
                    <a:pt x="476956" y="124924"/>
                    <a:pt x="457021" y="122298"/>
                    <a:pt x="437384" y="124089"/>
                  </a:cubicBezTo>
                  <a:cubicBezTo>
                    <a:pt x="417747" y="125879"/>
                    <a:pt x="399423" y="131908"/>
                    <a:pt x="382472" y="142174"/>
                  </a:cubicBezTo>
                  <a:cubicBezTo>
                    <a:pt x="377698" y="123492"/>
                    <a:pt x="368685" y="107675"/>
                    <a:pt x="355434" y="94723"/>
                  </a:cubicBezTo>
                  <a:cubicBezTo>
                    <a:pt x="342184" y="81771"/>
                    <a:pt x="325591" y="71803"/>
                    <a:pt x="305775" y="64820"/>
                  </a:cubicBezTo>
                  <a:cubicBezTo>
                    <a:pt x="271873" y="52942"/>
                    <a:pt x="240119" y="54136"/>
                    <a:pt x="210396" y="68401"/>
                  </a:cubicBezTo>
                  <a:lnTo>
                    <a:pt x="220065" y="40826"/>
                  </a:lnTo>
                  <a:lnTo>
                    <a:pt x="103855" y="0"/>
                  </a:lnTo>
                  <a:lnTo>
                    <a:pt x="0" y="295748"/>
                  </a:lnTo>
                  <a:lnTo>
                    <a:pt x="122179" y="338662"/>
                  </a:lnTo>
                  <a:lnTo>
                    <a:pt x="172853" y="194340"/>
                  </a:ln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63" name="Forme libre : forme 162">
              <a:extLst>
                <a:ext uri="{FF2B5EF4-FFF2-40B4-BE49-F238E27FC236}">
                  <a16:creationId xmlns:a16="http://schemas.microsoft.com/office/drawing/2014/main" id="{89CCDEF3-810A-72A6-2E7B-2F33F31A0556}"/>
                </a:ext>
              </a:extLst>
            </p:cNvPr>
            <p:cNvSpPr/>
            <p:nvPr/>
          </p:nvSpPr>
          <p:spPr>
            <a:xfrm rot="17789402">
              <a:off x="7340097" y="542711"/>
              <a:ext cx="313414" cy="129520"/>
            </a:xfrm>
            <a:custGeom>
              <a:avLst/>
              <a:gdLst>
                <a:gd name="connsiteX0" fmla="*/ 0 w 313414"/>
                <a:gd name="connsiteY0" fmla="*/ 0 h 129520"/>
                <a:gd name="connsiteX1" fmla="*/ 313415 w 313414"/>
                <a:gd name="connsiteY1" fmla="*/ 0 h 129520"/>
                <a:gd name="connsiteX2" fmla="*/ 313415 w 313414"/>
                <a:gd name="connsiteY2" fmla="*/ 129520 h 129520"/>
                <a:gd name="connsiteX3" fmla="*/ 0 w 313414"/>
                <a:gd name="connsiteY3" fmla="*/ 129520 h 12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3414" h="129520">
                  <a:moveTo>
                    <a:pt x="0" y="0"/>
                  </a:moveTo>
                  <a:lnTo>
                    <a:pt x="313415" y="0"/>
                  </a:lnTo>
                  <a:lnTo>
                    <a:pt x="313415" y="129520"/>
                  </a:lnTo>
                  <a:lnTo>
                    <a:pt x="0" y="129520"/>
                  </a:ln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64" name="Forme libre : forme 163">
              <a:extLst>
                <a:ext uri="{FF2B5EF4-FFF2-40B4-BE49-F238E27FC236}">
                  <a16:creationId xmlns:a16="http://schemas.microsoft.com/office/drawing/2014/main" id="{608417A5-0543-25D4-32EF-57261F2A6303}"/>
                </a:ext>
              </a:extLst>
            </p:cNvPr>
            <p:cNvSpPr/>
            <p:nvPr/>
          </p:nvSpPr>
          <p:spPr>
            <a:xfrm>
              <a:off x="7530958" y="316107"/>
              <a:ext cx="154050" cy="139320"/>
            </a:xfrm>
            <a:custGeom>
              <a:avLst/>
              <a:gdLst>
                <a:gd name="connsiteX0" fmla="*/ 47240 w 154050"/>
                <a:gd name="connsiteY0" fmla="*/ 128678 h 139320"/>
                <a:gd name="connsiteX1" fmla="*/ 106569 w 154050"/>
                <a:gd name="connsiteY1" fmla="*/ 136795 h 139320"/>
                <a:gd name="connsiteX2" fmla="*/ 147394 w 154050"/>
                <a:gd name="connsiteY2" fmla="*/ 102416 h 139320"/>
                <a:gd name="connsiteX3" fmla="*/ 148887 w 154050"/>
                <a:gd name="connsiteY3" fmla="*/ 51921 h 139320"/>
                <a:gd name="connsiteX4" fmla="*/ 106032 w 154050"/>
                <a:gd name="connsiteY4" fmla="*/ 10737 h 139320"/>
                <a:gd name="connsiteX5" fmla="*/ 47240 w 154050"/>
                <a:gd name="connsiteY5" fmla="*/ 2202 h 139320"/>
                <a:gd name="connsiteX6" fmla="*/ 6892 w 154050"/>
                <a:gd name="connsiteY6" fmla="*/ 34910 h 139320"/>
                <a:gd name="connsiteX7" fmla="*/ 5042 w 154050"/>
                <a:gd name="connsiteY7" fmla="*/ 86778 h 139320"/>
                <a:gd name="connsiteX8" fmla="*/ 47240 w 154050"/>
                <a:gd name="connsiteY8" fmla="*/ 128618 h 139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4050" h="139320">
                  <a:moveTo>
                    <a:pt x="47240" y="128678"/>
                  </a:moveTo>
                  <a:cubicBezTo>
                    <a:pt x="68429" y="139242"/>
                    <a:pt x="88185" y="141928"/>
                    <a:pt x="106569" y="136795"/>
                  </a:cubicBezTo>
                  <a:cubicBezTo>
                    <a:pt x="124893" y="131662"/>
                    <a:pt x="138561" y="120202"/>
                    <a:pt x="147394" y="102416"/>
                  </a:cubicBezTo>
                  <a:cubicBezTo>
                    <a:pt x="155751" y="85644"/>
                    <a:pt x="156228" y="68812"/>
                    <a:pt x="148887" y="51921"/>
                  </a:cubicBezTo>
                  <a:cubicBezTo>
                    <a:pt x="141485" y="35029"/>
                    <a:pt x="127220" y="21301"/>
                    <a:pt x="106032" y="10737"/>
                  </a:cubicBezTo>
                  <a:cubicBezTo>
                    <a:pt x="85201" y="351"/>
                    <a:pt x="65564" y="-2514"/>
                    <a:pt x="47240" y="2202"/>
                  </a:cubicBezTo>
                  <a:cubicBezTo>
                    <a:pt x="28857" y="6917"/>
                    <a:pt x="15427" y="17840"/>
                    <a:pt x="6892" y="34910"/>
                  </a:cubicBezTo>
                  <a:cubicBezTo>
                    <a:pt x="-1643" y="52040"/>
                    <a:pt x="-2240" y="69289"/>
                    <a:pt x="5042" y="86778"/>
                  </a:cubicBezTo>
                  <a:cubicBezTo>
                    <a:pt x="12323" y="104266"/>
                    <a:pt x="26410" y="118233"/>
                    <a:pt x="47240" y="128618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65" name="Forme libre : forme 164">
              <a:extLst>
                <a:ext uri="{FF2B5EF4-FFF2-40B4-BE49-F238E27FC236}">
                  <a16:creationId xmlns:a16="http://schemas.microsoft.com/office/drawing/2014/main" id="{C5233DD9-9C97-663D-9BD1-B179B0333983}"/>
                </a:ext>
              </a:extLst>
            </p:cNvPr>
            <p:cNvSpPr/>
            <p:nvPr/>
          </p:nvSpPr>
          <p:spPr>
            <a:xfrm>
              <a:off x="7526151" y="564890"/>
              <a:ext cx="389216" cy="337825"/>
            </a:xfrm>
            <a:custGeom>
              <a:avLst/>
              <a:gdLst>
                <a:gd name="connsiteX0" fmla="*/ 100513 w 389216"/>
                <a:gd name="connsiteY0" fmla="*/ 44152 h 337825"/>
                <a:gd name="connsiteX1" fmla="*/ 87381 w 389216"/>
                <a:gd name="connsiteY1" fmla="*/ 105212 h 337825"/>
                <a:gd name="connsiteX2" fmla="*/ 113464 w 389216"/>
                <a:gd name="connsiteY2" fmla="*/ 153438 h 337825"/>
                <a:gd name="connsiteX3" fmla="*/ 163303 w 389216"/>
                <a:gd name="connsiteY3" fmla="*/ 197248 h 337825"/>
                <a:gd name="connsiteX4" fmla="*/ 191475 w 389216"/>
                <a:gd name="connsiteY4" fmla="*/ 220944 h 337825"/>
                <a:gd name="connsiteX5" fmla="*/ 195713 w 389216"/>
                <a:gd name="connsiteY5" fmla="*/ 235567 h 337825"/>
                <a:gd name="connsiteX6" fmla="*/ 182343 w 389216"/>
                <a:gd name="connsiteY6" fmla="*/ 240521 h 337825"/>
                <a:gd name="connsiteX7" fmla="*/ 153693 w 389216"/>
                <a:gd name="connsiteY7" fmla="*/ 227569 h 337825"/>
                <a:gd name="connsiteX8" fmla="*/ 108033 w 389216"/>
                <a:gd name="connsiteY8" fmla="*/ 191280 h 337825"/>
                <a:gd name="connsiteX9" fmla="*/ 74549 w 389216"/>
                <a:gd name="connsiteY9" fmla="*/ 146933 h 337825"/>
                <a:gd name="connsiteX10" fmla="*/ 0 w 389216"/>
                <a:gd name="connsiteY10" fmla="*/ 201665 h 337825"/>
                <a:gd name="connsiteX11" fmla="*/ 42378 w 389216"/>
                <a:gd name="connsiteY11" fmla="*/ 253414 h 337825"/>
                <a:gd name="connsiteX12" fmla="*/ 105586 w 389216"/>
                <a:gd name="connsiteY12" fmla="*/ 301640 h 337825"/>
                <a:gd name="connsiteX13" fmla="*/ 189028 w 389216"/>
                <a:gd name="connsiteY13" fmla="*/ 335304 h 337825"/>
                <a:gd name="connsiteX14" fmla="*/ 255937 w 389216"/>
                <a:gd name="connsiteY14" fmla="*/ 330887 h 337825"/>
                <a:gd name="connsiteX15" fmla="*/ 299209 w 389216"/>
                <a:gd name="connsiteY15" fmla="*/ 294777 h 337825"/>
                <a:gd name="connsiteX16" fmla="*/ 312341 w 389216"/>
                <a:gd name="connsiteY16" fmla="*/ 233717 h 337825"/>
                <a:gd name="connsiteX17" fmla="*/ 286616 w 389216"/>
                <a:gd name="connsiteY17" fmla="*/ 185371 h 337825"/>
                <a:gd name="connsiteX18" fmla="*/ 237195 w 389216"/>
                <a:gd name="connsiteY18" fmla="*/ 141441 h 337825"/>
                <a:gd name="connsiteX19" fmla="*/ 209381 w 389216"/>
                <a:gd name="connsiteY19" fmla="*/ 117626 h 337825"/>
                <a:gd name="connsiteX20" fmla="*/ 205024 w 389216"/>
                <a:gd name="connsiteY20" fmla="*/ 102645 h 337825"/>
                <a:gd name="connsiteX21" fmla="*/ 249013 w 389216"/>
                <a:gd name="connsiteY21" fmla="*/ 111837 h 337825"/>
                <a:gd name="connsiteX22" fmla="*/ 314668 w 389216"/>
                <a:gd name="connsiteY22" fmla="*/ 178268 h 337825"/>
                <a:gd name="connsiteX23" fmla="*/ 389217 w 389216"/>
                <a:gd name="connsiteY23" fmla="*/ 123535 h 337825"/>
                <a:gd name="connsiteX24" fmla="*/ 349346 w 389216"/>
                <a:gd name="connsiteY24" fmla="*/ 77040 h 337825"/>
                <a:gd name="connsiteX25" fmla="*/ 293181 w 389216"/>
                <a:gd name="connsiteY25" fmla="*/ 35378 h 337825"/>
                <a:gd name="connsiteX26" fmla="*/ 210993 w 389216"/>
                <a:gd name="connsiteY26" fmla="*/ 2431 h 337825"/>
                <a:gd name="connsiteX27" fmla="*/ 144322 w 389216"/>
                <a:gd name="connsiteY27" fmla="*/ 6967 h 337825"/>
                <a:gd name="connsiteX28" fmla="*/ 100453 w 389216"/>
                <a:gd name="connsiteY28" fmla="*/ 44092 h 337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89216" h="337825">
                  <a:moveTo>
                    <a:pt x="100513" y="44152"/>
                  </a:moveTo>
                  <a:cubicBezTo>
                    <a:pt x="87262" y="66057"/>
                    <a:pt x="82905" y="86410"/>
                    <a:pt x="87381" y="105212"/>
                  </a:cubicBezTo>
                  <a:cubicBezTo>
                    <a:pt x="91858" y="124013"/>
                    <a:pt x="100572" y="140069"/>
                    <a:pt x="113464" y="153438"/>
                  </a:cubicBezTo>
                  <a:cubicBezTo>
                    <a:pt x="126357" y="166808"/>
                    <a:pt x="142950" y="181432"/>
                    <a:pt x="163303" y="197248"/>
                  </a:cubicBezTo>
                  <a:cubicBezTo>
                    <a:pt x="176673" y="207574"/>
                    <a:pt x="186103" y="215453"/>
                    <a:pt x="191475" y="220944"/>
                  </a:cubicBezTo>
                  <a:cubicBezTo>
                    <a:pt x="196847" y="226435"/>
                    <a:pt x="198279" y="231330"/>
                    <a:pt x="195713" y="235567"/>
                  </a:cubicBezTo>
                  <a:cubicBezTo>
                    <a:pt x="193146" y="239805"/>
                    <a:pt x="188670" y="241476"/>
                    <a:pt x="182343" y="240521"/>
                  </a:cubicBezTo>
                  <a:cubicBezTo>
                    <a:pt x="176016" y="239566"/>
                    <a:pt x="166466" y="235269"/>
                    <a:pt x="153693" y="227569"/>
                  </a:cubicBezTo>
                  <a:cubicBezTo>
                    <a:pt x="137697" y="217900"/>
                    <a:pt x="122417" y="205784"/>
                    <a:pt x="108033" y="191280"/>
                  </a:cubicBezTo>
                  <a:cubicBezTo>
                    <a:pt x="93589" y="176776"/>
                    <a:pt x="82427" y="161974"/>
                    <a:pt x="74549" y="146933"/>
                  </a:cubicBezTo>
                  <a:lnTo>
                    <a:pt x="0" y="201665"/>
                  </a:lnTo>
                  <a:cubicBezTo>
                    <a:pt x="9013" y="217781"/>
                    <a:pt x="23099" y="235030"/>
                    <a:pt x="42378" y="253414"/>
                  </a:cubicBezTo>
                  <a:cubicBezTo>
                    <a:pt x="61656" y="271737"/>
                    <a:pt x="82726" y="287853"/>
                    <a:pt x="105586" y="301640"/>
                  </a:cubicBezTo>
                  <a:cubicBezTo>
                    <a:pt x="135310" y="319606"/>
                    <a:pt x="163124" y="330827"/>
                    <a:pt x="189028" y="335304"/>
                  </a:cubicBezTo>
                  <a:cubicBezTo>
                    <a:pt x="214872" y="339780"/>
                    <a:pt x="237195" y="338288"/>
                    <a:pt x="255937" y="330887"/>
                  </a:cubicBezTo>
                  <a:cubicBezTo>
                    <a:pt x="274678" y="323486"/>
                    <a:pt x="289122" y="311429"/>
                    <a:pt x="299209" y="294777"/>
                  </a:cubicBezTo>
                  <a:cubicBezTo>
                    <a:pt x="312460" y="272872"/>
                    <a:pt x="316817" y="252518"/>
                    <a:pt x="312341" y="233717"/>
                  </a:cubicBezTo>
                  <a:cubicBezTo>
                    <a:pt x="307864" y="214916"/>
                    <a:pt x="299269" y="198800"/>
                    <a:pt x="286616" y="185371"/>
                  </a:cubicBezTo>
                  <a:cubicBezTo>
                    <a:pt x="273962" y="171941"/>
                    <a:pt x="257488" y="157318"/>
                    <a:pt x="237195" y="141441"/>
                  </a:cubicBezTo>
                  <a:cubicBezTo>
                    <a:pt x="224123" y="131295"/>
                    <a:pt x="214872" y="123356"/>
                    <a:pt x="209381" y="117626"/>
                  </a:cubicBezTo>
                  <a:cubicBezTo>
                    <a:pt x="203890" y="111897"/>
                    <a:pt x="202457" y="106883"/>
                    <a:pt x="205024" y="102645"/>
                  </a:cubicBezTo>
                  <a:cubicBezTo>
                    <a:pt x="210157" y="94170"/>
                    <a:pt x="224840" y="97214"/>
                    <a:pt x="249013" y="111837"/>
                  </a:cubicBezTo>
                  <a:cubicBezTo>
                    <a:pt x="277125" y="128848"/>
                    <a:pt x="299031" y="150991"/>
                    <a:pt x="314668" y="178268"/>
                  </a:cubicBezTo>
                  <a:lnTo>
                    <a:pt x="389217" y="123535"/>
                  </a:lnTo>
                  <a:cubicBezTo>
                    <a:pt x="379846" y="108077"/>
                    <a:pt x="366536" y="92558"/>
                    <a:pt x="349346" y="77040"/>
                  </a:cubicBezTo>
                  <a:cubicBezTo>
                    <a:pt x="332157" y="61521"/>
                    <a:pt x="313415" y="47674"/>
                    <a:pt x="293181" y="35378"/>
                  </a:cubicBezTo>
                  <a:cubicBezTo>
                    <a:pt x="264054" y="17771"/>
                    <a:pt x="236658" y="6848"/>
                    <a:pt x="210993" y="2431"/>
                  </a:cubicBezTo>
                  <a:cubicBezTo>
                    <a:pt x="185268" y="-1926"/>
                    <a:pt x="163064" y="-434"/>
                    <a:pt x="144322" y="6967"/>
                  </a:cubicBezTo>
                  <a:cubicBezTo>
                    <a:pt x="125581" y="14368"/>
                    <a:pt x="110958" y="26724"/>
                    <a:pt x="100453" y="44092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66" name="Forme libre : forme 165">
              <a:extLst>
                <a:ext uri="{FF2B5EF4-FFF2-40B4-BE49-F238E27FC236}">
                  <a16:creationId xmlns:a16="http://schemas.microsoft.com/office/drawing/2014/main" id="{B5CA725B-2396-CDBD-C681-11FB6E12F929}"/>
                </a:ext>
              </a:extLst>
            </p:cNvPr>
            <p:cNvSpPr/>
            <p:nvPr/>
          </p:nvSpPr>
          <p:spPr>
            <a:xfrm>
              <a:off x="7796831" y="748438"/>
              <a:ext cx="395245" cy="340577"/>
            </a:xfrm>
            <a:custGeom>
              <a:avLst/>
              <a:gdLst>
                <a:gd name="connsiteX0" fmla="*/ 96752 w 395245"/>
                <a:gd name="connsiteY0" fmla="*/ 95233 h 340577"/>
                <a:gd name="connsiteX1" fmla="*/ 117762 w 395245"/>
                <a:gd name="connsiteY1" fmla="*/ 145847 h 340577"/>
                <a:gd name="connsiteX2" fmla="*/ 162885 w 395245"/>
                <a:gd name="connsiteY2" fmla="*/ 194551 h 340577"/>
                <a:gd name="connsiteX3" fmla="*/ 188490 w 395245"/>
                <a:gd name="connsiteY3" fmla="*/ 221052 h 340577"/>
                <a:gd name="connsiteX4" fmla="*/ 191236 w 395245"/>
                <a:gd name="connsiteY4" fmla="*/ 236033 h 340577"/>
                <a:gd name="connsiteX5" fmla="*/ 177389 w 395245"/>
                <a:gd name="connsiteY5" fmla="*/ 239615 h 340577"/>
                <a:gd name="connsiteX6" fmla="*/ 150231 w 395245"/>
                <a:gd name="connsiteY6" fmla="*/ 223798 h 340577"/>
                <a:gd name="connsiteX7" fmla="*/ 108510 w 395245"/>
                <a:gd name="connsiteY7" fmla="*/ 183032 h 340577"/>
                <a:gd name="connsiteX8" fmla="*/ 79741 w 395245"/>
                <a:gd name="connsiteY8" fmla="*/ 135521 h 340577"/>
                <a:gd name="connsiteX9" fmla="*/ 0 w 395245"/>
                <a:gd name="connsiteY9" fmla="*/ 182315 h 340577"/>
                <a:gd name="connsiteX10" fmla="*/ 36886 w 395245"/>
                <a:gd name="connsiteY10" fmla="*/ 238122 h 340577"/>
                <a:gd name="connsiteX11" fmla="*/ 94842 w 395245"/>
                <a:gd name="connsiteY11" fmla="*/ 292557 h 340577"/>
                <a:gd name="connsiteX12" fmla="*/ 174404 w 395245"/>
                <a:gd name="connsiteY12" fmla="*/ 334576 h 340577"/>
                <a:gd name="connsiteX13" fmla="*/ 241432 w 395245"/>
                <a:gd name="connsiteY13" fmla="*/ 337023 h 340577"/>
                <a:gd name="connsiteX14" fmla="*/ 288167 w 395245"/>
                <a:gd name="connsiteY14" fmla="*/ 305509 h 340577"/>
                <a:gd name="connsiteX15" fmla="*/ 307446 w 395245"/>
                <a:gd name="connsiteY15" fmla="*/ 246121 h 340577"/>
                <a:gd name="connsiteX16" fmla="*/ 286794 w 395245"/>
                <a:gd name="connsiteY16" fmla="*/ 195447 h 340577"/>
                <a:gd name="connsiteX17" fmla="*/ 242089 w 395245"/>
                <a:gd name="connsiteY17" fmla="*/ 146683 h 340577"/>
                <a:gd name="connsiteX18" fmla="*/ 216901 w 395245"/>
                <a:gd name="connsiteY18" fmla="*/ 120182 h 340577"/>
                <a:gd name="connsiteX19" fmla="*/ 214156 w 395245"/>
                <a:gd name="connsiteY19" fmla="*/ 104842 h 340577"/>
                <a:gd name="connsiteX20" fmla="*/ 257011 w 395245"/>
                <a:gd name="connsiteY20" fmla="*/ 118451 h 340577"/>
                <a:gd name="connsiteX21" fmla="*/ 315504 w 395245"/>
                <a:gd name="connsiteY21" fmla="*/ 191268 h 340577"/>
                <a:gd name="connsiteX22" fmla="*/ 395245 w 395245"/>
                <a:gd name="connsiteY22" fmla="*/ 144474 h 340577"/>
                <a:gd name="connsiteX23" fmla="*/ 360328 w 395245"/>
                <a:gd name="connsiteY23" fmla="*/ 94158 h 340577"/>
                <a:gd name="connsiteX24" fmla="*/ 308699 w 395245"/>
                <a:gd name="connsiteY24" fmla="*/ 47006 h 340577"/>
                <a:gd name="connsiteX25" fmla="*/ 230271 w 395245"/>
                <a:gd name="connsiteY25" fmla="*/ 5882 h 340577"/>
                <a:gd name="connsiteX26" fmla="*/ 163482 w 395245"/>
                <a:gd name="connsiteY26" fmla="*/ 3614 h 340577"/>
                <a:gd name="connsiteX27" fmla="*/ 116090 w 395245"/>
                <a:gd name="connsiteY27" fmla="*/ 36083 h 340577"/>
                <a:gd name="connsiteX28" fmla="*/ 96812 w 395245"/>
                <a:gd name="connsiteY28" fmla="*/ 95471 h 340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95245" h="340577">
                  <a:moveTo>
                    <a:pt x="96752" y="95233"/>
                  </a:moveTo>
                  <a:cubicBezTo>
                    <a:pt x="99318" y="114392"/>
                    <a:pt x="106302" y="131283"/>
                    <a:pt x="117762" y="145847"/>
                  </a:cubicBezTo>
                  <a:cubicBezTo>
                    <a:pt x="129221" y="160470"/>
                    <a:pt x="144263" y="176705"/>
                    <a:pt x="162885" y="194551"/>
                  </a:cubicBezTo>
                  <a:cubicBezTo>
                    <a:pt x="175180" y="206190"/>
                    <a:pt x="183715" y="215024"/>
                    <a:pt x="188490" y="221052"/>
                  </a:cubicBezTo>
                  <a:cubicBezTo>
                    <a:pt x="193266" y="227080"/>
                    <a:pt x="194220" y="232034"/>
                    <a:pt x="191236" y="236033"/>
                  </a:cubicBezTo>
                  <a:cubicBezTo>
                    <a:pt x="188252" y="239973"/>
                    <a:pt x="183656" y="241167"/>
                    <a:pt x="177389" y="239615"/>
                  </a:cubicBezTo>
                  <a:cubicBezTo>
                    <a:pt x="171181" y="238003"/>
                    <a:pt x="162109" y="232751"/>
                    <a:pt x="150231" y="223798"/>
                  </a:cubicBezTo>
                  <a:cubicBezTo>
                    <a:pt x="135250" y="212517"/>
                    <a:pt x="121343" y="198908"/>
                    <a:pt x="108510" y="183032"/>
                  </a:cubicBezTo>
                  <a:cubicBezTo>
                    <a:pt x="95618" y="167095"/>
                    <a:pt x="86008" y="151278"/>
                    <a:pt x="79741" y="135521"/>
                  </a:cubicBezTo>
                  <a:lnTo>
                    <a:pt x="0" y="182315"/>
                  </a:lnTo>
                  <a:cubicBezTo>
                    <a:pt x="7282" y="199266"/>
                    <a:pt x="19577" y="217889"/>
                    <a:pt x="36886" y="238122"/>
                  </a:cubicBezTo>
                  <a:cubicBezTo>
                    <a:pt x="54195" y="258356"/>
                    <a:pt x="73534" y="276501"/>
                    <a:pt x="94842" y="292557"/>
                  </a:cubicBezTo>
                  <a:cubicBezTo>
                    <a:pt x="122596" y="313447"/>
                    <a:pt x="149097" y="327473"/>
                    <a:pt x="174404" y="334576"/>
                  </a:cubicBezTo>
                  <a:cubicBezTo>
                    <a:pt x="199652" y="341679"/>
                    <a:pt x="222034" y="342455"/>
                    <a:pt x="241432" y="337023"/>
                  </a:cubicBezTo>
                  <a:cubicBezTo>
                    <a:pt x="260831" y="331592"/>
                    <a:pt x="276409" y="321087"/>
                    <a:pt x="288167" y="305509"/>
                  </a:cubicBezTo>
                  <a:cubicBezTo>
                    <a:pt x="303566" y="285096"/>
                    <a:pt x="310013" y="265280"/>
                    <a:pt x="307446" y="246121"/>
                  </a:cubicBezTo>
                  <a:cubicBezTo>
                    <a:pt x="304879" y="226961"/>
                    <a:pt x="298016" y="210070"/>
                    <a:pt x="286794" y="195447"/>
                  </a:cubicBezTo>
                  <a:cubicBezTo>
                    <a:pt x="275573" y="180823"/>
                    <a:pt x="260711" y="164529"/>
                    <a:pt x="242089" y="146683"/>
                  </a:cubicBezTo>
                  <a:cubicBezTo>
                    <a:pt x="230092" y="135282"/>
                    <a:pt x="221736" y="126449"/>
                    <a:pt x="216901" y="120182"/>
                  </a:cubicBezTo>
                  <a:cubicBezTo>
                    <a:pt x="212067" y="113914"/>
                    <a:pt x="211112" y="108781"/>
                    <a:pt x="214156" y="104842"/>
                  </a:cubicBezTo>
                  <a:cubicBezTo>
                    <a:pt x="220125" y="96904"/>
                    <a:pt x="234389" y="101440"/>
                    <a:pt x="257011" y="118451"/>
                  </a:cubicBezTo>
                  <a:cubicBezTo>
                    <a:pt x="283273" y="138207"/>
                    <a:pt x="302731" y="162499"/>
                    <a:pt x="315504" y="191268"/>
                  </a:cubicBezTo>
                  <a:lnTo>
                    <a:pt x="395245" y="144474"/>
                  </a:lnTo>
                  <a:cubicBezTo>
                    <a:pt x="387486" y="128120"/>
                    <a:pt x="375847" y="111348"/>
                    <a:pt x="360328" y="94158"/>
                  </a:cubicBezTo>
                  <a:cubicBezTo>
                    <a:pt x="344810" y="76968"/>
                    <a:pt x="327620" y="61271"/>
                    <a:pt x="308699" y="47006"/>
                  </a:cubicBezTo>
                  <a:cubicBezTo>
                    <a:pt x="281542" y="26533"/>
                    <a:pt x="255399" y="12805"/>
                    <a:pt x="230271" y="5882"/>
                  </a:cubicBezTo>
                  <a:cubicBezTo>
                    <a:pt x="205143" y="-1102"/>
                    <a:pt x="182880" y="-1878"/>
                    <a:pt x="163482" y="3614"/>
                  </a:cubicBezTo>
                  <a:cubicBezTo>
                    <a:pt x="144083" y="9045"/>
                    <a:pt x="128267" y="19908"/>
                    <a:pt x="116090" y="36083"/>
                  </a:cubicBezTo>
                  <a:cubicBezTo>
                    <a:pt x="100691" y="56496"/>
                    <a:pt x="94245" y="76312"/>
                    <a:pt x="96812" y="95471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67" name="Forme libre : forme 166">
              <a:extLst>
                <a:ext uri="{FF2B5EF4-FFF2-40B4-BE49-F238E27FC236}">
                  <a16:creationId xmlns:a16="http://schemas.microsoft.com/office/drawing/2014/main" id="{648D72E7-8ACD-DFDA-A522-E55111669D56}"/>
                </a:ext>
              </a:extLst>
            </p:cNvPr>
            <p:cNvSpPr/>
            <p:nvPr/>
          </p:nvSpPr>
          <p:spPr>
            <a:xfrm rot="18696601">
              <a:off x="8042077" y="1017191"/>
              <a:ext cx="313414" cy="129520"/>
            </a:xfrm>
            <a:custGeom>
              <a:avLst/>
              <a:gdLst>
                <a:gd name="connsiteX0" fmla="*/ 0 w 313414"/>
                <a:gd name="connsiteY0" fmla="*/ 0 h 129520"/>
                <a:gd name="connsiteX1" fmla="*/ 313415 w 313414"/>
                <a:gd name="connsiteY1" fmla="*/ 0 h 129520"/>
                <a:gd name="connsiteX2" fmla="*/ 313415 w 313414"/>
                <a:gd name="connsiteY2" fmla="*/ 129520 h 129520"/>
                <a:gd name="connsiteX3" fmla="*/ 0 w 313414"/>
                <a:gd name="connsiteY3" fmla="*/ 129520 h 12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3414" h="129520">
                  <a:moveTo>
                    <a:pt x="0" y="0"/>
                  </a:moveTo>
                  <a:lnTo>
                    <a:pt x="313415" y="0"/>
                  </a:lnTo>
                  <a:lnTo>
                    <a:pt x="313415" y="129520"/>
                  </a:lnTo>
                  <a:lnTo>
                    <a:pt x="0" y="129520"/>
                  </a:ln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68" name="Forme libre : forme 167">
              <a:extLst>
                <a:ext uri="{FF2B5EF4-FFF2-40B4-BE49-F238E27FC236}">
                  <a16:creationId xmlns:a16="http://schemas.microsoft.com/office/drawing/2014/main" id="{18F864A4-1AD9-8F2E-B3C5-AB5F4A630FFF}"/>
                </a:ext>
              </a:extLst>
            </p:cNvPr>
            <p:cNvSpPr/>
            <p:nvPr/>
          </p:nvSpPr>
          <p:spPr>
            <a:xfrm>
              <a:off x="8289425" y="824147"/>
              <a:ext cx="149300" cy="145465"/>
            </a:xfrm>
            <a:custGeom>
              <a:avLst/>
              <a:gdLst>
                <a:gd name="connsiteX0" fmla="*/ 30440 w 149300"/>
                <a:gd name="connsiteY0" fmla="*/ 122125 h 145465"/>
                <a:gd name="connsiteX1" fmla="*/ 85591 w 149300"/>
                <a:gd name="connsiteY1" fmla="*/ 145462 h 145465"/>
                <a:gd name="connsiteX2" fmla="*/ 133996 w 149300"/>
                <a:gd name="connsiteY2" fmla="*/ 122901 h 145465"/>
                <a:gd name="connsiteX3" fmla="*/ 148560 w 149300"/>
                <a:gd name="connsiteY3" fmla="*/ 74555 h 145465"/>
                <a:gd name="connsiteX4" fmla="*/ 117941 w 149300"/>
                <a:gd name="connsiteY4" fmla="*/ 23582 h 145465"/>
                <a:gd name="connsiteX5" fmla="*/ 63387 w 149300"/>
                <a:gd name="connsiteY5" fmla="*/ 6 h 145465"/>
                <a:gd name="connsiteX6" fmla="*/ 15936 w 149300"/>
                <a:gd name="connsiteY6" fmla="*/ 21075 h 145465"/>
                <a:gd name="connsiteX7" fmla="*/ 597 w 149300"/>
                <a:gd name="connsiteY7" fmla="*/ 70675 h 145465"/>
                <a:gd name="connsiteX8" fmla="*/ 30440 w 149300"/>
                <a:gd name="connsiteY8" fmla="*/ 122065 h 145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9300" h="145465">
                  <a:moveTo>
                    <a:pt x="30440" y="122125"/>
                  </a:moveTo>
                  <a:cubicBezTo>
                    <a:pt x="48167" y="137882"/>
                    <a:pt x="66550" y="145641"/>
                    <a:pt x="85591" y="145462"/>
                  </a:cubicBezTo>
                  <a:cubicBezTo>
                    <a:pt x="104631" y="145283"/>
                    <a:pt x="120805" y="137763"/>
                    <a:pt x="133996" y="122901"/>
                  </a:cubicBezTo>
                  <a:cubicBezTo>
                    <a:pt x="146411" y="108934"/>
                    <a:pt x="151306" y="92819"/>
                    <a:pt x="148560" y="74555"/>
                  </a:cubicBezTo>
                  <a:cubicBezTo>
                    <a:pt x="145874" y="56290"/>
                    <a:pt x="135667" y="39339"/>
                    <a:pt x="117941" y="23582"/>
                  </a:cubicBezTo>
                  <a:cubicBezTo>
                    <a:pt x="100512" y="8123"/>
                    <a:pt x="82308" y="245"/>
                    <a:pt x="63387" y="6"/>
                  </a:cubicBezTo>
                  <a:cubicBezTo>
                    <a:pt x="44407" y="-233"/>
                    <a:pt x="28590" y="6810"/>
                    <a:pt x="15936" y="21075"/>
                  </a:cubicBezTo>
                  <a:cubicBezTo>
                    <a:pt x="3223" y="35340"/>
                    <a:pt x="-1851" y="51874"/>
                    <a:pt x="597" y="70675"/>
                  </a:cubicBezTo>
                  <a:cubicBezTo>
                    <a:pt x="3044" y="89476"/>
                    <a:pt x="13011" y="106606"/>
                    <a:pt x="30440" y="122065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69" name="Forme libre : forme 168">
              <a:extLst>
                <a:ext uri="{FF2B5EF4-FFF2-40B4-BE49-F238E27FC236}">
                  <a16:creationId xmlns:a16="http://schemas.microsoft.com/office/drawing/2014/main" id="{960CBE79-6147-83F3-098E-5D0885FC1430}"/>
                </a:ext>
              </a:extLst>
            </p:cNvPr>
            <p:cNvSpPr/>
            <p:nvPr/>
          </p:nvSpPr>
          <p:spPr>
            <a:xfrm>
              <a:off x="8234397" y="1110355"/>
              <a:ext cx="349667" cy="352174"/>
            </a:xfrm>
            <a:custGeom>
              <a:avLst/>
              <a:gdLst>
                <a:gd name="connsiteX0" fmla="*/ 127308 w 349667"/>
                <a:gd name="connsiteY0" fmla="*/ 2741 h 352174"/>
                <a:gd name="connsiteX1" fmla="*/ 50014 w 349667"/>
                <a:gd name="connsiteY1" fmla="*/ 43090 h 352174"/>
                <a:gd name="connsiteX2" fmla="*/ 4891 w 349667"/>
                <a:gd name="connsiteY2" fmla="*/ 117698 h 352174"/>
                <a:gd name="connsiteX3" fmla="*/ 7219 w 349667"/>
                <a:gd name="connsiteY3" fmla="*/ 204721 h 352174"/>
                <a:gd name="connsiteX4" fmla="*/ 56102 w 349667"/>
                <a:gd name="connsiteY4" fmla="*/ 287327 h 352174"/>
                <a:gd name="connsiteX5" fmla="*/ 135844 w 349667"/>
                <a:gd name="connsiteY5" fmla="*/ 341702 h 352174"/>
                <a:gd name="connsiteX6" fmla="*/ 222330 w 349667"/>
                <a:gd name="connsiteY6" fmla="*/ 349282 h 352174"/>
                <a:gd name="connsiteX7" fmla="*/ 299385 w 349667"/>
                <a:gd name="connsiteY7" fmla="*/ 308755 h 352174"/>
                <a:gd name="connsiteX8" fmla="*/ 344687 w 349667"/>
                <a:gd name="connsiteY8" fmla="*/ 234385 h 352174"/>
                <a:gd name="connsiteX9" fmla="*/ 342360 w 349667"/>
                <a:gd name="connsiteY9" fmla="*/ 147780 h 352174"/>
                <a:gd name="connsiteX10" fmla="*/ 292879 w 349667"/>
                <a:gd name="connsiteY10" fmla="*/ 64935 h 352174"/>
                <a:gd name="connsiteX11" fmla="*/ 213735 w 349667"/>
                <a:gd name="connsiteY11" fmla="*/ 10739 h 352174"/>
                <a:gd name="connsiteX12" fmla="*/ 127249 w 349667"/>
                <a:gd name="connsiteY12" fmla="*/ 2741 h 352174"/>
                <a:gd name="connsiteX13" fmla="*/ 219465 w 349667"/>
                <a:gd name="connsiteY13" fmla="*/ 133992 h 352174"/>
                <a:gd name="connsiteX14" fmla="*/ 232894 w 349667"/>
                <a:gd name="connsiteY14" fmla="*/ 171714 h 352174"/>
                <a:gd name="connsiteX15" fmla="*/ 209676 w 349667"/>
                <a:gd name="connsiteY15" fmla="*/ 213137 h 352174"/>
                <a:gd name="connsiteX16" fmla="*/ 166642 w 349667"/>
                <a:gd name="connsiteY16" fmla="*/ 233848 h 352174"/>
                <a:gd name="connsiteX17" fmla="*/ 129636 w 349667"/>
                <a:gd name="connsiteY17" fmla="*/ 218270 h 352174"/>
                <a:gd name="connsiteX18" fmla="*/ 116446 w 349667"/>
                <a:gd name="connsiteY18" fmla="*/ 180369 h 352174"/>
                <a:gd name="connsiteX19" fmla="*/ 139843 w 349667"/>
                <a:gd name="connsiteY19" fmla="*/ 138767 h 352174"/>
                <a:gd name="connsiteX20" fmla="*/ 182638 w 349667"/>
                <a:gd name="connsiteY20" fmla="*/ 118235 h 352174"/>
                <a:gd name="connsiteX21" fmla="*/ 219405 w 349667"/>
                <a:gd name="connsiteY21" fmla="*/ 133992 h 352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49667" h="352174">
                  <a:moveTo>
                    <a:pt x="127308" y="2741"/>
                  </a:moveTo>
                  <a:cubicBezTo>
                    <a:pt x="98599" y="8173"/>
                    <a:pt x="72874" y="21662"/>
                    <a:pt x="50014" y="43090"/>
                  </a:cubicBezTo>
                  <a:cubicBezTo>
                    <a:pt x="27154" y="64517"/>
                    <a:pt x="12113" y="89406"/>
                    <a:pt x="4891" y="117698"/>
                  </a:cubicBezTo>
                  <a:cubicBezTo>
                    <a:pt x="-2331" y="145989"/>
                    <a:pt x="-1555" y="174997"/>
                    <a:pt x="7219" y="204721"/>
                  </a:cubicBezTo>
                  <a:cubicBezTo>
                    <a:pt x="15993" y="234445"/>
                    <a:pt x="32287" y="262020"/>
                    <a:pt x="56102" y="287327"/>
                  </a:cubicBezTo>
                  <a:cubicBezTo>
                    <a:pt x="80156" y="312933"/>
                    <a:pt x="106717" y="331078"/>
                    <a:pt x="135844" y="341702"/>
                  </a:cubicBezTo>
                  <a:cubicBezTo>
                    <a:pt x="164971" y="352326"/>
                    <a:pt x="193799" y="354893"/>
                    <a:pt x="222330" y="349282"/>
                  </a:cubicBezTo>
                  <a:cubicBezTo>
                    <a:pt x="250860" y="343672"/>
                    <a:pt x="276585" y="330183"/>
                    <a:pt x="299385" y="308755"/>
                  </a:cubicBezTo>
                  <a:cubicBezTo>
                    <a:pt x="322245" y="287327"/>
                    <a:pt x="337346" y="262498"/>
                    <a:pt x="344687" y="234385"/>
                  </a:cubicBezTo>
                  <a:cubicBezTo>
                    <a:pt x="352029" y="206273"/>
                    <a:pt x="351253" y="177385"/>
                    <a:pt x="342360" y="147780"/>
                  </a:cubicBezTo>
                  <a:cubicBezTo>
                    <a:pt x="333407" y="118175"/>
                    <a:pt x="316933" y="90540"/>
                    <a:pt x="292879" y="64935"/>
                  </a:cubicBezTo>
                  <a:cubicBezTo>
                    <a:pt x="269064" y="39568"/>
                    <a:pt x="242683" y="21543"/>
                    <a:pt x="213735" y="10739"/>
                  </a:cubicBezTo>
                  <a:cubicBezTo>
                    <a:pt x="184727" y="-64"/>
                    <a:pt x="155898" y="-2690"/>
                    <a:pt x="127249" y="2741"/>
                  </a:cubicBezTo>
                  <a:close/>
                  <a:moveTo>
                    <a:pt x="219465" y="133992"/>
                  </a:moveTo>
                  <a:cubicBezTo>
                    <a:pt x="229671" y="144855"/>
                    <a:pt x="234148" y="157449"/>
                    <a:pt x="232894" y="171714"/>
                  </a:cubicBezTo>
                  <a:cubicBezTo>
                    <a:pt x="231641" y="185979"/>
                    <a:pt x="223882" y="199827"/>
                    <a:pt x="209676" y="213137"/>
                  </a:cubicBezTo>
                  <a:cubicBezTo>
                    <a:pt x="195471" y="226447"/>
                    <a:pt x="181146" y="233371"/>
                    <a:pt x="166642" y="233848"/>
                  </a:cubicBezTo>
                  <a:cubicBezTo>
                    <a:pt x="152138" y="234326"/>
                    <a:pt x="139843" y="229133"/>
                    <a:pt x="129636" y="218270"/>
                  </a:cubicBezTo>
                  <a:cubicBezTo>
                    <a:pt x="119430" y="207407"/>
                    <a:pt x="115013" y="194753"/>
                    <a:pt x="116446" y="180369"/>
                  </a:cubicBezTo>
                  <a:cubicBezTo>
                    <a:pt x="117818" y="165925"/>
                    <a:pt x="125637" y="152077"/>
                    <a:pt x="139843" y="138767"/>
                  </a:cubicBezTo>
                  <a:cubicBezTo>
                    <a:pt x="154048" y="125457"/>
                    <a:pt x="168313" y="118593"/>
                    <a:pt x="182638" y="118235"/>
                  </a:cubicBezTo>
                  <a:cubicBezTo>
                    <a:pt x="196963" y="117877"/>
                    <a:pt x="209258" y="123129"/>
                    <a:pt x="219405" y="133992"/>
                  </a:cubicBez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70" name="Forme libre : forme 169">
              <a:extLst>
                <a:ext uri="{FF2B5EF4-FFF2-40B4-BE49-F238E27FC236}">
                  <a16:creationId xmlns:a16="http://schemas.microsoft.com/office/drawing/2014/main" id="{C5154135-A4D0-BC90-B3BA-165CF89FF284}"/>
                </a:ext>
              </a:extLst>
            </p:cNvPr>
            <p:cNvSpPr/>
            <p:nvPr/>
          </p:nvSpPr>
          <p:spPr>
            <a:xfrm>
              <a:off x="8437388" y="1364735"/>
              <a:ext cx="414034" cy="464243"/>
            </a:xfrm>
            <a:custGeom>
              <a:avLst/>
              <a:gdLst>
                <a:gd name="connsiteX0" fmla="*/ 76101 w 414034"/>
                <a:gd name="connsiteY0" fmla="*/ 289122 h 464243"/>
                <a:gd name="connsiteX1" fmla="*/ 195175 w 414034"/>
                <a:gd name="connsiteY1" fmla="*/ 202457 h 464243"/>
                <a:gd name="connsiteX2" fmla="*/ 241790 w 414034"/>
                <a:gd name="connsiteY2" fmla="*/ 185208 h 464243"/>
                <a:gd name="connsiteX3" fmla="*/ 274797 w 414034"/>
                <a:gd name="connsiteY3" fmla="*/ 204785 h 464243"/>
                <a:gd name="connsiteX4" fmla="*/ 253847 w 414034"/>
                <a:gd name="connsiteY4" fmla="*/ 267516 h 464243"/>
                <a:gd name="connsiteX5" fmla="*/ 127371 w 414034"/>
                <a:gd name="connsiteY5" fmla="*/ 359553 h 464243"/>
                <a:gd name="connsiteX6" fmla="*/ 203591 w 414034"/>
                <a:gd name="connsiteY6" fmla="*/ 464243 h 464243"/>
                <a:gd name="connsiteX7" fmla="*/ 348152 w 414034"/>
                <a:gd name="connsiteY7" fmla="*/ 359075 h 464243"/>
                <a:gd name="connsiteX8" fmla="*/ 412673 w 414034"/>
                <a:gd name="connsiteY8" fmla="*/ 268531 h 464243"/>
                <a:gd name="connsiteX9" fmla="*/ 386173 w 414034"/>
                <a:gd name="connsiteY9" fmla="*/ 172674 h 464243"/>
                <a:gd name="connsiteX10" fmla="*/ 348092 w 414034"/>
                <a:gd name="connsiteY10" fmla="*/ 135907 h 464243"/>
                <a:gd name="connsiteX11" fmla="*/ 300880 w 414034"/>
                <a:gd name="connsiteY11" fmla="*/ 117822 h 464243"/>
                <a:gd name="connsiteX12" fmla="*/ 325889 w 414034"/>
                <a:gd name="connsiteY12" fmla="*/ 99617 h 464243"/>
                <a:gd name="connsiteX13" fmla="*/ 253429 w 414034"/>
                <a:gd name="connsiteY13" fmla="*/ 0 h 464243"/>
                <a:gd name="connsiteX14" fmla="*/ 0 w 414034"/>
                <a:gd name="connsiteY14" fmla="*/ 184432 h 464243"/>
                <a:gd name="connsiteX15" fmla="*/ 76220 w 414034"/>
                <a:gd name="connsiteY15" fmla="*/ 289122 h 464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14034" h="464243">
                  <a:moveTo>
                    <a:pt x="76101" y="289122"/>
                  </a:moveTo>
                  <a:lnTo>
                    <a:pt x="195175" y="202457"/>
                  </a:lnTo>
                  <a:cubicBezTo>
                    <a:pt x="212783" y="189625"/>
                    <a:pt x="228302" y="183895"/>
                    <a:pt x="241790" y="185208"/>
                  </a:cubicBezTo>
                  <a:cubicBezTo>
                    <a:pt x="255220" y="186521"/>
                    <a:pt x="266262" y="193027"/>
                    <a:pt x="274797" y="204785"/>
                  </a:cubicBezTo>
                  <a:cubicBezTo>
                    <a:pt x="289839" y="225496"/>
                    <a:pt x="282855" y="246387"/>
                    <a:pt x="253847" y="267516"/>
                  </a:cubicBezTo>
                  <a:lnTo>
                    <a:pt x="127371" y="359553"/>
                  </a:lnTo>
                  <a:lnTo>
                    <a:pt x="203591" y="464243"/>
                  </a:lnTo>
                  <a:lnTo>
                    <a:pt x="348152" y="359075"/>
                  </a:lnTo>
                  <a:cubicBezTo>
                    <a:pt x="386113" y="331440"/>
                    <a:pt x="407660" y="301239"/>
                    <a:pt x="412673" y="268531"/>
                  </a:cubicBezTo>
                  <a:cubicBezTo>
                    <a:pt x="417687" y="235822"/>
                    <a:pt x="408854" y="203890"/>
                    <a:pt x="386173" y="172674"/>
                  </a:cubicBezTo>
                  <a:cubicBezTo>
                    <a:pt x="375131" y="157513"/>
                    <a:pt x="362477" y="145277"/>
                    <a:pt x="348092" y="135907"/>
                  </a:cubicBezTo>
                  <a:cubicBezTo>
                    <a:pt x="333708" y="126536"/>
                    <a:pt x="317951" y="120507"/>
                    <a:pt x="300880" y="117822"/>
                  </a:cubicBezTo>
                  <a:lnTo>
                    <a:pt x="325889" y="99617"/>
                  </a:lnTo>
                  <a:lnTo>
                    <a:pt x="253429" y="0"/>
                  </a:lnTo>
                  <a:lnTo>
                    <a:pt x="0" y="184432"/>
                  </a:lnTo>
                  <a:lnTo>
                    <a:pt x="76220" y="289122"/>
                  </a:lnTo>
                  <a:close/>
                </a:path>
              </a:pathLst>
            </a:custGeom>
            <a:grpFill/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71" name="Forme libre : forme 170">
              <a:extLst>
                <a:ext uri="{FF2B5EF4-FFF2-40B4-BE49-F238E27FC236}">
                  <a16:creationId xmlns:a16="http://schemas.microsoft.com/office/drawing/2014/main" id="{2B6F490C-16BE-2CE5-89B3-92049A13CB56}"/>
                </a:ext>
              </a:extLst>
            </p:cNvPr>
            <p:cNvSpPr/>
            <p:nvPr/>
          </p:nvSpPr>
          <p:spPr>
            <a:xfrm>
              <a:off x="2786373" y="1973231"/>
              <a:ext cx="532654" cy="2952889"/>
            </a:xfrm>
            <a:custGeom>
              <a:avLst/>
              <a:gdLst>
                <a:gd name="connsiteX0" fmla="*/ 202935 w 532654"/>
                <a:gd name="connsiteY0" fmla="*/ 1519454 h 2952889"/>
                <a:gd name="connsiteX1" fmla="*/ 522139 w 532654"/>
                <a:gd name="connsiteY1" fmla="*/ 146422 h 2952889"/>
                <a:gd name="connsiteX2" fmla="*/ 476061 w 532654"/>
                <a:gd name="connsiteY2" fmla="*/ 10515 h 2952889"/>
                <a:gd name="connsiteX3" fmla="*/ 340154 w 532654"/>
                <a:gd name="connsiteY3" fmla="*/ 56593 h 2952889"/>
                <a:gd name="connsiteX4" fmla="*/ 0 w 532654"/>
                <a:gd name="connsiteY4" fmla="*/ 1519454 h 2952889"/>
                <a:gd name="connsiteX5" fmla="*/ 297956 w 532654"/>
                <a:gd name="connsiteY5" fmla="*/ 2893561 h 2952889"/>
                <a:gd name="connsiteX6" fmla="*/ 390291 w 532654"/>
                <a:gd name="connsiteY6" fmla="*/ 2952890 h 2952889"/>
                <a:gd name="connsiteX7" fmla="*/ 432430 w 532654"/>
                <a:gd name="connsiteY7" fmla="*/ 2943698 h 2952889"/>
                <a:gd name="connsiteX8" fmla="*/ 482507 w 532654"/>
                <a:gd name="connsiteY8" fmla="*/ 2809224 h 2952889"/>
                <a:gd name="connsiteX9" fmla="*/ 202875 w 532654"/>
                <a:gd name="connsiteY9" fmla="*/ 1519514 h 2952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32654" h="2952889">
                  <a:moveTo>
                    <a:pt x="202935" y="1519454"/>
                  </a:moveTo>
                  <a:cubicBezTo>
                    <a:pt x="202935" y="1037365"/>
                    <a:pt x="310311" y="575390"/>
                    <a:pt x="522139" y="146422"/>
                  </a:cubicBezTo>
                  <a:cubicBezTo>
                    <a:pt x="546969" y="96165"/>
                    <a:pt x="526317" y="35345"/>
                    <a:pt x="476061" y="10515"/>
                  </a:cubicBezTo>
                  <a:cubicBezTo>
                    <a:pt x="425805" y="-14315"/>
                    <a:pt x="364984" y="6337"/>
                    <a:pt x="340154" y="56593"/>
                  </a:cubicBezTo>
                  <a:cubicBezTo>
                    <a:pt x="114479" y="513793"/>
                    <a:pt x="0" y="1005970"/>
                    <a:pt x="0" y="1519454"/>
                  </a:cubicBezTo>
                  <a:cubicBezTo>
                    <a:pt x="0" y="1998679"/>
                    <a:pt x="100274" y="2461011"/>
                    <a:pt x="297956" y="2893561"/>
                  </a:cubicBezTo>
                  <a:cubicBezTo>
                    <a:pt x="315026" y="2930865"/>
                    <a:pt x="351793" y="2952890"/>
                    <a:pt x="390291" y="2952890"/>
                  </a:cubicBezTo>
                  <a:cubicBezTo>
                    <a:pt x="404377" y="2952890"/>
                    <a:pt x="418762" y="2949905"/>
                    <a:pt x="432430" y="2943698"/>
                  </a:cubicBezTo>
                  <a:cubicBezTo>
                    <a:pt x="483402" y="2920420"/>
                    <a:pt x="505845" y="2860196"/>
                    <a:pt x="482507" y="2809224"/>
                  </a:cubicBezTo>
                  <a:cubicBezTo>
                    <a:pt x="296941" y="2403354"/>
                    <a:pt x="202875" y="1969432"/>
                    <a:pt x="202875" y="1519514"/>
                  </a:cubicBezTo>
                  <a:close/>
                </a:path>
              </a:pathLst>
            </a:custGeom>
            <a:solidFill>
              <a:srgbClr val="9097B3"/>
            </a:solidFill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72" name="Forme libre : forme 171">
              <a:extLst>
                <a:ext uri="{FF2B5EF4-FFF2-40B4-BE49-F238E27FC236}">
                  <a16:creationId xmlns:a16="http://schemas.microsoft.com/office/drawing/2014/main" id="{41A56B8E-7D70-3AA7-20CD-347203BD0CAE}"/>
                </a:ext>
              </a:extLst>
            </p:cNvPr>
            <p:cNvSpPr/>
            <p:nvPr/>
          </p:nvSpPr>
          <p:spPr>
            <a:xfrm>
              <a:off x="8870550" y="1973257"/>
              <a:ext cx="532567" cy="2952803"/>
            </a:xfrm>
            <a:custGeom>
              <a:avLst/>
              <a:gdLst>
                <a:gd name="connsiteX0" fmla="*/ 192473 w 532567"/>
                <a:gd name="connsiteY0" fmla="*/ 56567 h 2952803"/>
                <a:gd name="connsiteX1" fmla="*/ 56567 w 532567"/>
                <a:gd name="connsiteY1" fmla="*/ 10489 h 2952803"/>
                <a:gd name="connsiteX2" fmla="*/ 10489 w 532567"/>
                <a:gd name="connsiteY2" fmla="*/ 146395 h 2952803"/>
                <a:gd name="connsiteX3" fmla="*/ 329693 w 532567"/>
                <a:gd name="connsiteY3" fmla="*/ 1519428 h 2952803"/>
                <a:gd name="connsiteX4" fmla="*/ 50061 w 532567"/>
                <a:gd name="connsiteY4" fmla="*/ 2809138 h 2952803"/>
                <a:gd name="connsiteX5" fmla="*/ 100138 w 532567"/>
                <a:gd name="connsiteY5" fmla="*/ 2943612 h 2952803"/>
                <a:gd name="connsiteX6" fmla="*/ 142277 w 532567"/>
                <a:gd name="connsiteY6" fmla="*/ 2952804 h 2952803"/>
                <a:gd name="connsiteX7" fmla="*/ 234613 w 532567"/>
                <a:gd name="connsiteY7" fmla="*/ 2893475 h 2952803"/>
                <a:gd name="connsiteX8" fmla="*/ 532568 w 532567"/>
                <a:gd name="connsiteY8" fmla="*/ 1519368 h 2952803"/>
                <a:gd name="connsiteX9" fmla="*/ 192354 w 532567"/>
                <a:gd name="connsiteY9" fmla="*/ 56507 h 2952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32567" h="2952803">
                  <a:moveTo>
                    <a:pt x="192473" y="56567"/>
                  </a:moveTo>
                  <a:cubicBezTo>
                    <a:pt x="167644" y="6311"/>
                    <a:pt x="106823" y="-14281"/>
                    <a:pt x="56567" y="10489"/>
                  </a:cubicBezTo>
                  <a:cubicBezTo>
                    <a:pt x="6311" y="35318"/>
                    <a:pt x="-14281" y="96139"/>
                    <a:pt x="10489" y="146395"/>
                  </a:cubicBezTo>
                  <a:cubicBezTo>
                    <a:pt x="222317" y="575423"/>
                    <a:pt x="329693" y="1037339"/>
                    <a:pt x="329693" y="1519428"/>
                  </a:cubicBezTo>
                  <a:cubicBezTo>
                    <a:pt x="329693" y="1969346"/>
                    <a:pt x="235627" y="2403268"/>
                    <a:pt x="50061" y="2809138"/>
                  </a:cubicBezTo>
                  <a:cubicBezTo>
                    <a:pt x="26783" y="2860110"/>
                    <a:pt x="49166" y="2920334"/>
                    <a:pt x="100138" y="2943612"/>
                  </a:cubicBezTo>
                  <a:cubicBezTo>
                    <a:pt x="113807" y="2949879"/>
                    <a:pt x="128131" y="2952804"/>
                    <a:pt x="142277" y="2952804"/>
                  </a:cubicBezTo>
                  <a:cubicBezTo>
                    <a:pt x="180775" y="2952804"/>
                    <a:pt x="217602" y="2930779"/>
                    <a:pt x="234613" y="2893475"/>
                  </a:cubicBezTo>
                  <a:cubicBezTo>
                    <a:pt x="432355" y="2460985"/>
                    <a:pt x="532568" y="1998653"/>
                    <a:pt x="532568" y="1519368"/>
                  </a:cubicBezTo>
                  <a:cubicBezTo>
                    <a:pt x="532568" y="1005824"/>
                    <a:pt x="418089" y="513648"/>
                    <a:pt x="192354" y="56507"/>
                  </a:cubicBezTo>
                  <a:close/>
                </a:path>
              </a:pathLst>
            </a:custGeom>
            <a:solidFill>
              <a:srgbClr val="9097B3"/>
            </a:solidFill>
            <a:ln w="59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pic>
        <p:nvPicPr>
          <p:cNvPr id="173" name="Image 172" descr="Une image contenant texte, Carmin, logo, Police&#10;&#10;Le contenu généré par l’IA peut être incorrect.">
            <a:extLst>
              <a:ext uri="{FF2B5EF4-FFF2-40B4-BE49-F238E27FC236}">
                <a16:creationId xmlns:a16="http://schemas.microsoft.com/office/drawing/2014/main" id="{3B481587-F5CC-B7A8-5E38-3DB74731C372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4227"/>
          <a:stretch/>
        </p:blipFill>
        <p:spPr>
          <a:xfrm>
            <a:off x="2320717" y="15584293"/>
            <a:ext cx="597642" cy="715326"/>
          </a:xfrm>
          <a:prstGeom prst="rect">
            <a:avLst/>
          </a:prstGeom>
        </p:spPr>
      </p:pic>
      <p:sp>
        <p:nvSpPr>
          <p:cNvPr id="43" name="ZoneTexte 42">
            <a:extLst>
              <a:ext uri="{FF2B5EF4-FFF2-40B4-BE49-F238E27FC236}">
                <a16:creationId xmlns:a16="http://schemas.microsoft.com/office/drawing/2014/main" id="{AAAFE6A9-45DF-20E3-BE1D-AEE994E36B05}"/>
              </a:ext>
            </a:extLst>
          </p:cNvPr>
          <p:cNvSpPr txBox="1"/>
          <p:nvPr/>
        </p:nvSpPr>
        <p:spPr>
          <a:xfrm>
            <a:off x="5791200" y="2946400"/>
            <a:ext cx="134982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fr-FR" sz="1000">
                <a:solidFill>
                  <a:schemeClr val="tx2"/>
                </a:solidFill>
              </a:rPr>
              <a:t>Une meilleure gestion de son </a:t>
            </a:r>
            <a:br>
              <a:rPr lang="fr-FR" sz="1000">
                <a:solidFill>
                  <a:schemeClr val="tx2"/>
                </a:solidFill>
              </a:rPr>
            </a:br>
            <a:r>
              <a:rPr lang="fr-FR" sz="1000">
                <a:solidFill>
                  <a:schemeClr val="tx2"/>
                </a:solidFill>
              </a:rPr>
              <a:t>stock &amp; observance </a:t>
            </a:r>
            <a:br>
              <a:rPr lang="fr-FR" sz="1000">
                <a:solidFill>
                  <a:schemeClr val="tx2"/>
                </a:solidFill>
              </a:rPr>
            </a:br>
            <a:r>
              <a:rPr lang="fr-FR" sz="1000">
                <a:solidFill>
                  <a:schemeClr val="tx2"/>
                </a:solidFill>
              </a:rPr>
              <a:t>des traitements</a:t>
            </a:r>
            <a:endParaRPr lang="fr-FR" sz="1000" b="1">
              <a:solidFill>
                <a:schemeClr val="tx2"/>
              </a:solidFill>
              <a:latin typeface="+mj-lt"/>
            </a:endParaRPr>
          </a:p>
        </p:txBody>
      </p:sp>
      <p:sp>
        <p:nvSpPr>
          <p:cNvPr id="44" name="ZoneTexte 43">
            <a:extLst>
              <a:ext uri="{FF2B5EF4-FFF2-40B4-BE49-F238E27FC236}">
                <a16:creationId xmlns:a16="http://schemas.microsoft.com/office/drawing/2014/main" id="{975CE0CB-B614-CF84-FB19-532EDB7675CC}"/>
              </a:ext>
            </a:extLst>
          </p:cNvPr>
          <p:cNvSpPr txBox="1"/>
          <p:nvPr/>
        </p:nvSpPr>
        <p:spPr>
          <a:xfrm>
            <a:off x="10566400" y="2946400"/>
            <a:ext cx="1349828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1000">
                <a:solidFill>
                  <a:schemeClr val="tx2"/>
                </a:solidFill>
              </a:rPr>
              <a:t>Modèle gagnant pour les assureurs, les mutuelles et la Sécu grâce à une délivrance raisonnée des médicaments</a:t>
            </a:r>
            <a:endParaRPr lang="fr-FR" sz="1000" b="1">
              <a:solidFill>
                <a:schemeClr val="tx2"/>
              </a:solidFill>
              <a:latin typeface="+mj-lt"/>
            </a:endParaRPr>
          </a:p>
        </p:txBody>
      </p:sp>
      <p:sp>
        <p:nvSpPr>
          <p:cNvPr id="45" name="ZoneTexte 44">
            <a:extLst>
              <a:ext uri="{FF2B5EF4-FFF2-40B4-BE49-F238E27FC236}">
                <a16:creationId xmlns:a16="http://schemas.microsoft.com/office/drawing/2014/main" id="{2442C7DC-F790-AD3A-2C51-586807458880}"/>
              </a:ext>
            </a:extLst>
          </p:cNvPr>
          <p:cNvSpPr txBox="1"/>
          <p:nvPr/>
        </p:nvSpPr>
        <p:spPr>
          <a:xfrm>
            <a:off x="7946571" y="6095999"/>
            <a:ext cx="178525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00">
                <a:solidFill>
                  <a:schemeClr val="tx2"/>
                </a:solidFill>
              </a:rPr>
              <a:t>Zéro gâchis, zéro surstock, réduction à la source</a:t>
            </a:r>
            <a:endParaRPr lang="fr-FR" sz="1000" b="1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593512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8333E-6 -7.40741E-7 L -0.05143 -0.08727 " pathEditMode="relative" rAng="0" ptsTypes="AA">
                                      <p:cBhvr>
                                        <p:cTn id="9" dur="2000" spd="-1000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78" y="-4375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-7.40741E-7 L 0.0444 -0.0787 " pathEditMode="relative" rAng="0" ptsTypes="AA">
                                      <p:cBhvr>
                                        <p:cTn id="14" dur="2000" spd="-1000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14" y="-3935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022E-16 4.07407E-6 L 1.11022E-16 0.11574 " pathEditMode="relative" rAng="0" ptsTypes="AA">
                                      <p:cBhvr>
                                        <p:cTn id="19" dur="2000" spd="-100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787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1.45833E-6 0 L -0.02552 -0.00069 " pathEditMode="relative" rAng="0" ptsTypes="AA">
                                      <p:cBhvr>
                                        <p:cTn id="24" dur="2000" spd="-1000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76" y="-46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4.79167E-6 0 L 0.0211 0.00139 " pathEditMode="relative" rAng="0" ptsTypes="AA">
                                      <p:cBhvr>
                                        <p:cTn id="29" dur="2000" spd="-1000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55" y="69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1.11022E-16 -2.59259E-6 L 1.11022E-16 0.0375 " pathEditMode="relative" rAng="0" ptsTypes="AA">
                                      <p:cBhvr>
                                        <p:cTn id="34" dur="2000" spd="-1000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75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" presetClass="emph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Scale>
                                      <p:cBhvr>
                                        <p:cTn id="39" dur="750" fill="hold"/>
                                        <p:tgtEl>
                                          <p:spTgt spid="127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6" presetClass="emp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Scale>
                                      <p:cBhvr>
                                        <p:cTn id="41" dur="1000" fill="hold"/>
                                        <p:tgtEl>
                                          <p:spTgt spid="127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1.45833E-6 2.96296E-6 L -0.02552 -0.0007 " pathEditMode="relative" rAng="0" ptsTypes="AA">
                                      <p:cBhvr>
                                        <p:cTn id="46" dur="20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76" y="-46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42" presetClass="path" presetSubtype="0" decel="10000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4.79167E-6 -7.40741E-7 L 0.02109 0.00139 " pathEditMode="relative" rAng="0" ptsTypes="AA">
                                      <p:cBhvr>
                                        <p:cTn id="51" dur="20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55" y="69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42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1.11022E-16 -2.59259E-6 L 1.11022E-16 0.0375 " pathEditMode="relative" rAng="0" ptsTypes="AA">
                                      <p:cBhvr>
                                        <p:cTn id="56" dur="20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7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9" grpId="0"/>
      <p:bldP spid="139" grpId="1"/>
      <p:bldP spid="140" grpId="0"/>
      <p:bldP spid="140" grpId="1"/>
      <p:bldP spid="141" grpId="0"/>
      <p:bldP spid="141" grpId="1"/>
      <p:bldP spid="43" grpId="0"/>
      <p:bldP spid="43" grpId="1"/>
      <p:bldP spid="44" grpId="0"/>
      <p:bldP spid="44" grpId="1"/>
      <p:bldP spid="45" grpId="0"/>
      <p:bldP spid="45" grpId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4C7D6">
            <a:alpha val="5000"/>
          </a:srgb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D1CA0C2-2C7B-93F4-42C8-BFFC673941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tangle 78">
            <a:extLst>
              <a:ext uri="{FF2B5EF4-FFF2-40B4-BE49-F238E27FC236}">
                <a16:creationId xmlns:a16="http://schemas.microsoft.com/office/drawing/2014/main" id="{53F4088F-E513-A139-C3AA-CF191A69C4DF}"/>
              </a:ext>
            </a:extLst>
          </p:cNvPr>
          <p:cNvSpPr/>
          <p:nvPr/>
        </p:nvSpPr>
        <p:spPr>
          <a:xfrm>
            <a:off x="0" y="4470400"/>
            <a:ext cx="12192000" cy="2387600"/>
          </a:xfrm>
          <a:prstGeom prst="rect">
            <a:avLst/>
          </a:prstGeom>
          <a:solidFill>
            <a:srgbClr val="9097B3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C6A361E2-70F8-7673-ACAC-EE6C71A84260}"/>
              </a:ext>
            </a:extLst>
          </p:cNvPr>
          <p:cNvGrpSpPr/>
          <p:nvPr/>
        </p:nvGrpSpPr>
        <p:grpSpPr>
          <a:xfrm>
            <a:off x="572667" y="487521"/>
            <a:ext cx="364153" cy="284070"/>
            <a:chOff x="1148496" y="1062130"/>
            <a:chExt cx="364153" cy="284070"/>
          </a:xfrm>
        </p:grpSpPr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E0A0440D-51C6-A20B-673C-72F972B1EE86}"/>
                </a:ext>
              </a:extLst>
            </p:cNvPr>
            <p:cNvSpPr/>
            <p:nvPr/>
          </p:nvSpPr>
          <p:spPr>
            <a:xfrm>
              <a:off x="1148496" y="1062130"/>
              <a:ext cx="284156" cy="284070"/>
            </a:xfrm>
            <a:custGeom>
              <a:avLst/>
              <a:gdLst>
                <a:gd name="connsiteX0" fmla="*/ 1927193 w 3012185"/>
                <a:gd name="connsiteY0" fmla="*/ 3011281 h 3011281"/>
                <a:gd name="connsiteX1" fmla="*/ 1159955 w 3012185"/>
                <a:gd name="connsiteY1" fmla="*/ 2694003 h 3011281"/>
                <a:gd name="connsiteX2" fmla="*/ 317754 w 3012185"/>
                <a:gd name="connsiteY2" fmla="*/ 1851803 h 3011281"/>
                <a:gd name="connsiteX3" fmla="*/ 0 w 3012185"/>
                <a:gd name="connsiteY3" fmla="*/ 1084564 h 3011281"/>
                <a:gd name="connsiteX4" fmla="*/ 317754 w 3012185"/>
                <a:gd name="connsiteY4" fmla="*/ 317325 h 3011281"/>
                <a:gd name="connsiteX5" fmla="*/ 1852232 w 3012185"/>
                <a:gd name="connsiteY5" fmla="*/ 317325 h 3011281"/>
                <a:gd name="connsiteX6" fmla="*/ 2694432 w 3012185"/>
                <a:gd name="connsiteY6" fmla="*/ 1159526 h 3011281"/>
                <a:gd name="connsiteX7" fmla="*/ 3012186 w 3012185"/>
                <a:gd name="connsiteY7" fmla="*/ 1926765 h 3011281"/>
                <a:gd name="connsiteX8" fmla="*/ 2694432 w 3012185"/>
                <a:gd name="connsiteY8" fmla="*/ 2694003 h 3011281"/>
                <a:gd name="connsiteX9" fmla="*/ 1927193 w 3012185"/>
                <a:gd name="connsiteY9" fmla="*/ 3011281 h 3011281"/>
                <a:gd name="connsiteX10" fmla="*/ 1084993 w 3012185"/>
                <a:gd name="connsiteY10" fmla="*/ 480012 h 3011281"/>
                <a:gd name="connsiteX11" fmla="*/ 657320 w 3012185"/>
                <a:gd name="connsiteY11" fmla="*/ 656892 h 3011281"/>
                <a:gd name="connsiteX12" fmla="*/ 480155 w 3012185"/>
                <a:gd name="connsiteY12" fmla="*/ 1084564 h 3011281"/>
                <a:gd name="connsiteX13" fmla="*/ 657320 w 3012185"/>
                <a:gd name="connsiteY13" fmla="*/ 1512237 h 3011281"/>
                <a:gd name="connsiteX14" fmla="*/ 1499521 w 3012185"/>
                <a:gd name="connsiteY14" fmla="*/ 2354437 h 3011281"/>
                <a:gd name="connsiteX15" fmla="*/ 2354961 w 3012185"/>
                <a:gd name="connsiteY15" fmla="*/ 2354437 h 3011281"/>
                <a:gd name="connsiteX16" fmla="*/ 2532126 w 3012185"/>
                <a:gd name="connsiteY16" fmla="*/ 1926765 h 3011281"/>
                <a:gd name="connsiteX17" fmla="*/ 2354961 w 3012185"/>
                <a:gd name="connsiteY17" fmla="*/ 1499092 h 3011281"/>
                <a:gd name="connsiteX18" fmla="*/ 1512761 w 3012185"/>
                <a:gd name="connsiteY18" fmla="*/ 656892 h 3011281"/>
                <a:gd name="connsiteX19" fmla="*/ 1084993 w 3012185"/>
                <a:gd name="connsiteY19" fmla="*/ 480012 h 301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12185" h="3011281">
                  <a:moveTo>
                    <a:pt x="1927193" y="3011281"/>
                  </a:moveTo>
                  <a:cubicBezTo>
                    <a:pt x="1649349" y="3011281"/>
                    <a:pt x="1371505" y="2905554"/>
                    <a:pt x="1159955" y="2694003"/>
                  </a:cubicBezTo>
                  <a:lnTo>
                    <a:pt x="317754" y="1851803"/>
                  </a:lnTo>
                  <a:cubicBezTo>
                    <a:pt x="112871" y="1646825"/>
                    <a:pt x="0" y="1374410"/>
                    <a:pt x="0" y="1084564"/>
                  </a:cubicBezTo>
                  <a:cubicBezTo>
                    <a:pt x="0" y="794718"/>
                    <a:pt x="112871" y="522303"/>
                    <a:pt x="317754" y="317325"/>
                  </a:cubicBezTo>
                  <a:cubicBezTo>
                    <a:pt x="740855" y="-105775"/>
                    <a:pt x="1429131" y="-105775"/>
                    <a:pt x="1852232" y="317325"/>
                  </a:cubicBezTo>
                  <a:lnTo>
                    <a:pt x="2694432" y="1159526"/>
                  </a:lnTo>
                  <a:cubicBezTo>
                    <a:pt x="2899410" y="1364504"/>
                    <a:pt x="3012186" y="1636919"/>
                    <a:pt x="3012186" y="1926765"/>
                  </a:cubicBezTo>
                  <a:cubicBezTo>
                    <a:pt x="3012186" y="2216611"/>
                    <a:pt x="2899315" y="2489025"/>
                    <a:pt x="2694432" y="2694003"/>
                  </a:cubicBezTo>
                  <a:cubicBezTo>
                    <a:pt x="2489549" y="2898982"/>
                    <a:pt x="2205038" y="3011281"/>
                    <a:pt x="1927193" y="3011281"/>
                  </a:cubicBezTo>
                  <a:close/>
                  <a:moveTo>
                    <a:pt x="1084993" y="480012"/>
                  </a:moveTo>
                  <a:cubicBezTo>
                    <a:pt x="930116" y="480012"/>
                    <a:pt x="775240" y="538972"/>
                    <a:pt x="657320" y="656892"/>
                  </a:cubicBezTo>
                  <a:cubicBezTo>
                    <a:pt x="543116" y="771096"/>
                    <a:pt x="480155" y="923020"/>
                    <a:pt x="480155" y="1084564"/>
                  </a:cubicBezTo>
                  <a:cubicBezTo>
                    <a:pt x="480155" y="1246108"/>
                    <a:pt x="543020" y="1398032"/>
                    <a:pt x="657320" y="1512237"/>
                  </a:cubicBezTo>
                  <a:lnTo>
                    <a:pt x="1499521" y="2354437"/>
                  </a:lnTo>
                  <a:cubicBezTo>
                    <a:pt x="1735360" y="2590276"/>
                    <a:pt x="2119122" y="2590276"/>
                    <a:pt x="2354961" y="2354437"/>
                  </a:cubicBezTo>
                  <a:cubicBezTo>
                    <a:pt x="2469166" y="2240233"/>
                    <a:pt x="2532126" y="2088309"/>
                    <a:pt x="2532126" y="1926765"/>
                  </a:cubicBezTo>
                  <a:cubicBezTo>
                    <a:pt x="2532126" y="1765221"/>
                    <a:pt x="2469261" y="1613297"/>
                    <a:pt x="2354961" y="1499092"/>
                  </a:cubicBezTo>
                  <a:lnTo>
                    <a:pt x="1512761" y="656892"/>
                  </a:lnTo>
                  <a:cubicBezTo>
                    <a:pt x="1394841" y="538972"/>
                    <a:pt x="1239964" y="480012"/>
                    <a:pt x="1084993" y="480012"/>
                  </a:cubicBezTo>
                  <a:close/>
                </a:path>
              </a:pathLst>
            </a:custGeom>
            <a:solidFill>
              <a:srgbClr val="9097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EC70A1A5-542B-90F2-E908-4F17B08CB61B}"/>
                </a:ext>
              </a:extLst>
            </p:cNvPr>
            <p:cNvSpPr/>
            <p:nvPr/>
          </p:nvSpPr>
          <p:spPr>
            <a:xfrm>
              <a:off x="1228502" y="1062130"/>
              <a:ext cx="284147" cy="284070"/>
            </a:xfrm>
            <a:custGeom>
              <a:avLst/>
              <a:gdLst>
                <a:gd name="connsiteX0" fmla="*/ 1084993 w 3012090"/>
                <a:gd name="connsiteY0" fmla="*/ 3011281 h 3011281"/>
                <a:gd name="connsiteX1" fmla="*/ 317754 w 3012090"/>
                <a:gd name="connsiteY1" fmla="*/ 2694003 h 3011281"/>
                <a:gd name="connsiteX2" fmla="*/ 0 w 3012090"/>
                <a:gd name="connsiteY2" fmla="*/ 1926765 h 3011281"/>
                <a:gd name="connsiteX3" fmla="*/ 317754 w 3012090"/>
                <a:gd name="connsiteY3" fmla="*/ 1159526 h 3011281"/>
                <a:gd name="connsiteX4" fmla="*/ 1159955 w 3012090"/>
                <a:gd name="connsiteY4" fmla="*/ 317325 h 3011281"/>
                <a:gd name="connsiteX5" fmla="*/ 2694337 w 3012090"/>
                <a:gd name="connsiteY5" fmla="*/ 317325 h 3011281"/>
                <a:gd name="connsiteX6" fmla="*/ 3012091 w 3012090"/>
                <a:gd name="connsiteY6" fmla="*/ 1084564 h 3011281"/>
                <a:gd name="connsiteX7" fmla="*/ 2694337 w 3012090"/>
                <a:gd name="connsiteY7" fmla="*/ 1851803 h 3011281"/>
                <a:gd name="connsiteX8" fmla="*/ 1852136 w 3012090"/>
                <a:gd name="connsiteY8" fmla="*/ 2694003 h 3011281"/>
                <a:gd name="connsiteX9" fmla="*/ 1084898 w 3012090"/>
                <a:gd name="connsiteY9" fmla="*/ 3011281 h 3011281"/>
                <a:gd name="connsiteX10" fmla="*/ 1927098 w 3012090"/>
                <a:gd name="connsiteY10" fmla="*/ 480012 h 3011281"/>
                <a:gd name="connsiteX11" fmla="*/ 1499426 w 3012090"/>
                <a:gd name="connsiteY11" fmla="*/ 656892 h 3011281"/>
                <a:gd name="connsiteX12" fmla="*/ 657225 w 3012090"/>
                <a:gd name="connsiteY12" fmla="*/ 1499092 h 3011281"/>
                <a:gd name="connsiteX13" fmla="*/ 480060 w 3012090"/>
                <a:gd name="connsiteY13" fmla="*/ 1926765 h 3011281"/>
                <a:gd name="connsiteX14" fmla="*/ 657225 w 3012090"/>
                <a:gd name="connsiteY14" fmla="*/ 2354437 h 3011281"/>
                <a:gd name="connsiteX15" fmla="*/ 1512570 w 3012090"/>
                <a:gd name="connsiteY15" fmla="*/ 2354437 h 3011281"/>
                <a:gd name="connsiteX16" fmla="*/ 2354771 w 3012090"/>
                <a:gd name="connsiteY16" fmla="*/ 1512237 h 3011281"/>
                <a:gd name="connsiteX17" fmla="*/ 2531935 w 3012090"/>
                <a:gd name="connsiteY17" fmla="*/ 1084564 h 3011281"/>
                <a:gd name="connsiteX18" fmla="*/ 2354771 w 3012090"/>
                <a:gd name="connsiteY18" fmla="*/ 656892 h 3011281"/>
                <a:gd name="connsiteX19" fmla="*/ 1927098 w 3012090"/>
                <a:gd name="connsiteY19" fmla="*/ 480012 h 301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12090" h="3011281">
                  <a:moveTo>
                    <a:pt x="1084993" y="3011281"/>
                  </a:moveTo>
                  <a:cubicBezTo>
                    <a:pt x="807149" y="3011281"/>
                    <a:pt x="529304" y="2905554"/>
                    <a:pt x="317754" y="2694003"/>
                  </a:cubicBezTo>
                  <a:cubicBezTo>
                    <a:pt x="106204" y="2482453"/>
                    <a:pt x="0" y="2216611"/>
                    <a:pt x="0" y="1926765"/>
                  </a:cubicBezTo>
                  <a:cubicBezTo>
                    <a:pt x="0" y="1636919"/>
                    <a:pt x="112871" y="1364504"/>
                    <a:pt x="317754" y="1159526"/>
                  </a:cubicBezTo>
                  <a:lnTo>
                    <a:pt x="1159955" y="317325"/>
                  </a:lnTo>
                  <a:cubicBezTo>
                    <a:pt x="1582960" y="-105775"/>
                    <a:pt x="2271332" y="-105775"/>
                    <a:pt x="2694337" y="317325"/>
                  </a:cubicBezTo>
                  <a:cubicBezTo>
                    <a:pt x="2899315" y="522303"/>
                    <a:pt x="3012091" y="794718"/>
                    <a:pt x="3012091" y="1084564"/>
                  </a:cubicBezTo>
                  <a:cubicBezTo>
                    <a:pt x="3012091" y="1374410"/>
                    <a:pt x="2899220" y="1646825"/>
                    <a:pt x="2694337" y="1851803"/>
                  </a:cubicBezTo>
                  <a:lnTo>
                    <a:pt x="1852136" y="2694003"/>
                  </a:lnTo>
                  <a:cubicBezTo>
                    <a:pt x="1640586" y="2905554"/>
                    <a:pt x="1362742" y="3011281"/>
                    <a:pt x="1084898" y="3011281"/>
                  </a:cubicBezTo>
                  <a:close/>
                  <a:moveTo>
                    <a:pt x="1927098" y="480012"/>
                  </a:moveTo>
                  <a:cubicBezTo>
                    <a:pt x="1772222" y="480012"/>
                    <a:pt x="1617345" y="538972"/>
                    <a:pt x="1499426" y="656892"/>
                  </a:cubicBezTo>
                  <a:lnTo>
                    <a:pt x="657225" y="1499092"/>
                  </a:lnTo>
                  <a:cubicBezTo>
                    <a:pt x="543020" y="1613297"/>
                    <a:pt x="480060" y="1765221"/>
                    <a:pt x="480060" y="1926765"/>
                  </a:cubicBezTo>
                  <a:cubicBezTo>
                    <a:pt x="480060" y="2088309"/>
                    <a:pt x="542925" y="2240233"/>
                    <a:pt x="657225" y="2354437"/>
                  </a:cubicBezTo>
                  <a:cubicBezTo>
                    <a:pt x="893064" y="2590276"/>
                    <a:pt x="1276731" y="2590276"/>
                    <a:pt x="1512570" y="2354437"/>
                  </a:cubicBezTo>
                  <a:lnTo>
                    <a:pt x="2354771" y="1512237"/>
                  </a:lnTo>
                  <a:cubicBezTo>
                    <a:pt x="2468975" y="1398032"/>
                    <a:pt x="2531935" y="1246108"/>
                    <a:pt x="2531935" y="1084564"/>
                  </a:cubicBezTo>
                  <a:cubicBezTo>
                    <a:pt x="2531935" y="923020"/>
                    <a:pt x="2469071" y="771096"/>
                    <a:pt x="2354771" y="656892"/>
                  </a:cubicBezTo>
                  <a:cubicBezTo>
                    <a:pt x="2236851" y="538972"/>
                    <a:pt x="2081975" y="480012"/>
                    <a:pt x="1927098" y="480012"/>
                  </a:cubicBezTo>
                  <a:close/>
                </a:path>
              </a:pathLst>
            </a:custGeom>
            <a:solidFill>
              <a:srgbClr val="4E966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648604F1-64BB-696C-4CA7-F27CE1CA6547}"/>
              </a:ext>
            </a:extLst>
          </p:cNvPr>
          <p:cNvGrpSpPr/>
          <p:nvPr/>
        </p:nvGrpSpPr>
        <p:grpSpPr>
          <a:xfrm>
            <a:off x="1253744" y="449942"/>
            <a:ext cx="10444847" cy="359228"/>
            <a:chOff x="1253744" y="406400"/>
            <a:chExt cx="10444847" cy="359228"/>
          </a:xfrm>
        </p:grpSpPr>
        <p:sp>
          <p:nvSpPr>
            <p:cNvPr id="14" name="Rectangle : coins arrondis 13">
              <a:extLst>
                <a:ext uri="{FF2B5EF4-FFF2-40B4-BE49-F238E27FC236}">
                  <a16:creationId xmlns:a16="http://schemas.microsoft.com/office/drawing/2014/main" id="{3AF1D908-A099-A10A-69C1-6A7234EF42F3}"/>
                </a:ext>
              </a:extLst>
            </p:cNvPr>
            <p:cNvSpPr/>
            <p:nvPr/>
          </p:nvSpPr>
          <p:spPr>
            <a:xfrm>
              <a:off x="1253744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rgbClr val="C4C7D6"/>
                  </a:solidFill>
                </a:rPr>
                <a:t>Enjeu</a:t>
              </a:r>
            </a:p>
          </p:txBody>
        </p:sp>
        <p:sp>
          <p:nvSpPr>
            <p:cNvPr id="15" name="Rectangle : coins arrondis 14">
              <a:extLst>
                <a:ext uri="{FF2B5EF4-FFF2-40B4-BE49-F238E27FC236}">
                  <a16:creationId xmlns:a16="http://schemas.microsoft.com/office/drawing/2014/main" id="{2A1D25BC-251C-F4FB-EA90-8C7920D3EC94}"/>
                </a:ext>
              </a:extLst>
            </p:cNvPr>
            <p:cNvSpPr/>
            <p:nvPr/>
          </p:nvSpPr>
          <p:spPr>
            <a:xfrm>
              <a:off x="3047725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rgbClr val="C4C7D6"/>
                  </a:solidFill>
                </a:rPr>
                <a:t>Mission</a:t>
              </a:r>
            </a:p>
          </p:txBody>
        </p:sp>
        <p:sp>
          <p:nvSpPr>
            <p:cNvPr id="16" name="Rectangle : coins arrondis 15">
              <a:extLst>
                <a:ext uri="{FF2B5EF4-FFF2-40B4-BE49-F238E27FC236}">
                  <a16:creationId xmlns:a16="http://schemas.microsoft.com/office/drawing/2014/main" id="{0D009AEF-D450-6A5A-A3AE-3E653D5DBB4E}"/>
                </a:ext>
              </a:extLst>
            </p:cNvPr>
            <p:cNvSpPr/>
            <p:nvPr/>
          </p:nvSpPr>
          <p:spPr>
            <a:xfrm>
              <a:off x="6635687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rgbClr val="C4C7D6"/>
                  </a:solidFill>
                </a:rPr>
                <a:t>Fonctionnement</a:t>
              </a:r>
            </a:p>
          </p:txBody>
        </p:sp>
        <p:sp>
          <p:nvSpPr>
            <p:cNvPr id="17" name="Rectangle : coins arrondis 16">
              <a:extLst>
                <a:ext uri="{FF2B5EF4-FFF2-40B4-BE49-F238E27FC236}">
                  <a16:creationId xmlns:a16="http://schemas.microsoft.com/office/drawing/2014/main" id="{2528F29C-3B2F-1A3F-B212-B4C25A5908C3}"/>
                </a:ext>
              </a:extLst>
            </p:cNvPr>
            <p:cNvSpPr/>
            <p:nvPr/>
          </p:nvSpPr>
          <p:spPr>
            <a:xfrm>
              <a:off x="8429668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rgbClr val="C4C7D6"/>
                  </a:solidFill>
                </a:rPr>
                <a:t>Offre</a:t>
              </a:r>
            </a:p>
          </p:txBody>
        </p:sp>
        <p:sp>
          <p:nvSpPr>
            <p:cNvPr id="18" name="Rectangle : coins arrondis 17">
              <a:extLst>
                <a:ext uri="{FF2B5EF4-FFF2-40B4-BE49-F238E27FC236}">
                  <a16:creationId xmlns:a16="http://schemas.microsoft.com/office/drawing/2014/main" id="{0D0CEDB2-6A18-EC76-8E60-809DE37305FB}"/>
                </a:ext>
              </a:extLst>
            </p:cNvPr>
            <p:cNvSpPr/>
            <p:nvPr/>
          </p:nvSpPr>
          <p:spPr>
            <a:xfrm>
              <a:off x="4841706" y="406400"/>
              <a:ext cx="1474942" cy="359228"/>
            </a:xfrm>
            <a:prstGeom prst="roundRect">
              <a:avLst>
                <a:gd name="adj" fmla="val 50000"/>
              </a:avLst>
            </a:prstGeom>
            <a:solidFill>
              <a:srgbClr val="4E966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chemeClr val="bg1"/>
                  </a:solidFill>
                  <a:latin typeface="Montserrat Alternates SemiBold" panose="00000700000000000000" pitchFamily="2" charset="0"/>
                </a:rPr>
                <a:t>Solution</a:t>
              </a:r>
            </a:p>
          </p:txBody>
        </p:sp>
        <p:sp>
          <p:nvSpPr>
            <p:cNvPr id="19" name="Rectangle : coins arrondis 18">
              <a:extLst>
                <a:ext uri="{FF2B5EF4-FFF2-40B4-BE49-F238E27FC236}">
                  <a16:creationId xmlns:a16="http://schemas.microsoft.com/office/drawing/2014/main" id="{B4752218-5039-BDE0-3B04-4D8AE83AE7A5}"/>
                </a:ext>
              </a:extLst>
            </p:cNvPr>
            <p:cNvSpPr/>
            <p:nvPr/>
          </p:nvSpPr>
          <p:spPr>
            <a:xfrm>
              <a:off x="10223649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>
                  <a:solidFill>
                    <a:srgbClr val="C4C7D6"/>
                  </a:solidFill>
                </a:rPr>
                <a:t>Fondateur</a:t>
              </a:r>
            </a:p>
          </p:txBody>
        </p:sp>
      </p:grpSp>
      <p:sp>
        <p:nvSpPr>
          <p:cNvPr id="6" name="ZoneTexte 5">
            <a:extLst>
              <a:ext uri="{FF2B5EF4-FFF2-40B4-BE49-F238E27FC236}">
                <a16:creationId xmlns:a16="http://schemas.microsoft.com/office/drawing/2014/main" id="{F0193FF4-2340-5DCA-55ED-D9831A40203C}"/>
              </a:ext>
            </a:extLst>
          </p:cNvPr>
          <p:cNvSpPr txBox="1"/>
          <p:nvPr/>
        </p:nvSpPr>
        <p:spPr>
          <a:xfrm>
            <a:off x="2387539" y="1512913"/>
            <a:ext cx="7445949" cy="43088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/>
            <a:r>
              <a:rPr lang="fr-FR" sz="2800" b="1">
                <a:solidFill>
                  <a:srgbClr val="4E9664"/>
                </a:solidFill>
                <a:latin typeface="+mj-lt"/>
              </a:rPr>
              <a:t>UNE CONSOMMATION PLUS RESPONSABLE </a:t>
            </a:r>
            <a:endParaRPr lang="fr-FR" sz="1200">
              <a:solidFill>
                <a:srgbClr val="4E9664"/>
              </a:solidFill>
              <a:latin typeface="Montserrat Alternates SemiBold" panose="00000700000000000000" pitchFamily="2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5AA09A3A-B00E-9EC4-E16A-69FB6F5F31A1}"/>
              </a:ext>
            </a:extLst>
          </p:cNvPr>
          <p:cNvSpPr txBox="1"/>
          <p:nvPr/>
        </p:nvSpPr>
        <p:spPr>
          <a:xfrm>
            <a:off x="2841029" y="1087247"/>
            <a:ext cx="6538970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tabLst>
                <a:tab pos="4749800" algn="l"/>
              </a:tabLst>
            </a:pPr>
            <a:r>
              <a:rPr lang="fr-FR" sz="2400">
                <a:solidFill>
                  <a:srgbClr val="555D7D"/>
                </a:solidFill>
                <a:latin typeface="Montserrat Alternates SemiBold" panose="00000700000000000000" pitchFamily="2" charset="0"/>
              </a:rPr>
              <a:t>L’entreprise qui vous accompagne vers </a:t>
            </a:r>
            <a:endParaRPr lang="fr-FR" sz="1200">
              <a:solidFill>
                <a:srgbClr val="555D7D"/>
              </a:solidFill>
              <a:latin typeface="Montserrat Alternates SemiBold" panose="00000700000000000000" pitchFamily="2" charset="0"/>
            </a:endParaRPr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147273B2-D32D-BE60-9A3F-A4EC5AFC0508}"/>
              </a:ext>
            </a:extLst>
          </p:cNvPr>
          <p:cNvSpPr/>
          <p:nvPr/>
        </p:nvSpPr>
        <p:spPr>
          <a:xfrm>
            <a:off x="572667" y="2886663"/>
            <a:ext cx="3066879" cy="3434307"/>
          </a:xfrm>
          <a:prstGeom prst="roundRect">
            <a:avLst>
              <a:gd name="adj" fmla="val 5045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396000" rIns="288000" bIns="288000" rtlCol="0" anchor="t" anchorCtr="0"/>
          <a:lstStyle/>
          <a:p>
            <a:r>
              <a:rPr lang="fr-FR" sz="2000">
                <a:solidFill>
                  <a:srgbClr val="4E9664"/>
                </a:solidFill>
                <a:latin typeface="Montserrat Alternates SemiBold" panose="00000700000000000000" pitchFamily="2" charset="0"/>
              </a:rPr>
              <a:t>Les adhérents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fr-FR" sz="1400" b="1">
                <a:solidFill>
                  <a:schemeClr val="tx2"/>
                </a:solidFill>
              </a:rPr>
              <a:t>Faciliter</a:t>
            </a:r>
            <a:r>
              <a:rPr lang="fr-FR" sz="1400">
                <a:solidFill>
                  <a:schemeClr val="tx2"/>
                </a:solidFill>
              </a:rPr>
              <a:t> la gestion </a:t>
            </a:r>
            <a:br>
              <a:rPr lang="fr-FR" sz="1400">
                <a:solidFill>
                  <a:schemeClr val="tx2"/>
                </a:solidFill>
              </a:rPr>
            </a:br>
            <a:r>
              <a:rPr lang="fr-FR" sz="1400">
                <a:solidFill>
                  <a:schemeClr val="tx2"/>
                </a:solidFill>
              </a:rPr>
              <a:t>des stocks de toute </a:t>
            </a:r>
            <a:br>
              <a:rPr lang="fr-FR" sz="1400">
                <a:solidFill>
                  <a:schemeClr val="tx2"/>
                </a:solidFill>
              </a:rPr>
            </a:br>
            <a:r>
              <a:rPr lang="fr-FR" sz="1400">
                <a:solidFill>
                  <a:schemeClr val="tx2"/>
                </a:solidFill>
              </a:rPr>
              <a:t>la famille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fr-FR" sz="1400" b="1">
                <a:solidFill>
                  <a:schemeClr val="tx2"/>
                </a:solidFill>
              </a:rPr>
              <a:t>Aider</a:t>
            </a:r>
            <a:r>
              <a:rPr lang="fr-FR" sz="1400">
                <a:solidFill>
                  <a:schemeClr val="tx2"/>
                </a:solidFill>
              </a:rPr>
              <a:t> au suivi </a:t>
            </a:r>
            <a:br>
              <a:rPr lang="fr-FR" sz="1400">
                <a:solidFill>
                  <a:schemeClr val="tx2"/>
                </a:solidFill>
              </a:rPr>
            </a:br>
            <a:r>
              <a:rPr lang="fr-FR" sz="1400">
                <a:solidFill>
                  <a:schemeClr val="tx2"/>
                </a:solidFill>
              </a:rPr>
              <a:t>de  l’observance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fr-FR" sz="1400" b="1">
                <a:solidFill>
                  <a:schemeClr val="tx2"/>
                </a:solidFill>
              </a:rPr>
              <a:t>Sensibiliser</a:t>
            </a:r>
            <a:r>
              <a:rPr lang="fr-FR" sz="1400">
                <a:solidFill>
                  <a:schemeClr val="tx2"/>
                </a:solidFill>
              </a:rPr>
              <a:t> sur </a:t>
            </a:r>
            <a:br>
              <a:rPr lang="fr-FR" sz="1400">
                <a:solidFill>
                  <a:schemeClr val="tx2"/>
                </a:solidFill>
              </a:rPr>
            </a:br>
            <a:r>
              <a:rPr lang="fr-FR" sz="1400">
                <a:solidFill>
                  <a:schemeClr val="tx2"/>
                </a:solidFill>
              </a:rPr>
              <a:t>la consommation </a:t>
            </a:r>
            <a:br>
              <a:rPr lang="fr-FR" sz="1400">
                <a:solidFill>
                  <a:schemeClr val="tx2"/>
                </a:solidFill>
              </a:rPr>
            </a:br>
            <a:r>
              <a:rPr lang="fr-FR" sz="1400">
                <a:solidFill>
                  <a:schemeClr val="tx2"/>
                </a:solidFill>
              </a:rPr>
              <a:t>et les coûts liés </a:t>
            </a:r>
            <a:br>
              <a:rPr lang="fr-FR" sz="1400">
                <a:solidFill>
                  <a:schemeClr val="tx2"/>
                </a:solidFill>
              </a:rPr>
            </a:br>
            <a:r>
              <a:rPr lang="fr-FR" sz="1400">
                <a:solidFill>
                  <a:schemeClr val="tx2"/>
                </a:solidFill>
              </a:rPr>
              <a:t>à la santé </a:t>
            </a:r>
            <a:endParaRPr lang="fr-FR" sz="2000">
              <a:solidFill>
                <a:schemeClr val="tx2"/>
              </a:solidFill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4B13A3E3-58E7-0DCC-E18C-726269212DA4}"/>
              </a:ext>
            </a:extLst>
          </p:cNvPr>
          <p:cNvSpPr txBox="1"/>
          <p:nvPr/>
        </p:nvSpPr>
        <p:spPr>
          <a:xfrm>
            <a:off x="2514730" y="2045188"/>
            <a:ext cx="7162538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tabLst>
                <a:tab pos="4749800" algn="l"/>
              </a:tabLst>
            </a:pPr>
            <a:r>
              <a:rPr lang="fr-FR" sz="1400">
                <a:solidFill>
                  <a:srgbClr val="555D7D"/>
                </a:solidFill>
              </a:rPr>
              <a:t>Ayons un impact concret dans la prévention et la lutte contre le gaspillage ! </a:t>
            </a:r>
          </a:p>
        </p:txBody>
      </p:sp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3E4161B4-47EB-282C-1331-5B1200CF375D}"/>
              </a:ext>
            </a:extLst>
          </p:cNvPr>
          <p:cNvSpPr/>
          <p:nvPr/>
        </p:nvSpPr>
        <p:spPr>
          <a:xfrm>
            <a:off x="4562560" y="2886663"/>
            <a:ext cx="3066879" cy="3434307"/>
          </a:xfrm>
          <a:prstGeom prst="roundRect">
            <a:avLst>
              <a:gd name="adj" fmla="val 5045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396000" rIns="288000" bIns="288000" rtlCol="0" anchor="t" anchorCtr="0"/>
          <a:lstStyle/>
          <a:p>
            <a:r>
              <a:rPr lang="fr-FR" sz="2000" dirty="0">
                <a:solidFill>
                  <a:srgbClr val="4E9664"/>
                </a:solidFill>
                <a:latin typeface="Montserrat Alternates SemiBold" panose="00000700000000000000" pitchFamily="2" charset="0"/>
              </a:rPr>
              <a:t>Les OCAM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fr-FR" sz="1400" b="1" dirty="0">
                <a:solidFill>
                  <a:schemeClr val="tx2"/>
                </a:solidFill>
              </a:rPr>
              <a:t>S’inscrire</a:t>
            </a:r>
            <a:r>
              <a:rPr lang="fr-FR" sz="1400" dirty="0">
                <a:solidFill>
                  <a:schemeClr val="tx2"/>
                </a:solidFill>
              </a:rPr>
              <a:t> </a:t>
            </a:r>
            <a:br>
              <a:rPr lang="fr-FR" sz="1400" dirty="0">
                <a:solidFill>
                  <a:schemeClr val="tx2"/>
                </a:solidFill>
              </a:rPr>
            </a:br>
            <a:r>
              <a:rPr lang="fr-FR" sz="1400" dirty="0">
                <a:solidFill>
                  <a:schemeClr val="tx2"/>
                </a:solidFill>
              </a:rPr>
              <a:t>dans </a:t>
            </a:r>
            <a:r>
              <a:rPr lang="fr-FR" sz="1400">
                <a:solidFill>
                  <a:schemeClr val="tx2"/>
                </a:solidFill>
              </a:rPr>
              <a:t>un projet</a:t>
            </a:r>
            <a:br>
              <a:rPr lang="fr-FR" sz="1400">
                <a:solidFill>
                  <a:schemeClr val="tx2"/>
                </a:solidFill>
              </a:rPr>
            </a:br>
            <a:r>
              <a:rPr lang="fr-FR" sz="1400">
                <a:solidFill>
                  <a:schemeClr val="tx2"/>
                </a:solidFill>
              </a:rPr>
              <a:t>à </a:t>
            </a:r>
            <a:r>
              <a:rPr lang="fr-FR" sz="1400" dirty="0">
                <a:solidFill>
                  <a:schemeClr val="tx2"/>
                </a:solidFill>
              </a:rPr>
              <a:t>impact 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fr-FR" sz="1400" b="1" dirty="0">
                <a:solidFill>
                  <a:schemeClr val="tx2"/>
                </a:solidFill>
              </a:rPr>
              <a:t>S’adapter</a:t>
            </a:r>
            <a:br>
              <a:rPr lang="fr-FR" sz="1400" dirty="0">
                <a:solidFill>
                  <a:schemeClr val="tx2"/>
                </a:solidFill>
              </a:rPr>
            </a:br>
            <a:r>
              <a:rPr lang="fr-FR" sz="1400" dirty="0">
                <a:solidFill>
                  <a:schemeClr val="tx2"/>
                </a:solidFill>
              </a:rPr>
              <a:t>aux enjeux actuels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fr-FR" sz="1400" b="1" dirty="0">
                <a:solidFill>
                  <a:schemeClr val="tx2"/>
                </a:solidFill>
              </a:rPr>
              <a:t>Baisser</a:t>
            </a:r>
            <a:r>
              <a:rPr lang="fr-FR" sz="1400" dirty="0">
                <a:solidFill>
                  <a:schemeClr val="tx2"/>
                </a:solidFill>
              </a:rPr>
              <a:t> le S/P</a:t>
            </a: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F13F8753-3506-E54F-993C-BB9720458FCE}"/>
              </a:ext>
            </a:extLst>
          </p:cNvPr>
          <p:cNvSpPr/>
          <p:nvPr/>
        </p:nvSpPr>
        <p:spPr>
          <a:xfrm>
            <a:off x="8552453" y="2886663"/>
            <a:ext cx="3066879" cy="3434307"/>
          </a:xfrm>
          <a:prstGeom prst="roundRect">
            <a:avLst>
              <a:gd name="adj" fmla="val 5045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396000" rIns="288000" bIns="288000" rtlCol="0" anchor="t" anchorCtr="0"/>
          <a:lstStyle/>
          <a:p>
            <a:r>
              <a:rPr lang="fr-FR" sz="2000">
                <a:solidFill>
                  <a:srgbClr val="4E9664"/>
                </a:solidFill>
                <a:latin typeface="Montserrat Alternates SemiBold" panose="00000700000000000000" pitchFamily="2" charset="0"/>
              </a:rPr>
              <a:t>La planête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fr-FR" sz="1400" b="1">
                <a:solidFill>
                  <a:schemeClr val="tx2"/>
                </a:solidFill>
              </a:rPr>
              <a:t>Prendre</a:t>
            </a:r>
            <a:r>
              <a:rPr lang="fr-FR" sz="1400">
                <a:solidFill>
                  <a:schemeClr val="tx2"/>
                </a:solidFill>
              </a:rPr>
              <a:t> </a:t>
            </a:r>
            <a:br>
              <a:rPr lang="fr-FR" sz="1400">
                <a:solidFill>
                  <a:schemeClr val="tx2"/>
                </a:solidFill>
              </a:rPr>
            </a:br>
            <a:r>
              <a:rPr lang="fr-FR" sz="1400">
                <a:solidFill>
                  <a:schemeClr val="tx2"/>
                </a:solidFill>
              </a:rPr>
              <a:t>conscience </a:t>
            </a:r>
            <a:br>
              <a:rPr lang="fr-FR" sz="1400">
                <a:solidFill>
                  <a:schemeClr val="tx2"/>
                </a:solidFill>
              </a:rPr>
            </a:br>
            <a:r>
              <a:rPr lang="fr-FR" sz="1400">
                <a:solidFill>
                  <a:schemeClr val="tx2"/>
                </a:solidFill>
              </a:rPr>
              <a:t>de notre impact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fr-FR" sz="1400" b="1">
                <a:solidFill>
                  <a:schemeClr val="tx2"/>
                </a:solidFill>
              </a:rPr>
              <a:t>Réduire </a:t>
            </a:r>
            <a:r>
              <a:rPr lang="fr-FR" sz="1400">
                <a:solidFill>
                  <a:schemeClr val="tx2"/>
                </a:solidFill>
              </a:rPr>
              <a:t>les déchets 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fr-FR" sz="1400" b="1">
                <a:solidFill>
                  <a:schemeClr val="tx2"/>
                </a:solidFill>
              </a:rPr>
              <a:t>Limiter</a:t>
            </a:r>
            <a:r>
              <a:rPr lang="fr-FR" sz="1400">
                <a:solidFill>
                  <a:schemeClr val="tx2"/>
                </a:solidFill>
              </a:rPr>
              <a:t> les émissions carbones</a:t>
            </a:r>
          </a:p>
        </p:txBody>
      </p:sp>
      <p:grpSp>
        <p:nvGrpSpPr>
          <p:cNvPr id="77" name="Groupe 76">
            <a:extLst>
              <a:ext uri="{FF2B5EF4-FFF2-40B4-BE49-F238E27FC236}">
                <a16:creationId xmlns:a16="http://schemas.microsoft.com/office/drawing/2014/main" id="{22C4A7C9-1433-AFAD-6DD9-736422561F52}"/>
              </a:ext>
            </a:extLst>
          </p:cNvPr>
          <p:cNvGrpSpPr/>
          <p:nvPr/>
        </p:nvGrpSpPr>
        <p:grpSpPr>
          <a:xfrm>
            <a:off x="878764" y="2640333"/>
            <a:ext cx="630723" cy="630723"/>
            <a:chOff x="936820" y="2487933"/>
            <a:chExt cx="630723" cy="630723"/>
          </a:xfrm>
        </p:grpSpPr>
        <p:sp>
          <p:nvSpPr>
            <p:cNvPr id="60" name="Ellipse 59">
              <a:extLst>
                <a:ext uri="{FF2B5EF4-FFF2-40B4-BE49-F238E27FC236}">
                  <a16:creationId xmlns:a16="http://schemas.microsoft.com/office/drawing/2014/main" id="{DE3509B5-0949-11F2-4009-AC9186623348}"/>
                </a:ext>
              </a:extLst>
            </p:cNvPr>
            <p:cNvSpPr/>
            <p:nvPr/>
          </p:nvSpPr>
          <p:spPr>
            <a:xfrm>
              <a:off x="936820" y="2487933"/>
              <a:ext cx="630723" cy="630723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48" name="Groupe 47">
              <a:extLst>
                <a:ext uri="{FF2B5EF4-FFF2-40B4-BE49-F238E27FC236}">
                  <a16:creationId xmlns:a16="http://schemas.microsoft.com/office/drawing/2014/main" id="{F799AF0A-4670-2AB2-03D0-5BCA070AF264}"/>
                </a:ext>
              </a:extLst>
            </p:cNvPr>
            <p:cNvGrpSpPr/>
            <p:nvPr/>
          </p:nvGrpSpPr>
          <p:grpSpPr>
            <a:xfrm>
              <a:off x="1102282" y="2653397"/>
              <a:ext cx="299798" cy="299794"/>
              <a:chOff x="3097148" y="2705100"/>
              <a:chExt cx="3719665" cy="3719607"/>
            </a:xfrm>
          </p:grpSpPr>
          <p:sp>
            <p:nvSpPr>
              <p:cNvPr id="49" name="Forme libre : forme 48">
                <a:extLst>
                  <a:ext uri="{FF2B5EF4-FFF2-40B4-BE49-F238E27FC236}">
                    <a16:creationId xmlns:a16="http://schemas.microsoft.com/office/drawing/2014/main" id="{165E1A66-75F9-999C-9C00-E8F87D3B2696}"/>
                  </a:ext>
                </a:extLst>
              </p:cNvPr>
              <p:cNvSpPr/>
              <p:nvPr/>
            </p:nvSpPr>
            <p:spPr>
              <a:xfrm>
                <a:off x="4641754" y="2705100"/>
                <a:ext cx="630395" cy="630395"/>
              </a:xfrm>
              <a:custGeom>
                <a:avLst/>
                <a:gdLst>
                  <a:gd name="connsiteX0" fmla="*/ 0 w 1015936"/>
                  <a:gd name="connsiteY0" fmla="*/ 507968 h 1015936"/>
                  <a:gd name="connsiteX1" fmla="*/ 507968 w 1015936"/>
                  <a:gd name="connsiteY1" fmla="*/ 0 h 1015936"/>
                  <a:gd name="connsiteX2" fmla="*/ 1015937 w 1015936"/>
                  <a:gd name="connsiteY2" fmla="*/ 507968 h 1015936"/>
                  <a:gd name="connsiteX3" fmla="*/ 507968 w 1015936"/>
                  <a:gd name="connsiteY3" fmla="*/ 1015937 h 1015936"/>
                  <a:gd name="connsiteX4" fmla="*/ 0 w 1015936"/>
                  <a:gd name="connsiteY4" fmla="*/ 507968 h 1015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15936" h="1015936">
                    <a:moveTo>
                      <a:pt x="0" y="507968"/>
                    </a:moveTo>
                    <a:cubicBezTo>
                      <a:pt x="0" y="227362"/>
                      <a:pt x="227457" y="0"/>
                      <a:pt x="507968" y="0"/>
                    </a:cubicBezTo>
                    <a:cubicBezTo>
                      <a:pt x="788480" y="0"/>
                      <a:pt x="1015937" y="227457"/>
                      <a:pt x="1015937" y="507968"/>
                    </a:cubicBezTo>
                    <a:cubicBezTo>
                      <a:pt x="1015937" y="788480"/>
                      <a:pt x="788480" y="1015937"/>
                      <a:pt x="507968" y="1015937"/>
                    </a:cubicBezTo>
                    <a:cubicBezTo>
                      <a:pt x="227457" y="1015937"/>
                      <a:pt x="0" y="788480"/>
                      <a:pt x="0" y="507968"/>
                    </a:cubicBezTo>
                    <a:close/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50" name="Forme libre : forme 49">
                <a:extLst>
                  <a:ext uri="{FF2B5EF4-FFF2-40B4-BE49-F238E27FC236}">
                    <a16:creationId xmlns:a16="http://schemas.microsoft.com/office/drawing/2014/main" id="{2952EF26-D463-D89F-EDD2-931D553AB36E}"/>
                  </a:ext>
                </a:extLst>
              </p:cNvPr>
              <p:cNvSpPr/>
              <p:nvPr/>
            </p:nvSpPr>
            <p:spPr>
              <a:xfrm>
                <a:off x="4239792" y="3800521"/>
                <a:ext cx="1426398" cy="2624186"/>
              </a:xfrm>
              <a:custGeom>
                <a:avLst/>
                <a:gdLst>
                  <a:gd name="connsiteX0" fmla="*/ 647795 w 2298763"/>
                  <a:gd name="connsiteY0" fmla="*/ 4229005 h 4229100"/>
                  <a:gd name="connsiteX1" fmla="*/ 647795 w 2298763"/>
                  <a:gd name="connsiteY1" fmla="*/ 3124105 h 4229100"/>
                  <a:gd name="connsiteX2" fmla="*/ 334709 w 2298763"/>
                  <a:gd name="connsiteY2" fmla="*/ 2576799 h 4229100"/>
                  <a:gd name="connsiteX3" fmla="*/ 313087 w 2298763"/>
                  <a:gd name="connsiteY3" fmla="*/ 2564130 h 4229100"/>
                  <a:gd name="connsiteX4" fmla="*/ 0 w 2298763"/>
                  <a:gd name="connsiteY4" fmla="*/ 2016824 h 4229100"/>
                  <a:gd name="connsiteX5" fmla="*/ 0 w 2298763"/>
                  <a:gd name="connsiteY5" fmla="*/ 888968 h 4229100"/>
                  <a:gd name="connsiteX6" fmla="*/ 1149382 w 2298763"/>
                  <a:gd name="connsiteY6" fmla="*/ 0 h 4229100"/>
                  <a:gd name="connsiteX7" fmla="*/ 2298763 w 2298763"/>
                  <a:gd name="connsiteY7" fmla="*/ 888968 h 4229100"/>
                  <a:gd name="connsiteX8" fmla="*/ 2298763 w 2298763"/>
                  <a:gd name="connsiteY8" fmla="*/ 2020443 h 4229100"/>
                  <a:gd name="connsiteX9" fmla="*/ 1990439 w 2298763"/>
                  <a:gd name="connsiteY9" fmla="*/ 2564987 h 4229100"/>
                  <a:gd name="connsiteX10" fmla="*/ 1972056 w 2298763"/>
                  <a:gd name="connsiteY10" fmla="*/ 2576036 h 4229100"/>
                  <a:gd name="connsiteX11" fmla="*/ 1663732 w 2298763"/>
                  <a:gd name="connsiteY11" fmla="*/ 3120581 h 4229100"/>
                  <a:gd name="connsiteX12" fmla="*/ 1663732 w 2298763"/>
                  <a:gd name="connsiteY12" fmla="*/ 4229100 h 4229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298763" h="4229100">
                    <a:moveTo>
                      <a:pt x="647795" y="4229005"/>
                    </a:moveTo>
                    <a:lnTo>
                      <a:pt x="647795" y="3124105"/>
                    </a:lnTo>
                    <a:cubicBezTo>
                      <a:pt x="647795" y="2899124"/>
                      <a:pt x="528733" y="2690908"/>
                      <a:pt x="334709" y="2576799"/>
                    </a:cubicBezTo>
                    <a:lnTo>
                      <a:pt x="313087" y="2564130"/>
                    </a:lnTo>
                    <a:cubicBezTo>
                      <a:pt x="119158" y="2450021"/>
                      <a:pt x="0" y="2241804"/>
                      <a:pt x="0" y="2016824"/>
                    </a:cubicBezTo>
                    <a:lnTo>
                      <a:pt x="0" y="888968"/>
                    </a:lnTo>
                    <a:cubicBezTo>
                      <a:pt x="0" y="254222"/>
                      <a:pt x="514541" y="0"/>
                      <a:pt x="1149382" y="0"/>
                    </a:cubicBezTo>
                    <a:cubicBezTo>
                      <a:pt x="1784223" y="0"/>
                      <a:pt x="2298763" y="254222"/>
                      <a:pt x="2298763" y="888968"/>
                    </a:cubicBezTo>
                    <a:lnTo>
                      <a:pt x="2298763" y="2020443"/>
                    </a:lnTo>
                    <a:cubicBezTo>
                      <a:pt x="2298763" y="2243519"/>
                      <a:pt x="2181701" y="2450211"/>
                      <a:pt x="1990439" y="2564987"/>
                    </a:cubicBezTo>
                    <a:lnTo>
                      <a:pt x="1972056" y="2576036"/>
                    </a:lnTo>
                    <a:cubicBezTo>
                      <a:pt x="1780794" y="2690813"/>
                      <a:pt x="1663732" y="2897505"/>
                      <a:pt x="1663732" y="3120581"/>
                    </a:cubicBezTo>
                    <a:lnTo>
                      <a:pt x="1663732" y="4229100"/>
                    </a:ln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52" name="Forme libre : forme 51">
                <a:extLst>
                  <a:ext uri="{FF2B5EF4-FFF2-40B4-BE49-F238E27FC236}">
                    <a16:creationId xmlns:a16="http://schemas.microsoft.com/office/drawing/2014/main" id="{21EA4331-7CB8-AE3D-0919-6A68ED6D5ED8}"/>
                  </a:ext>
                </a:extLst>
              </p:cNvPr>
              <p:cNvSpPr/>
              <p:nvPr/>
            </p:nvSpPr>
            <p:spPr>
              <a:xfrm>
                <a:off x="3412405" y="3020298"/>
                <a:ext cx="630395" cy="630395"/>
              </a:xfrm>
              <a:custGeom>
                <a:avLst/>
                <a:gdLst>
                  <a:gd name="connsiteX0" fmla="*/ 0 w 1015936"/>
                  <a:gd name="connsiteY0" fmla="*/ 507968 h 1015936"/>
                  <a:gd name="connsiteX1" fmla="*/ 507968 w 1015936"/>
                  <a:gd name="connsiteY1" fmla="*/ 0 h 1015936"/>
                  <a:gd name="connsiteX2" fmla="*/ 1015937 w 1015936"/>
                  <a:gd name="connsiteY2" fmla="*/ 507968 h 1015936"/>
                  <a:gd name="connsiteX3" fmla="*/ 507968 w 1015936"/>
                  <a:gd name="connsiteY3" fmla="*/ 1015937 h 1015936"/>
                  <a:gd name="connsiteX4" fmla="*/ 0 w 1015936"/>
                  <a:gd name="connsiteY4" fmla="*/ 507968 h 1015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15936" h="1015936">
                    <a:moveTo>
                      <a:pt x="0" y="507968"/>
                    </a:moveTo>
                    <a:cubicBezTo>
                      <a:pt x="0" y="227362"/>
                      <a:pt x="227457" y="0"/>
                      <a:pt x="507968" y="0"/>
                    </a:cubicBezTo>
                    <a:cubicBezTo>
                      <a:pt x="788480" y="0"/>
                      <a:pt x="1015937" y="227457"/>
                      <a:pt x="1015937" y="507968"/>
                    </a:cubicBezTo>
                    <a:cubicBezTo>
                      <a:pt x="1015937" y="788480"/>
                      <a:pt x="788480" y="1015937"/>
                      <a:pt x="507968" y="1015937"/>
                    </a:cubicBezTo>
                    <a:cubicBezTo>
                      <a:pt x="227457" y="1015937"/>
                      <a:pt x="0" y="788480"/>
                      <a:pt x="0" y="507968"/>
                    </a:cubicBezTo>
                    <a:close/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53" name="Forme libre : forme 52">
                <a:extLst>
                  <a:ext uri="{FF2B5EF4-FFF2-40B4-BE49-F238E27FC236}">
                    <a16:creationId xmlns:a16="http://schemas.microsoft.com/office/drawing/2014/main" id="{E3F372FC-E1C2-8B95-29D5-631D5634A9C1}"/>
                  </a:ext>
                </a:extLst>
              </p:cNvPr>
              <p:cNvSpPr/>
              <p:nvPr/>
            </p:nvSpPr>
            <p:spPr>
              <a:xfrm>
                <a:off x="4042860" y="5873036"/>
                <a:ext cx="5910" cy="551611"/>
              </a:xfrm>
              <a:custGeom>
                <a:avLst/>
                <a:gdLst>
                  <a:gd name="connsiteX0" fmla="*/ 0 w 9525"/>
                  <a:gd name="connsiteY0" fmla="*/ 888968 h 888968"/>
                  <a:gd name="connsiteX1" fmla="*/ 0 w 9525"/>
                  <a:gd name="connsiteY1" fmla="*/ 0 h 888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888968">
                    <a:moveTo>
                      <a:pt x="0" y="888968"/>
                    </a:moveTo>
                    <a:lnTo>
                      <a:pt x="0" y="0"/>
                    </a:ln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56" name="Forme libre : forme 55">
                <a:extLst>
                  <a:ext uri="{FF2B5EF4-FFF2-40B4-BE49-F238E27FC236}">
                    <a16:creationId xmlns:a16="http://schemas.microsoft.com/office/drawing/2014/main" id="{738CD0AF-641B-5CA9-73F9-A32B3A944851}"/>
                  </a:ext>
                </a:extLst>
              </p:cNvPr>
              <p:cNvSpPr/>
              <p:nvPr/>
            </p:nvSpPr>
            <p:spPr>
              <a:xfrm>
                <a:off x="3097148" y="4119678"/>
                <a:ext cx="614674" cy="2304969"/>
              </a:xfrm>
              <a:custGeom>
                <a:avLst/>
                <a:gdLst>
                  <a:gd name="connsiteX0" fmla="*/ 508064 w 990600"/>
                  <a:gd name="connsiteY0" fmla="*/ 3714655 h 3714654"/>
                  <a:gd name="connsiteX1" fmla="*/ 508064 w 990600"/>
                  <a:gd name="connsiteY1" fmla="*/ 2825686 h 3714654"/>
                  <a:gd name="connsiteX2" fmla="*/ 254032 w 990600"/>
                  <a:gd name="connsiteY2" fmla="*/ 2317718 h 3714654"/>
                  <a:gd name="connsiteX3" fmla="*/ 0 w 990600"/>
                  <a:gd name="connsiteY3" fmla="*/ 1809750 h 3714654"/>
                  <a:gd name="connsiteX4" fmla="*/ 0 w 990600"/>
                  <a:gd name="connsiteY4" fmla="*/ 730282 h 3714654"/>
                  <a:gd name="connsiteX5" fmla="*/ 990600 w 990600"/>
                  <a:gd name="connsiteY5" fmla="*/ 0 h 3714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90600" h="3714654">
                    <a:moveTo>
                      <a:pt x="508064" y="3714655"/>
                    </a:moveTo>
                    <a:lnTo>
                      <a:pt x="508064" y="2825686"/>
                    </a:lnTo>
                    <a:cubicBezTo>
                      <a:pt x="508064" y="2625852"/>
                      <a:pt x="413957" y="2437638"/>
                      <a:pt x="254032" y="2317718"/>
                    </a:cubicBezTo>
                    <a:cubicBezTo>
                      <a:pt x="94107" y="2197799"/>
                      <a:pt x="0" y="2009584"/>
                      <a:pt x="0" y="1809750"/>
                    </a:cubicBezTo>
                    <a:lnTo>
                      <a:pt x="0" y="730282"/>
                    </a:lnTo>
                    <a:cubicBezTo>
                      <a:pt x="0" y="183166"/>
                      <a:pt x="443484" y="0"/>
                      <a:pt x="990600" y="0"/>
                    </a:cubicBez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57" name="Forme libre : forme 56">
                <a:extLst>
                  <a:ext uri="{FF2B5EF4-FFF2-40B4-BE49-F238E27FC236}">
                    <a16:creationId xmlns:a16="http://schemas.microsoft.com/office/drawing/2014/main" id="{BC9BE497-F7D9-68DE-3C40-798E2787F900}"/>
                  </a:ext>
                </a:extLst>
              </p:cNvPr>
              <p:cNvSpPr/>
              <p:nvPr/>
            </p:nvSpPr>
            <p:spPr>
              <a:xfrm>
                <a:off x="5871161" y="3020298"/>
                <a:ext cx="630395" cy="630395"/>
              </a:xfrm>
              <a:custGeom>
                <a:avLst/>
                <a:gdLst>
                  <a:gd name="connsiteX0" fmla="*/ 1015936 w 1015936"/>
                  <a:gd name="connsiteY0" fmla="*/ 507968 h 1015936"/>
                  <a:gd name="connsiteX1" fmla="*/ 507968 w 1015936"/>
                  <a:gd name="connsiteY1" fmla="*/ 0 h 1015936"/>
                  <a:gd name="connsiteX2" fmla="*/ 0 w 1015936"/>
                  <a:gd name="connsiteY2" fmla="*/ 507968 h 1015936"/>
                  <a:gd name="connsiteX3" fmla="*/ 507968 w 1015936"/>
                  <a:gd name="connsiteY3" fmla="*/ 1015937 h 1015936"/>
                  <a:gd name="connsiteX4" fmla="*/ 1015936 w 1015936"/>
                  <a:gd name="connsiteY4" fmla="*/ 507968 h 1015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15936" h="1015936">
                    <a:moveTo>
                      <a:pt x="1015936" y="507968"/>
                    </a:moveTo>
                    <a:cubicBezTo>
                      <a:pt x="1015936" y="227362"/>
                      <a:pt x="788479" y="0"/>
                      <a:pt x="507968" y="0"/>
                    </a:cubicBezTo>
                    <a:cubicBezTo>
                      <a:pt x="227457" y="0"/>
                      <a:pt x="0" y="227457"/>
                      <a:pt x="0" y="507968"/>
                    </a:cubicBezTo>
                    <a:cubicBezTo>
                      <a:pt x="0" y="788480"/>
                      <a:pt x="227457" y="1015937"/>
                      <a:pt x="507968" y="1015937"/>
                    </a:cubicBezTo>
                    <a:cubicBezTo>
                      <a:pt x="788479" y="1015937"/>
                      <a:pt x="1015936" y="788480"/>
                      <a:pt x="1015936" y="507968"/>
                    </a:cubicBezTo>
                    <a:close/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58" name="Forme libre : forme 57">
                <a:extLst>
                  <a:ext uri="{FF2B5EF4-FFF2-40B4-BE49-F238E27FC236}">
                    <a16:creationId xmlns:a16="http://schemas.microsoft.com/office/drawing/2014/main" id="{AA8C768E-3E7D-BADA-BA8E-66D5B2574972}"/>
                  </a:ext>
                </a:extLst>
              </p:cNvPr>
              <p:cNvSpPr/>
              <p:nvPr/>
            </p:nvSpPr>
            <p:spPr>
              <a:xfrm>
                <a:off x="5871102" y="5873036"/>
                <a:ext cx="5910" cy="551611"/>
              </a:xfrm>
              <a:custGeom>
                <a:avLst/>
                <a:gdLst>
                  <a:gd name="connsiteX0" fmla="*/ 0 w 9525"/>
                  <a:gd name="connsiteY0" fmla="*/ 888968 h 888968"/>
                  <a:gd name="connsiteX1" fmla="*/ 0 w 9525"/>
                  <a:gd name="connsiteY1" fmla="*/ 0 h 888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888968">
                    <a:moveTo>
                      <a:pt x="0" y="888968"/>
                    </a:moveTo>
                    <a:lnTo>
                      <a:pt x="0" y="0"/>
                    </a:ln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59" name="Forme libre : forme 58">
                <a:extLst>
                  <a:ext uri="{FF2B5EF4-FFF2-40B4-BE49-F238E27FC236}">
                    <a16:creationId xmlns:a16="http://schemas.microsoft.com/office/drawing/2014/main" id="{CCE3779A-656D-4A5E-5F5E-34DD511C5A71}"/>
                  </a:ext>
                </a:extLst>
              </p:cNvPr>
              <p:cNvSpPr/>
              <p:nvPr/>
            </p:nvSpPr>
            <p:spPr>
              <a:xfrm>
                <a:off x="6202139" y="4119678"/>
                <a:ext cx="614674" cy="2304969"/>
              </a:xfrm>
              <a:custGeom>
                <a:avLst/>
                <a:gdLst>
                  <a:gd name="connsiteX0" fmla="*/ 482536 w 990600"/>
                  <a:gd name="connsiteY0" fmla="*/ 3714655 h 3714654"/>
                  <a:gd name="connsiteX1" fmla="*/ 482536 w 990600"/>
                  <a:gd name="connsiteY1" fmla="*/ 2825686 h 3714654"/>
                  <a:gd name="connsiteX2" fmla="*/ 736568 w 990600"/>
                  <a:gd name="connsiteY2" fmla="*/ 2317718 h 3714654"/>
                  <a:gd name="connsiteX3" fmla="*/ 990600 w 990600"/>
                  <a:gd name="connsiteY3" fmla="*/ 1809750 h 3714654"/>
                  <a:gd name="connsiteX4" fmla="*/ 990600 w 990600"/>
                  <a:gd name="connsiteY4" fmla="*/ 730282 h 3714654"/>
                  <a:gd name="connsiteX5" fmla="*/ 0 w 990600"/>
                  <a:gd name="connsiteY5" fmla="*/ 0 h 3714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90600" h="3714654">
                    <a:moveTo>
                      <a:pt x="482536" y="3714655"/>
                    </a:moveTo>
                    <a:lnTo>
                      <a:pt x="482536" y="2825686"/>
                    </a:lnTo>
                    <a:cubicBezTo>
                      <a:pt x="482536" y="2625852"/>
                      <a:pt x="576643" y="2437638"/>
                      <a:pt x="736568" y="2317718"/>
                    </a:cubicBezTo>
                    <a:cubicBezTo>
                      <a:pt x="896493" y="2197799"/>
                      <a:pt x="990600" y="2009584"/>
                      <a:pt x="990600" y="1809750"/>
                    </a:cubicBezTo>
                    <a:lnTo>
                      <a:pt x="990600" y="730282"/>
                    </a:lnTo>
                    <a:cubicBezTo>
                      <a:pt x="990600" y="183166"/>
                      <a:pt x="547116" y="0"/>
                      <a:pt x="0" y="0"/>
                    </a:cubicBez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  <p:grpSp>
        <p:nvGrpSpPr>
          <p:cNvPr id="82" name="Groupe 81">
            <a:extLst>
              <a:ext uri="{FF2B5EF4-FFF2-40B4-BE49-F238E27FC236}">
                <a16:creationId xmlns:a16="http://schemas.microsoft.com/office/drawing/2014/main" id="{FBDEB91C-D3E5-2861-23C7-4CE9F2FABE57}"/>
              </a:ext>
            </a:extLst>
          </p:cNvPr>
          <p:cNvGrpSpPr/>
          <p:nvPr/>
        </p:nvGrpSpPr>
        <p:grpSpPr>
          <a:xfrm>
            <a:off x="8860330" y="2640333"/>
            <a:ext cx="630723" cy="630723"/>
            <a:chOff x="8860330" y="2487933"/>
            <a:chExt cx="630723" cy="630723"/>
          </a:xfrm>
        </p:grpSpPr>
        <p:sp>
          <p:nvSpPr>
            <p:cNvPr id="80" name="Ellipse 79">
              <a:extLst>
                <a:ext uri="{FF2B5EF4-FFF2-40B4-BE49-F238E27FC236}">
                  <a16:creationId xmlns:a16="http://schemas.microsoft.com/office/drawing/2014/main" id="{1BAEC9C4-C751-9B73-C281-439DA0A1B1AB}"/>
                </a:ext>
              </a:extLst>
            </p:cNvPr>
            <p:cNvSpPr/>
            <p:nvPr/>
          </p:nvSpPr>
          <p:spPr>
            <a:xfrm>
              <a:off x="8860330" y="2487933"/>
              <a:ext cx="630723" cy="630723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22" name="Groupe 21">
              <a:extLst>
                <a:ext uri="{FF2B5EF4-FFF2-40B4-BE49-F238E27FC236}">
                  <a16:creationId xmlns:a16="http://schemas.microsoft.com/office/drawing/2014/main" id="{21E80B0D-D751-59D8-E34C-DB92E49326B6}"/>
                </a:ext>
              </a:extLst>
            </p:cNvPr>
            <p:cNvGrpSpPr/>
            <p:nvPr/>
          </p:nvGrpSpPr>
          <p:grpSpPr>
            <a:xfrm>
              <a:off x="9031628" y="2659228"/>
              <a:ext cx="288126" cy="288132"/>
              <a:chOff x="3848100" y="1181101"/>
              <a:chExt cx="4495703" cy="4495798"/>
            </a:xfrm>
          </p:grpSpPr>
          <p:sp>
            <p:nvSpPr>
              <p:cNvPr id="23" name="Forme libre : forme 22">
                <a:extLst>
                  <a:ext uri="{FF2B5EF4-FFF2-40B4-BE49-F238E27FC236}">
                    <a16:creationId xmlns:a16="http://schemas.microsoft.com/office/drawing/2014/main" id="{0E65438A-E7CE-0C56-1CEC-1BADF2A892B0}"/>
                  </a:ext>
                </a:extLst>
              </p:cNvPr>
              <p:cNvSpPr/>
              <p:nvPr/>
            </p:nvSpPr>
            <p:spPr>
              <a:xfrm>
                <a:off x="6826943" y="1181101"/>
                <a:ext cx="1516860" cy="1285020"/>
              </a:xfrm>
              <a:custGeom>
                <a:avLst/>
                <a:gdLst>
                  <a:gd name="connsiteX0" fmla="*/ 1091279 w 1516856"/>
                  <a:gd name="connsiteY0" fmla="*/ 0 h 1285017"/>
                  <a:gd name="connsiteX1" fmla="*/ 758000 w 1516856"/>
                  <a:gd name="connsiteY1" fmla="*/ 197834 h 1285017"/>
                  <a:gd name="connsiteX2" fmla="*/ 425387 w 1516856"/>
                  <a:gd name="connsiteY2" fmla="*/ 0 h 1285017"/>
                  <a:gd name="connsiteX3" fmla="*/ 0 w 1516856"/>
                  <a:gd name="connsiteY3" fmla="*/ 436150 h 1285017"/>
                  <a:gd name="connsiteX4" fmla="*/ 87821 w 1516856"/>
                  <a:gd name="connsiteY4" fmla="*/ 756952 h 1285017"/>
                  <a:gd name="connsiteX5" fmla="*/ 757904 w 1516856"/>
                  <a:gd name="connsiteY5" fmla="*/ 1285018 h 1285017"/>
                  <a:gd name="connsiteX6" fmla="*/ 1429226 w 1516856"/>
                  <a:gd name="connsiteY6" fmla="*/ 756952 h 1285017"/>
                  <a:gd name="connsiteX7" fmla="*/ 1516856 w 1516856"/>
                  <a:gd name="connsiteY7" fmla="*/ 436150 h 1285017"/>
                  <a:gd name="connsiteX8" fmla="*/ 1091184 w 1516856"/>
                  <a:gd name="connsiteY8" fmla="*/ 0 h 1285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16856" h="1285017">
                    <a:moveTo>
                      <a:pt x="1091279" y="0"/>
                    </a:moveTo>
                    <a:cubicBezTo>
                      <a:pt x="868775" y="0"/>
                      <a:pt x="783717" y="139541"/>
                      <a:pt x="758000" y="197834"/>
                    </a:cubicBezTo>
                    <a:cubicBezTo>
                      <a:pt x="732377" y="139541"/>
                      <a:pt x="647891" y="0"/>
                      <a:pt x="425387" y="0"/>
                    </a:cubicBezTo>
                    <a:cubicBezTo>
                      <a:pt x="202883" y="0"/>
                      <a:pt x="0" y="154305"/>
                      <a:pt x="0" y="436150"/>
                    </a:cubicBezTo>
                    <a:cubicBezTo>
                      <a:pt x="0" y="550164"/>
                      <a:pt x="23241" y="647890"/>
                      <a:pt x="87821" y="756952"/>
                    </a:cubicBezTo>
                    <a:cubicBezTo>
                      <a:pt x="219361" y="979170"/>
                      <a:pt x="757904" y="1285018"/>
                      <a:pt x="757904" y="1285018"/>
                    </a:cubicBezTo>
                    <a:cubicBezTo>
                      <a:pt x="757904" y="1285018"/>
                      <a:pt x="1296543" y="980885"/>
                      <a:pt x="1429226" y="756952"/>
                    </a:cubicBezTo>
                    <a:cubicBezTo>
                      <a:pt x="1493806" y="647890"/>
                      <a:pt x="1516856" y="550259"/>
                      <a:pt x="1516856" y="436150"/>
                    </a:cubicBezTo>
                    <a:cubicBezTo>
                      <a:pt x="1516856" y="154305"/>
                      <a:pt x="1317498" y="0"/>
                      <a:pt x="1091184" y="0"/>
                    </a:cubicBezTo>
                    <a:close/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grpSp>
            <p:nvGrpSpPr>
              <p:cNvPr id="24" name="Graphique 115">
                <a:extLst>
                  <a:ext uri="{FF2B5EF4-FFF2-40B4-BE49-F238E27FC236}">
                    <a16:creationId xmlns:a16="http://schemas.microsoft.com/office/drawing/2014/main" id="{1C31977A-50DE-7E0F-CE49-D8A281CAF195}"/>
                  </a:ext>
                </a:extLst>
              </p:cNvPr>
              <p:cNvGrpSpPr/>
              <p:nvPr/>
            </p:nvGrpSpPr>
            <p:grpSpPr>
              <a:xfrm>
                <a:off x="3848100" y="2372864"/>
                <a:ext cx="3304028" cy="3304035"/>
                <a:chOff x="3848100" y="2372867"/>
                <a:chExt cx="3304032" cy="3304032"/>
              </a:xfrm>
              <a:noFill/>
            </p:grpSpPr>
            <p:sp>
              <p:nvSpPr>
                <p:cNvPr id="25" name="Forme libre : forme 24">
                  <a:extLst>
                    <a:ext uri="{FF2B5EF4-FFF2-40B4-BE49-F238E27FC236}">
                      <a16:creationId xmlns:a16="http://schemas.microsoft.com/office/drawing/2014/main" id="{6A8F78D0-4F17-DF50-E545-B33D6DC56143}"/>
                    </a:ext>
                  </a:extLst>
                </p:cNvPr>
                <p:cNvSpPr/>
                <p:nvPr/>
              </p:nvSpPr>
              <p:spPr>
                <a:xfrm>
                  <a:off x="3877436" y="2404395"/>
                  <a:ext cx="1842706" cy="1505426"/>
                </a:xfrm>
                <a:custGeom>
                  <a:avLst/>
                  <a:gdLst>
                    <a:gd name="connsiteX0" fmla="*/ 1842706 w 1842706"/>
                    <a:gd name="connsiteY0" fmla="*/ 0 h 1505426"/>
                    <a:gd name="connsiteX1" fmla="*/ 1764221 w 1842706"/>
                    <a:gd name="connsiteY1" fmla="*/ 512350 h 1505426"/>
                    <a:gd name="connsiteX2" fmla="*/ 1337691 w 1842706"/>
                    <a:gd name="connsiteY2" fmla="*/ 840010 h 1505426"/>
                    <a:gd name="connsiteX3" fmla="*/ 1337691 w 1842706"/>
                    <a:gd name="connsiteY3" fmla="*/ 840010 h 1505426"/>
                    <a:gd name="connsiteX4" fmla="*/ 905923 w 1842706"/>
                    <a:gd name="connsiteY4" fmla="*/ 1231773 h 1505426"/>
                    <a:gd name="connsiteX5" fmla="*/ 905923 w 1842706"/>
                    <a:gd name="connsiteY5" fmla="*/ 1231773 h 1505426"/>
                    <a:gd name="connsiteX6" fmla="*/ 632270 w 1842706"/>
                    <a:gd name="connsiteY6" fmla="*/ 1505426 h 1505426"/>
                    <a:gd name="connsiteX7" fmla="*/ 0 w 1842706"/>
                    <a:gd name="connsiteY7" fmla="*/ 1505426 h 15054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842706" h="1505426">
                      <a:moveTo>
                        <a:pt x="1842706" y="0"/>
                      </a:moveTo>
                      <a:lnTo>
                        <a:pt x="1764221" y="512350"/>
                      </a:lnTo>
                      <a:cubicBezTo>
                        <a:pt x="1730502" y="716852"/>
                        <a:pt x="1544002" y="860108"/>
                        <a:pt x="1337691" y="840010"/>
                      </a:cubicBezTo>
                      <a:lnTo>
                        <a:pt x="1337691" y="840010"/>
                      </a:lnTo>
                      <a:cubicBezTo>
                        <a:pt x="1106329" y="817436"/>
                        <a:pt x="905923" y="999268"/>
                        <a:pt x="905923" y="1231773"/>
                      </a:cubicBezTo>
                      <a:lnTo>
                        <a:pt x="905923" y="1231773"/>
                      </a:lnTo>
                      <a:cubicBezTo>
                        <a:pt x="905923" y="1382839"/>
                        <a:pt x="783431" y="1505426"/>
                        <a:pt x="632270" y="1505426"/>
                      </a:cubicBezTo>
                      <a:lnTo>
                        <a:pt x="0" y="1505426"/>
                      </a:lnTo>
                    </a:path>
                  </a:pathLst>
                </a:custGeom>
                <a:noFill/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27" name="Forme libre : forme 26">
                  <a:extLst>
                    <a:ext uri="{FF2B5EF4-FFF2-40B4-BE49-F238E27FC236}">
                      <a16:creationId xmlns:a16="http://schemas.microsoft.com/office/drawing/2014/main" id="{250D6D40-39D1-9AD3-557D-4B7D35893CD2}"/>
                    </a:ext>
                  </a:extLst>
                </p:cNvPr>
                <p:cNvSpPr/>
                <p:nvPr/>
              </p:nvSpPr>
              <p:spPr>
                <a:xfrm>
                  <a:off x="5800167" y="3337083"/>
                  <a:ext cx="1199754" cy="2035301"/>
                </a:xfrm>
                <a:custGeom>
                  <a:avLst/>
                  <a:gdLst>
                    <a:gd name="connsiteX0" fmla="*/ 637875 w 1199754"/>
                    <a:gd name="connsiteY0" fmla="*/ 2035302 h 2035301"/>
                    <a:gd name="connsiteX1" fmla="*/ 195820 w 1199754"/>
                    <a:gd name="connsiteY1" fmla="*/ 1791367 h 2035301"/>
                    <a:gd name="connsiteX2" fmla="*/ 77900 w 1199754"/>
                    <a:gd name="connsiteY2" fmla="*/ 1234440 h 2035301"/>
                    <a:gd name="connsiteX3" fmla="*/ 144670 w 1199754"/>
                    <a:gd name="connsiteY3" fmla="*/ 1079564 h 2035301"/>
                    <a:gd name="connsiteX4" fmla="*/ 144670 w 1199754"/>
                    <a:gd name="connsiteY4" fmla="*/ 1079564 h 2035301"/>
                    <a:gd name="connsiteX5" fmla="*/ 848854 w 1199754"/>
                    <a:gd name="connsiteY5" fmla="*/ 113157 h 2035301"/>
                    <a:gd name="connsiteX6" fmla="*/ 1199755 w 1199754"/>
                    <a:gd name="connsiteY6" fmla="*/ 0 h 20353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99754" h="2035301">
                      <a:moveTo>
                        <a:pt x="637875" y="2035302"/>
                      </a:moveTo>
                      <a:lnTo>
                        <a:pt x="195820" y="1791367"/>
                      </a:lnTo>
                      <a:cubicBezTo>
                        <a:pt x="-5063" y="1680496"/>
                        <a:pt x="-63737" y="1414939"/>
                        <a:pt x="77900" y="1234440"/>
                      </a:cubicBezTo>
                      <a:cubicBezTo>
                        <a:pt x="118572" y="1182624"/>
                        <a:pt x="144670" y="1129474"/>
                        <a:pt x="144670" y="1079564"/>
                      </a:cubicBezTo>
                      <a:lnTo>
                        <a:pt x="144670" y="1079564"/>
                      </a:lnTo>
                      <a:cubicBezTo>
                        <a:pt x="144670" y="638651"/>
                        <a:pt x="429182" y="248221"/>
                        <a:pt x="848854" y="113157"/>
                      </a:cubicBezTo>
                      <a:lnTo>
                        <a:pt x="1199755" y="0"/>
                      </a:lnTo>
                    </a:path>
                  </a:pathLst>
                </a:custGeom>
                <a:noFill/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28" name="Forme libre : forme 27">
                  <a:extLst>
                    <a:ext uri="{FF2B5EF4-FFF2-40B4-BE49-F238E27FC236}">
                      <a16:creationId xmlns:a16="http://schemas.microsoft.com/office/drawing/2014/main" id="{4C11A3E5-16E8-B7F7-1A1D-DB1513D5FD6B}"/>
                    </a:ext>
                  </a:extLst>
                </p:cNvPr>
                <p:cNvSpPr/>
                <p:nvPr/>
              </p:nvSpPr>
              <p:spPr>
                <a:xfrm>
                  <a:off x="3848100" y="2372867"/>
                  <a:ext cx="3304032" cy="3304032"/>
                </a:xfrm>
                <a:custGeom>
                  <a:avLst/>
                  <a:gdLst>
                    <a:gd name="connsiteX0" fmla="*/ 3275171 w 3304032"/>
                    <a:gd name="connsiteY0" fmla="*/ 1961198 h 3304032"/>
                    <a:gd name="connsiteX1" fmla="*/ 3304032 w 3304032"/>
                    <a:gd name="connsiteY1" fmla="*/ 1652016 h 3304032"/>
                    <a:gd name="connsiteX2" fmla="*/ 1652016 w 3304032"/>
                    <a:gd name="connsiteY2" fmla="*/ 0 h 3304032"/>
                    <a:gd name="connsiteX3" fmla="*/ 0 w 3304032"/>
                    <a:gd name="connsiteY3" fmla="*/ 1652016 h 3304032"/>
                    <a:gd name="connsiteX4" fmla="*/ 1652016 w 3304032"/>
                    <a:gd name="connsiteY4" fmla="*/ 3304032 h 3304032"/>
                    <a:gd name="connsiteX5" fmla="*/ 2821877 w 3304032"/>
                    <a:gd name="connsiteY5" fmla="*/ 2818448 h 3304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304032" h="3304032">
                      <a:moveTo>
                        <a:pt x="3275171" y="1961198"/>
                      </a:moveTo>
                      <a:cubicBezTo>
                        <a:pt x="3294126" y="1860995"/>
                        <a:pt x="3304032" y="1757648"/>
                        <a:pt x="3304032" y="1652016"/>
                      </a:cubicBezTo>
                      <a:cubicBezTo>
                        <a:pt x="3304032" y="739616"/>
                        <a:pt x="2564416" y="0"/>
                        <a:pt x="1652016" y="0"/>
                      </a:cubicBezTo>
                      <a:cubicBezTo>
                        <a:pt x="739616" y="0"/>
                        <a:pt x="0" y="739616"/>
                        <a:pt x="0" y="1652016"/>
                      </a:cubicBezTo>
                      <a:cubicBezTo>
                        <a:pt x="0" y="2564416"/>
                        <a:pt x="739616" y="3304032"/>
                        <a:pt x="1652016" y="3304032"/>
                      </a:cubicBezTo>
                      <a:cubicBezTo>
                        <a:pt x="2109121" y="3304032"/>
                        <a:pt x="2522791" y="3118390"/>
                        <a:pt x="2821877" y="2818448"/>
                      </a:cubicBezTo>
                    </a:path>
                  </a:pathLst>
                </a:custGeom>
                <a:noFill/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</p:grpSp>
        </p:grpSp>
      </p:grpSp>
      <p:grpSp>
        <p:nvGrpSpPr>
          <p:cNvPr id="81" name="Groupe 80">
            <a:extLst>
              <a:ext uri="{FF2B5EF4-FFF2-40B4-BE49-F238E27FC236}">
                <a16:creationId xmlns:a16="http://schemas.microsoft.com/office/drawing/2014/main" id="{2BEB1D1B-61ED-0067-4445-7CE656F8A7E9}"/>
              </a:ext>
            </a:extLst>
          </p:cNvPr>
          <p:cNvGrpSpPr/>
          <p:nvPr/>
        </p:nvGrpSpPr>
        <p:grpSpPr>
          <a:xfrm>
            <a:off x="4869547" y="2640333"/>
            <a:ext cx="630723" cy="630723"/>
            <a:chOff x="4869547" y="2487933"/>
            <a:chExt cx="630723" cy="630723"/>
          </a:xfrm>
        </p:grpSpPr>
        <p:sp>
          <p:nvSpPr>
            <p:cNvPr id="75" name="Ellipse 74">
              <a:extLst>
                <a:ext uri="{FF2B5EF4-FFF2-40B4-BE49-F238E27FC236}">
                  <a16:creationId xmlns:a16="http://schemas.microsoft.com/office/drawing/2014/main" id="{86C61B17-565A-D4D7-4597-33AD7770EEAF}"/>
                </a:ext>
              </a:extLst>
            </p:cNvPr>
            <p:cNvSpPr/>
            <p:nvPr/>
          </p:nvSpPr>
          <p:spPr>
            <a:xfrm>
              <a:off x="4869547" y="2487933"/>
              <a:ext cx="630723" cy="630723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32" name="Groupe 31">
              <a:extLst>
                <a:ext uri="{FF2B5EF4-FFF2-40B4-BE49-F238E27FC236}">
                  <a16:creationId xmlns:a16="http://schemas.microsoft.com/office/drawing/2014/main" id="{A4DDC948-308F-6712-CE0C-D69F0FA2DC17}"/>
                </a:ext>
              </a:extLst>
            </p:cNvPr>
            <p:cNvGrpSpPr/>
            <p:nvPr/>
          </p:nvGrpSpPr>
          <p:grpSpPr>
            <a:xfrm>
              <a:off x="5034598" y="2652984"/>
              <a:ext cx="300620" cy="300620"/>
              <a:chOff x="10046467" y="2374467"/>
              <a:chExt cx="474812" cy="474812"/>
            </a:xfrm>
          </p:grpSpPr>
          <p:sp>
            <p:nvSpPr>
              <p:cNvPr id="33" name="Forme libre : forme 32">
                <a:extLst>
                  <a:ext uri="{FF2B5EF4-FFF2-40B4-BE49-F238E27FC236}">
                    <a16:creationId xmlns:a16="http://schemas.microsoft.com/office/drawing/2014/main" id="{C9F055DB-1B67-D509-9DF8-39809E4155A6}"/>
                  </a:ext>
                </a:extLst>
              </p:cNvPr>
              <p:cNvSpPr/>
              <p:nvPr/>
            </p:nvSpPr>
            <p:spPr>
              <a:xfrm>
                <a:off x="10046467" y="2464006"/>
                <a:ext cx="397397" cy="385273"/>
              </a:xfrm>
              <a:custGeom>
                <a:avLst/>
                <a:gdLst>
                  <a:gd name="connsiteX0" fmla="*/ 686822 w 686822"/>
                  <a:gd name="connsiteY0" fmla="*/ 128464 h 665867"/>
                  <a:gd name="connsiteX1" fmla="*/ 481583 w 686822"/>
                  <a:gd name="connsiteY1" fmla="*/ 0 h 665867"/>
                  <a:gd name="connsiteX2" fmla="*/ 339023 w 686822"/>
                  <a:gd name="connsiteY2" fmla="*/ 0 h 665867"/>
                  <a:gd name="connsiteX3" fmla="*/ 0 w 686822"/>
                  <a:gd name="connsiteY3" fmla="*/ 392915 h 665867"/>
                  <a:gd name="connsiteX4" fmla="*/ 250590 w 686822"/>
                  <a:gd name="connsiteY4" fmla="*/ 665776 h 665867"/>
                  <a:gd name="connsiteX5" fmla="*/ 407688 w 686822"/>
                  <a:gd name="connsiteY5" fmla="*/ 665868 h 665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86822" h="665867">
                    <a:moveTo>
                      <a:pt x="686822" y="128464"/>
                    </a:moveTo>
                    <a:cubicBezTo>
                      <a:pt x="592013" y="43030"/>
                      <a:pt x="481583" y="0"/>
                      <a:pt x="481583" y="0"/>
                    </a:cubicBezTo>
                    <a:lnTo>
                      <a:pt x="339023" y="0"/>
                    </a:lnTo>
                    <a:cubicBezTo>
                      <a:pt x="339023" y="0"/>
                      <a:pt x="0" y="132128"/>
                      <a:pt x="0" y="392915"/>
                    </a:cubicBezTo>
                    <a:cubicBezTo>
                      <a:pt x="0" y="562870"/>
                      <a:pt x="103337" y="662165"/>
                      <a:pt x="250590" y="665776"/>
                    </a:cubicBezTo>
                    <a:lnTo>
                      <a:pt x="407688" y="665868"/>
                    </a:ln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34" name="Forme libre : forme 33">
                <a:extLst>
                  <a:ext uri="{FF2B5EF4-FFF2-40B4-BE49-F238E27FC236}">
                    <a16:creationId xmlns:a16="http://schemas.microsoft.com/office/drawing/2014/main" id="{9A9618B5-DA54-1B12-6728-1C186467AE26}"/>
                  </a:ext>
                </a:extLst>
              </p:cNvPr>
              <p:cNvSpPr/>
              <p:nvPr/>
            </p:nvSpPr>
            <p:spPr>
              <a:xfrm>
                <a:off x="10131970" y="2463999"/>
                <a:ext cx="120713" cy="208231"/>
              </a:xfrm>
              <a:custGeom>
                <a:avLst/>
                <a:gdLst>
                  <a:gd name="connsiteX0" fmla="*/ 0 w 208629"/>
                  <a:gd name="connsiteY0" fmla="*/ 359886 h 359886"/>
                  <a:gd name="connsiteX1" fmla="*/ 208630 w 208629"/>
                  <a:gd name="connsiteY1" fmla="*/ 0 h 35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8629" h="359886">
                    <a:moveTo>
                      <a:pt x="0" y="359886"/>
                    </a:moveTo>
                    <a:cubicBezTo>
                      <a:pt x="0" y="161375"/>
                      <a:pt x="188640" y="19989"/>
                      <a:pt x="208630" y="0"/>
                    </a:cubicBez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36" name="Forme libre : forme 35">
                <a:extLst>
                  <a:ext uri="{FF2B5EF4-FFF2-40B4-BE49-F238E27FC236}">
                    <a16:creationId xmlns:a16="http://schemas.microsoft.com/office/drawing/2014/main" id="{6C4CD209-F5C8-1856-0086-928F58F148B1}"/>
                  </a:ext>
                </a:extLst>
              </p:cNvPr>
              <p:cNvSpPr/>
              <p:nvPr/>
            </p:nvSpPr>
            <p:spPr>
              <a:xfrm>
                <a:off x="10209431" y="2374467"/>
                <a:ext cx="148877" cy="89532"/>
              </a:xfrm>
              <a:custGeom>
                <a:avLst/>
                <a:gdLst>
                  <a:gd name="connsiteX0" fmla="*/ 198198 w 257305"/>
                  <a:gd name="connsiteY0" fmla="*/ 154738 h 154738"/>
                  <a:gd name="connsiteX1" fmla="*/ 257306 w 257305"/>
                  <a:gd name="connsiteY1" fmla="*/ 3482 h 154738"/>
                  <a:gd name="connsiteX2" fmla="*/ 257306 w 257305"/>
                  <a:gd name="connsiteY2" fmla="*/ 0 h 154738"/>
                  <a:gd name="connsiteX3" fmla="*/ 0 w 257305"/>
                  <a:gd name="connsiteY3" fmla="*/ 0 h 154738"/>
                  <a:gd name="connsiteX4" fmla="*/ 0 w 257305"/>
                  <a:gd name="connsiteY4" fmla="*/ 3482 h 154738"/>
                  <a:gd name="connsiteX5" fmla="*/ 59107 w 257305"/>
                  <a:gd name="connsiteY5" fmla="*/ 154738 h 15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57305" h="154738">
                    <a:moveTo>
                      <a:pt x="198198" y="154738"/>
                    </a:moveTo>
                    <a:lnTo>
                      <a:pt x="257306" y="3482"/>
                    </a:lnTo>
                    <a:lnTo>
                      <a:pt x="257306" y="0"/>
                    </a:lnTo>
                    <a:cubicBezTo>
                      <a:pt x="171520" y="32442"/>
                      <a:pt x="85747" y="32455"/>
                      <a:pt x="0" y="0"/>
                    </a:cubicBezTo>
                    <a:lnTo>
                      <a:pt x="0" y="3482"/>
                    </a:lnTo>
                    <a:lnTo>
                      <a:pt x="59107" y="154738"/>
                    </a:ln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37" name="Forme libre : forme 36">
                <a:extLst>
                  <a:ext uri="{FF2B5EF4-FFF2-40B4-BE49-F238E27FC236}">
                    <a16:creationId xmlns:a16="http://schemas.microsoft.com/office/drawing/2014/main" id="{8E89F9C3-B429-766E-45C4-65A06ED52410}"/>
                  </a:ext>
                </a:extLst>
              </p:cNvPr>
              <p:cNvSpPr/>
              <p:nvPr/>
            </p:nvSpPr>
            <p:spPr>
              <a:xfrm>
                <a:off x="10360323" y="2612884"/>
                <a:ext cx="160956" cy="236395"/>
              </a:xfrm>
              <a:custGeom>
                <a:avLst/>
                <a:gdLst>
                  <a:gd name="connsiteX0" fmla="*/ 0 w 278181"/>
                  <a:gd name="connsiteY0" fmla="*/ 74755 h 408562"/>
                  <a:gd name="connsiteX1" fmla="*/ 0 w 278181"/>
                  <a:gd name="connsiteY1" fmla="*/ 339023 h 408562"/>
                  <a:gd name="connsiteX2" fmla="*/ 139091 w 278181"/>
                  <a:gd name="connsiteY2" fmla="*/ 408562 h 408562"/>
                  <a:gd name="connsiteX3" fmla="*/ 278182 w 278181"/>
                  <a:gd name="connsiteY3" fmla="*/ 339023 h 408562"/>
                  <a:gd name="connsiteX4" fmla="*/ 278182 w 278181"/>
                  <a:gd name="connsiteY4" fmla="*/ 69539 h 408562"/>
                  <a:gd name="connsiteX5" fmla="*/ 139091 w 278181"/>
                  <a:gd name="connsiteY5" fmla="*/ 0 h 408562"/>
                  <a:gd name="connsiteX6" fmla="*/ 0 w 278181"/>
                  <a:gd name="connsiteY6" fmla="*/ 69539 h 408562"/>
                  <a:gd name="connsiteX7" fmla="*/ 139091 w 278181"/>
                  <a:gd name="connsiteY7" fmla="*/ 139078 h 408562"/>
                  <a:gd name="connsiteX8" fmla="*/ 142572 w 278181"/>
                  <a:gd name="connsiteY8" fmla="*/ 139052 h 408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8181" h="408562">
                    <a:moveTo>
                      <a:pt x="0" y="74755"/>
                    </a:moveTo>
                    <a:lnTo>
                      <a:pt x="0" y="339023"/>
                    </a:lnTo>
                    <a:cubicBezTo>
                      <a:pt x="0" y="377437"/>
                      <a:pt x="62276" y="408562"/>
                      <a:pt x="139091" y="408562"/>
                    </a:cubicBezTo>
                    <a:cubicBezTo>
                      <a:pt x="215906" y="408562"/>
                      <a:pt x="278182" y="377424"/>
                      <a:pt x="278182" y="339023"/>
                    </a:cubicBezTo>
                    <a:lnTo>
                      <a:pt x="278182" y="69539"/>
                    </a:lnTo>
                    <a:cubicBezTo>
                      <a:pt x="278182" y="31125"/>
                      <a:pt x="215906" y="0"/>
                      <a:pt x="139091" y="0"/>
                    </a:cubicBezTo>
                    <a:cubicBezTo>
                      <a:pt x="62276" y="0"/>
                      <a:pt x="0" y="31138"/>
                      <a:pt x="0" y="69539"/>
                    </a:cubicBezTo>
                    <a:cubicBezTo>
                      <a:pt x="0" y="107940"/>
                      <a:pt x="62276" y="139078"/>
                      <a:pt x="139091" y="139078"/>
                    </a:cubicBezTo>
                    <a:cubicBezTo>
                      <a:pt x="140251" y="139078"/>
                      <a:pt x="141412" y="139078"/>
                      <a:pt x="142572" y="139052"/>
                    </a:cubicBez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38" name="Forme libre : forme 37">
                <a:extLst>
                  <a:ext uri="{FF2B5EF4-FFF2-40B4-BE49-F238E27FC236}">
                    <a16:creationId xmlns:a16="http://schemas.microsoft.com/office/drawing/2014/main" id="{4DCD5900-40A9-DB63-CD7E-5A9FB8E05E01}"/>
                  </a:ext>
                </a:extLst>
              </p:cNvPr>
              <p:cNvSpPr/>
              <p:nvPr/>
            </p:nvSpPr>
            <p:spPr>
              <a:xfrm>
                <a:off x="10360323" y="2729570"/>
                <a:ext cx="82493" cy="40235"/>
              </a:xfrm>
              <a:custGeom>
                <a:avLst/>
                <a:gdLst>
                  <a:gd name="connsiteX0" fmla="*/ 0 w 142572"/>
                  <a:gd name="connsiteY0" fmla="*/ 0 h 69538"/>
                  <a:gd name="connsiteX1" fmla="*/ 139091 w 142572"/>
                  <a:gd name="connsiteY1" fmla="*/ 69539 h 69538"/>
                  <a:gd name="connsiteX2" fmla="*/ 142572 w 142572"/>
                  <a:gd name="connsiteY2" fmla="*/ 69513 h 69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2572" h="69538">
                    <a:moveTo>
                      <a:pt x="0" y="0"/>
                    </a:moveTo>
                    <a:cubicBezTo>
                      <a:pt x="0" y="38414"/>
                      <a:pt x="62276" y="69539"/>
                      <a:pt x="139091" y="69539"/>
                    </a:cubicBezTo>
                    <a:cubicBezTo>
                      <a:pt x="140251" y="69539"/>
                      <a:pt x="141412" y="69539"/>
                      <a:pt x="142572" y="69513"/>
                    </a:cubicBez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39" name="Forme libre : forme 38">
                <a:extLst>
                  <a:ext uri="{FF2B5EF4-FFF2-40B4-BE49-F238E27FC236}">
                    <a16:creationId xmlns:a16="http://schemas.microsoft.com/office/drawing/2014/main" id="{97C9F629-B6FC-5DEC-59D9-8ECC99927788}"/>
                  </a:ext>
                </a:extLst>
              </p:cNvPr>
              <p:cNvSpPr/>
              <p:nvPr/>
            </p:nvSpPr>
            <p:spPr>
              <a:xfrm>
                <a:off x="10199366" y="2689334"/>
                <a:ext cx="160956" cy="80470"/>
              </a:xfrm>
              <a:custGeom>
                <a:avLst/>
                <a:gdLst>
                  <a:gd name="connsiteX0" fmla="*/ 278182 w 278181"/>
                  <a:gd name="connsiteY0" fmla="*/ 71286 h 139077"/>
                  <a:gd name="connsiteX1" fmla="*/ 139091 w 278181"/>
                  <a:gd name="connsiteY1" fmla="*/ 0 h 139077"/>
                  <a:gd name="connsiteX2" fmla="*/ 0 w 278181"/>
                  <a:gd name="connsiteY2" fmla="*/ 69539 h 139077"/>
                  <a:gd name="connsiteX3" fmla="*/ 139091 w 278181"/>
                  <a:gd name="connsiteY3" fmla="*/ 139078 h 139077"/>
                  <a:gd name="connsiteX4" fmla="*/ 142572 w 278181"/>
                  <a:gd name="connsiteY4" fmla="*/ 139052 h 139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8181" h="139077">
                    <a:moveTo>
                      <a:pt x="278182" y="71286"/>
                    </a:moveTo>
                    <a:cubicBezTo>
                      <a:pt x="278182" y="32872"/>
                      <a:pt x="215906" y="0"/>
                      <a:pt x="139091" y="0"/>
                    </a:cubicBezTo>
                    <a:cubicBezTo>
                      <a:pt x="62276" y="0"/>
                      <a:pt x="0" y="31138"/>
                      <a:pt x="0" y="69539"/>
                    </a:cubicBezTo>
                    <a:cubicBezTo>
                      <a:pt x="0" y="107940"/>
                      <a:pt x="62276" y="139078"/>
                      <a:pt x="139091" y="139078"/>
                    </a:cubicBezTo>
                    <a:cubicBezTo>
                      <a:pt x="140251" y="139078"/>
                      <a:pt x="141412" y="139078"/>
                      <a:pt x="142572" y="139052"/>
                    </a:cubicBez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0" name="Forme libre : forme 39">
                <a:extLst>
                  <a:ext uri="{FF2B5EF4-FFF2-40B4-BE49-F238E27FC236}">
                    <a16:creationId xmlns:a16="http://schemas.microsoft.com/office/drawing/2014/main" id="{CD9234DB-E2EA-B259-E64E-7FCCF9459F72}"/>
                  </a:ext>
                </a:extLst>
              </p:cNvPr>
              <p:cNvSpPr/>
              <p:nvPr/>
            </p:nvSpPr>
            <p:spPr>
              <a:xfrm>
                <a:off x="10199366" y="2730580"/>
                <a:ext cx="160956" cy="118699"/>
              </a:xfrm>
              <a:custGeom>
                <a:avLst/>
                <a:gdLst>
                  <a:gd name="connsiteX0" fmla="*/ 278182 w 278181"/>
                  <a:gd name="connsiteY0" fmla="*/ 0 h 205148"/>
                  <a:gd name="connsiteX1" fmla="*/ 278182 w 278181"/>
                  <a:gd name="connsiteY1" fmla="*/ 135609 h 205148"/>
                  <a:gd name="connsiteX2" fmla="*/ 139091 w 278181"/>
                  <a:gd name="connsiteY2" fmla="*/ 205148 h 205148"/>
                  <a:gd name="connsiteX3" fmla="*/ 0 w 278181"/>
                  <a:gd name="connsiteY3" fmla="*/ 135609 h 205148"/>
                  <a:gd name="connsiteX4" fmla="*/ 0 w 278181"/>
                  <a:gd name="connsiteY4" fmla="*/ 0 h 205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8181" h="205148">
                    <a:moveTo>
                      <a:pt x="278182" y="0"/>
                    </a:moveTo>
                    <a:lnTo>
                      <a:pt x="278182" y="135609"/>
                    </a:lnTo>
                    <a:cubicBezTo>
                      <a:pt x="278182" y="174023"/>
                      <a:pt x="215906" y="205148"/>
                      <a:pt x="139091" y="205148"/>
                    </a:cubicBezTo>
                    <a:cubicBezTo>
                      <a:pt x="62276" y="205148"/>
                      <a:pt x="0" y="174010"/>
                      <a:pt x="0" y="135609"/>
                    </a:cubicBezTo>
                    <a:lnTo>
                      <a:pt x="0" y="0"/>
                    </a:ln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514392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-1.85185E-6 L 0.07097 -1.85185E-6 " pathEditMode="relative" rAng="0" ptsTypes="AA">
                                      <p:cBhvr>
                                        <p:cTn id="9" dur="20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42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3.7037E-7 L -0.075 3.7037E-7 " pathEditMode="relative" rAng="0" ptsTypes="AA">
                                      <p:cBhvr>
                                        <p:cTn id="14" dur="20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50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4.07407E-6 L 0 0.08518 " pathEditMode="relative" rAng="0" ptsTypes="AA">
                                      <p:cBhvr>
                                        <p:cTn id="19" dur="2000" spd="-100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259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-1.85185E-6 L 0 0.06459 " pathEditMode="relative" rAng="0" ptsTypes="AA">
                                      <p:cBhvr>
                                        <p:cTn id="24" dur="20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218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1.875E-6 -4.81481E-6 L 0.07097 -4.81481E-6 " pathEditMode="relative" rAng="0" ptsTypes="AA">
                                      <p:cBhvr>
                                        <p:cTn id="29" dur="20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42" y="0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1.875E-6 -4.81481E-6 L 0.07097 -4.81481E-6 " pathEditMode="relative" rAng="0" ptsTypes="AA">
                                      <p:cBhvr>
                                        <p:cTn id="34" dur="20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42" y="0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1.875E-6 -4.81481E-6 L 0.07097 -4.81481E-6 " pathEditMode="relative" rAng="0" ptsTypes="AA">
                                      <p:cBhvr>
                                        <p:cTn id="39" dur="200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42" y="0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1.875E-6 -4.81481E-6 L 0.07097 -4.81481E-6 " pathEditMode="relative" rAng="0" ptsTypes="AA">
                                      <p:cBhvr>
                                        <p:cTn id="44" dur="20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42" y="0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42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1.875E-6 -4.81481E-6 L 0.07097 -4.81481E-6 " pathEditMode="relative" rAng="0" ptsTypes="AA">
                                      <p:cBhvr>
                                        <p:cTn id="49" dur="2000" spd="-100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42" y="0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2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1.875E-6 -4.81481E-6 L 0.07097 -4.81481E-6 " pathEditMode="relative" rAng="0" ptsTypes="AA">
                                      <p:cBhvr>
                                        <p:cTn id="54" dur="2000" spd="-100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4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" grpId="0" animBg="1"/>
      <p:bldP spid="79" grpId="1" animBg="1"/>
      <p:bldP spid="6" grpId="0"/>
      <p:bldP spid="6" grpId="1"/>
      <p:bldP spid="7" grpId="0"/>
      <p:bldP spid="7" grpId="1"/>
      <p:bldP spid="8" grpId="0" animBg="1"/>
      <p:bldP spid="8" grpId="1" animBg="1"/>
      <p:bldP spid="2" grpId="0"/>
      <p:bldP spid="2" grpId="1"/>
      <p:bldP spid="3" grpId="0" animBg="1"/>
      <p:bldP spid="3" grpId="1" animBg="1"/>
      <p:bldP spid="4" grpId="0" animBg="1"/>
      <p:bldP spid="4" grpId="1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097B3">
            <a:alpha val="10000"/>
          </a:srgb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7161F07-0A78-D131-54F6-8E6DAAA428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Forme libre : forme 271">
            <a:extLst>
              <a:ext uri="{FF2B5EF4-FFF2-40B4-BE49-F238E27FC236}">
                <a16:creationId xmlns:a16="http://schemas.microsoft.com/office/drawing/2014/main" id="{ABDCA139-CC89-B226-C41B-1F021854E029}"/>
              </a:ext>
            </a:extLst>
          </p:cNvPr>
          <p:cNvSpPr>
            <a:spLocks/>
          </p:cNvSpPr>
          <p:nvPr/>
        </p:nvSpPr>
        <p:spPr>
          <a:xfrm>
            <a:off x="5481285" y="-1"/>
            <a:ext cx="6710715" cy="6858000"/>
          </a:xfrm>
          <a:custGeom>
            <a:avLst/>
            <a:gdLst>
              <a:gd name="connsiteX0" fmla="*/ 3196333 w 6710715"/>
              <a:gd name="connsiteY0" fmla="*/ 0 h 6858000"/>
              <a:gd name="connsiteX1" fmla="*/ 3368768 w 6710715"/>
              <a:gd name="connsiteY1" fmla="*/ 0 h 6858000"/>
              <a:gd name="connsiteX2" fmla="*/ 3412233 w 6710715"/>
              <a:gd name="connsiteY2" fmla="*/ 0 h 6858000"/>
              <a:gd name="connsiteX3" fmla="*/ 3584668 w 6710715"/>
              <a:gd name="connsiteY3" fmla="*/ 0 h 6858000"/>
              <a:gd name="connsiteX4" fmla="*/ 3874759 w 6710715"/>
              <a:gd name="connsiteY4" fmla="*/ 0 h 6858000"/>
              <a:gd name="connsiteX5" fmla="*/ 4047194 w 6710715"/>
              <a:gd name="connsiteY5" fmla="*/ 0 h 6858000"/>
              <a:gd name="connsiteX6" fmla="*/ 4090659 w 6710715"/>
              <a:gd name="connsiteY6" fmla="*/ 0 h 6858000"/>
              <a:gd name="connsiteX7" fmla="*/ 4174233 w 6710715"/>
              <a:gd name="connsiteY7" fmla="*/ 0 h 6858000"/>
              <a:gd name="connsiteX8" fmla="*/ 4263094 w 6710715"/>
              <a:gd name="connsiteY8" fmla="*/ 0 h 6858000"/>
              <a:gd name="connsiteX9" fmla="*/ 4346668 w 6710715"/>
              <a:gd name="connsiteY9" fmla="*/ 0 h 6858000"/>
              <a:gd name="connsiteX10" fmla="*/ 4390133 w 6710715"/>
              <a:gd name="connsiteY10" fmla="*/ 0 h 6858000"/>
              <a:gd name="connsiteX11" fmla="*/ 4562568 w 6710715"/>
              <a:gd name="connsiteY11" fmla="*/ 0 h 6858000"/>
              <a:gd name="connsiteX12" fmla="*/ 4852659 w 6710715"/>
              <a:gd name="connsiteY12" fmla="*/ 0 h 6858000"/>
              <a:gd name="connsiteX13" fmla="*/ 5025094 w 6710715"/>
              <a:gd name="connsiteY13" fmla="*/ 0 h 6858000"/>
              <a:gd name="connsiteX14" fmla="*/ 5068559 w 6710715"/>
              <a:gd name="connsiteY14" fmla="*/ 0 h 6858000"/>
              <a:gd name="connsiteX15" fmla="*/ 5240994 w 6710715"/>
              <a:gd name="connsiteY15" fmla="*/ 0 h 6858000"/>
              <a:gd name="connsiteX16" fmla="*/ 6032289 w 6710715"/>
              <a:gd name="connsiteY16" fmla="*/ 0 h 6858000"/>
              <a:gd name="connsiteX17" fmla="*/ 6710715 w 6710715"/>
              <a:gd name="connsiteY17" fmla="*/ 0 h 6858000"/>
              <a:gd name="connsiteX18" fmla="*/ 6710715 w 6710715"/>
              <a:gd name="connsiteY18" fmla="*/ 6858000 h 6858000"/>
              <a:gd name="connsiteX19" fmla="*/ 6032289 w 6710715"/>
              <a:gd name="connsiteY19" fmla="*/ 6858000 h 6858000"/>
              <a:gd name="connsiteX20" fmla="*/ 2064020 w 6710715"/>
              <a:gd name="connsiteY20" fmla="*/ 6858000 h 6858000"/>
              <a:gd name="connsiteX21" fmla="*/ 1891586 w 6710715"/>
              <a:gd name="connsiteY21" fmla="*/ 6858000 h 6858000"/>
              <a:gd name="connsiteX22" fmla="*/ 1848121 w 6710715"/>
              <a:gd name="connsiteY22" fmla="*/ 6858000 h 6858000"/>
              <a:gd name="connsiteX23" fmla="*/ 1675685 w 6710715"/>
              <a:gd name="connsiteY23" fmla="*/ 6858000 h 6858000"/>
              <a:gd name="connsiteX24" fmla="*/ 1385594 w 6710715"/>
              <a:gd name="connsiteY24" fmla="*/ 6858000 h 6858000"/>
              <a:gd name="connsiteX25" fmla="*/ 1213160 w 6710715"/>
              <a:gd name="connsiteY25" fmla="*/ 6858000 h 6858000"/>
              <a:gd name="connsiteX26" fmla="*/ 1169695 w 6710715"/>
              <a:gd name="connsiteY26" fmla="*/ 6858000 h 6858000"/>
              <a:gd name="connsiteX27" fmla="*/ 1086120 w 6710715"/>
              <a:gd name="connsiteY27" fmla="*/ 6858000 h 6858000"/>
              <a:gd name="connsiteX28" fmla="*/ 997259 w 6710715"/>
              <a:gd name="connsiteY28" fmla="*/ 6858000 h 6858000"/>
              <a:gd name="connsiteX29" fmla="*/ 913685 w 6710715"/>
              <a:gd name="connsiteY29" fmla="*/ 6858000 h 6858000"/>
              <a:gd name="connsiteX30" fmla="*/ 870219 w 6710715"/>
              <a:gd name="connsiteY30" fmla="*/ 6858000 h 6858000"/>
              <a:gd name="connsiteX31" fmla="*/ 697786 w 6710715"/>
              <a:gd name="connsiteY31" fmla="*/ 6858000 h 6858000"/>
              <a:gd name="connsiteX32" fmla="*/ 407694 w 6710715"/>
              <a:gd name="connsiteY32" fmla="*/ 6858000 h 6858000"/>
              <a:gd name="connsiteX33" fmla="*/ 235259 w 6710715"/>
              <a:gd name="connsiteY33" fmla="*/ 6858000 h 6858000"/>
              <a:gd name="connsiteX34" fmla="*/ 191793 w 6710715"/>
              <a:gd name="connsiteY34" fmla="*/ 6858000 h 6858000"/>
              <a:gd name="connsiteX35" fmla="*/ 19360 w 6710715"/>
              <a:gd name="connsiteY35" fmla="*/ 6858000 h 6858000"/>
              <a:gd name="connsiteX36" fmla="*/ 17996 w 6710715"/>
              <a:gd name="connsiteY36" fmla="*/ 6849955 h 6858000"/>
              <a:gd name="connsiteX37" fmla="*/ 524526 w 6710715"/>
              <a:gd name="connsiteY37" fmla="*/ 5157900 h 6858000"/>
              <a:gd name="connsiteX38" fmla="*/ 1050926 w 6710715"/>
              <a:gd name="connsiteY38" fmla="*/ 4776304 h 6858000"/>
              <a:gd name="connsiteX39" fmla="*/ 2678933 w 6710715"/>
              <a:gd name="connsiteY39" fmla="*/ 1666078 h 6858000"/>
              <a:gd name="connsiteX40" fmla="*/ 3070301 w 6710715"/>
              <a:gd name="connsiteY40" fmla="*/ 18871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710715" h="6858000">
                <a:moveTo>
                  <a:pt x="3196333" y="0"/>
                </a:moveTo>
                <a:lnTo>
                  <a:pt x="3368768" y="0"/>
                </a:lnTo>
                <a:lnTo>
                  <a:pt x="3412233" y="0"/>
                </a:lnTo>
                <a:lnTo>
                  <a:pt x="3584668" y="0"/>
                </a:lnTo>
                <a:lnTo>
                  <a:pt x="3874759" y="0"/>
                </a:lnTo>
                <a:lnTo>
                  <a:pt x="4047194" y="0"/>
                </a:lnTo>
                <a:lnTo>
                  <a:pt x="4090659" y="0"/>
                </a:lnTo>
                <a:lnTo>
                  <a:pt x="4174233" y="0"/>
                </a:lnTo>
                <a:lnTo>
                  <a:pt x="4263094" y="0"/>
                </a:lnTo>
                <a:lnTo>
                  <a:pt x="4346668" y="0"/>
                </a:lnTo>
                <a:lnTo>
                  <a:pt x="4390133" y="0"/>
                </a:lnTo>
                <a:lnTo>
                  <a:pt x="4562568" y="0"/>
                </a:lnTo>
                <a:lnTo>
                  <a:pt x="4852659" y="0"/>
                </a:lnTo>
                <a:lnTo>
                  <a:pt x="5025094" y="0"/>
                </a:lnTo>
                <a:lnTo>
                  <a:pt x="5068559" y="0"/>
                </a:lnTo>
                <a:lnTo>
                  <a:pt x="5240994" y="0"/>
                </a:lnTo>
                <a:lnTo>
                  <a:pt x="6032289" y="0"/>
                </a:lnTo>
                <a:lnTo>
                  <a:pt x="6710715" y="0"/>
                </a:lnTo>
                <a:lnTo>
                  <a:pt x="6710715" y="6858000"/>
                </a:lnTo>
                <a:lnTo>
                  <a:pt x="6032289" y="6858000"/>
                </a:lnTo>
                <a:lnTo>
                  <a:pt x="2064020" y="6858000"/>
                </a:lnTo>
                <a:lnTo>
                  <a:pt x="1891586" y="6858000"/>
                </a:lnTo>
                <a:lnTo>
                  <a:pt x="1848121" y="6858000"/>
                </a:lnTo>
                <a:lnTo>
                  <a:pt x="1675685" y="6858000"/>
                </a:lnTo>
                <a:lnTo>
                  <a:pt x="1385594" y="6858000"/>
                </a:lnTo>
                <a:lnTo>
                  <a:pt x="1213160" y="6858000"/>
                </a:lnTo>
                <a:lnTo>
                  <a:pt x="1169695" y="6858000"/>
                </a:lnTo>
                <a:lnTo>
                  <a:pt x="1086120" y="6858000"/>
                </a:lnTo>
                <a:lnTo>
                  <a:pt x="997259" y="6858000"/>
                </a:lnTo>
                <a:lnTo>
                  <a:pt x="913685" y="6858000"/>
                </a:lnTo>
                <a:lnTo>
                  <a:pt x="870219" y="6858000"/>
                </a:lnTo>
                <a:lnTo>
                  <a:pt x="697786" y="6858000"/>
                </a:lnTo>
                <a:lnTo>
                  <a:pt x="407694" y="6858000"/>
                </a:lnTo>
                <a:lnTo>
                  <a:pt x="235259" y="6858000"/>
                </a:lnTo>
                <a:lnTo>
                  <a:pt x="191793" y="6858000"/>
                </a:lnTo>
                <a:lnTo>
                  <a:pt x="19360" y="6858000"/>
                </a:lnTo>
                <a:lnTo>
                  <a:pt x="17996" y="6849955"/>
                </a:lnTo>
                <a:cubicBezTo>
                  <a:pt x="-59197" y="6243442"/>
                  <a:pt x="112361" y="5604070"/>
                  <a:pt x="524526" y="5157900"/>
                </a:cubicBezTo>
                <a:cubicBezTo>
                  <a:pt x="682566" y="4986819"/>
                  <a:pt x="861469" y="4859893"/>
                  <a:pt x="1050926" y="4776304"/>
                </a:cubicBezTo>
                <a:cubicBezTo>
                  <a:pt x="2276869" y="4200459"/>
                  <a:pt x="2690367" y="3752272"/>
                  <a:pt x="2678933" y="1666078"/>
                </a:cubicBezTo>
                <a:cubicBezTo>
                  <a:pt x="2676233" y="1147067"/>
                  <a:pt x="2807627" y="628568"/>
                  <a:pt x="3070301" y="188711"/>
                </a:cubicBezTo>
                <a:close/>
              </a:path>
            </a:pathLst>
          </a:custGeom>
          <a:solidFill>
            <a:srgbClr val="EAEA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Alternates"/>
              <a:ea typeface="+mn-ea"/>
              <a:cs typeface="+mn-cs"/>
            </a:endParaRPr>
          </a:p>
        </p:txBody>
      </p:sp>
      <p:sp>
        <p:nvSpPr>
          <p:cNvPr id="224" name="!_SCREENSHOT02_!!">
            <a:extLst>
              <a:ext uri="{FF2B5EF4-FFF2-40B4-BE49-F238E27FC236}">
                <a16:creationId xmlns:a16="http://schemas.microsoft.com/office/drawing/2014/main" id="{AA834156-F71E-2A9F-FA7A-C84886E26DE8}"/>
              </a:ext>
            </a:extLst>
          </p:cNvPr>
          <p:cNvSpPr/>
          <p:nvPr/>
        </p:nvSpPr>
        <p:spPr>
          <a:xfrm>
            <a:off x="7604406" y="-3284216"/>
            <a:ext cx="2261634" cy="4766308"/>
          </a:xfrm>
          <a:prstGeom prst="roundRect">
            <a:avLst>
              <a:gd name="adj" fmla="val 0"/>
            </a:avLst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srgbClr val="DBDDE6">
                  <a:lumMod val="10000"/>
                </a:srgbClr>
              </a:solidFill>
              <a:effectLst/>
              <a:uLnTx/>
              <a:uFillTx/>
              <a:latin typeface="Quicksand"/>
              <a:ea typeface="+mn-ea"/>
              <a:cs typeface="+mn-cs"/>
            </a:endParaRPr>
          </a:p>
        </p:txBody>
      </p:sp>
      <p:sp>
        <p:nvSpPr>
          <p:cNvPr id="31" name="!_SCREENSHOT01_!!">
            <a:extLst>
              <a:ext uri="{FF2B5EF4-FFF2-40B4-BE49-F238E27FC236}">
                <a16:creationId xmlns:a16="http://schemas.microsoft.com/office/drawing/2014/main" id="{7AD22ADD-0FC7-37FD-25ED-2161D52401D1}"/>
              </a:ext>
            </a:extLst>
          </p:cNvPr>
          <p:cNvSpPr/>
          <p:nvPr/>
        </p:nvSpPr>
        <p:spPr>
          <a:xfrm>
            <a:off x="7604406" y="1482093"/>
            <a:ext cx="2261634" cy="4766308"/>
          </a:xfrm>
          <a:prstGeom prst="roundRect">
            <a:avLst>
              <a:gd name="adj" fmla="val 0"/>
            </a:avLst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srgbClr val="DBDDE6">
                  <a:lumMod val="10000"/>
                </a:srgbClr>
              </a:solidFill>
              <a:effectLst/>
              <a:uLnTx/>
              <a:uFillTx/>
              <a:latin typeface="Quicksand"/>
              <a:ea typeface="+mn-ea"/>
              <a:cs typeface="+mn-cs"/>
            </a:endParaRPr>
          </a:p>
        </p:txBody>
      </p:sp>
      <p:grpSp>
        <p:nvGrpSpPr>
          <p:cNvPr id="28" name="Cache-droite">
            <a:extLst>
              <a:ext uri="{FF2B5EF4-FFF2-40B4-BE49-F238E27FC236}">
                <a16:creationId xmlns:a16="http://schemas.microsoft.com/office/drawing/2014/main" id="{E1C96A63-41DE-39C1-5499-FB9D3B86E507}"/>
              </a:ext>
            </a:extLst>
          </p:cNvPr>
          <p:cNvGrpSpPr/>
          <p:nvPr/>
        </p:nvGrpSpPr>
        <p:grpSpPr>
          <a:xfrm>
            <a:off x="5481285" y="0"/>
            <a:ext cx="6710715" cy="6858000"/>
            <a:chOff x="5633685" y="152399"/>
            <a:chExt cx="6710715" cy="6858000"/>
          </a:xfrm>
        </p:grpSpPr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CA6DF2AA-6F99-59FE-8C10-4F2E6816399D}"/>
                </a:ext>
              </a:extLst>
            </p:cNvPr>
            <p:cNvSpPr/>
            <p:nvPr/>
          </p:nvSpPr>
          <p:spPr>
            <a:xfrm>
              <a:off x="6248400" y="152400"/>
              <a:ext cx="4000500" cy="6857999"/>
            </a:xfrm>
            <a:custGeom>
              <a:avLst/>
              <a:gdLst>
                <a:gd name="connsiteX0" fmla="*/ 1732964 w 4000500"/>
                <a:gd name="connsiteY0" fmla="*/ 1482093 h 6857999"/>
                <a:gd name="connsiteX1" fmla="*/ 1508406 w 4000500"/>
                <a:gd name="connsiteY1" fmla="*/ 1706651 h 6857999"/>
                <a:gd name="connsiteX2" fmla="*/ 1508406 w 4000500"/>
                <a:gd name="connsiteY2" fmla="*/ 6023843 h 6857999"/>
                <a:gd name="connsiteX3" fmla="*/ 1732964 w 4000500"/>
                <a:gd name="connsiteY3" fmla="*/ 6248401 h 6857999"/>
                <a:gd name="connsiteX4" fmla="*/ 3545482 w 4000500"/>
                <a:gd name="connsiteY4" fmla="*/ 6248401 h 6857999"/>
                <a:gd name="connsiteX5" fmla="*/ 3770040 w 4000500"/>
                <a:gd name="connsiteY5" fmla="*/ 6023843 h 6857999"/>
                <a:gd name="connsiteX6" fmla="*/ 3770040 w 4000500"/>
                <a:gd name="connsiteY6" fmla="*/ 1706651 h 6857999"/>
                <a:gd name="connsiteX7" fmla="*/ 3545482 w 4000500"/>
                <a:gd name="connsiteY7" fmla="*/ 1482093 h 6857999"/>
                <a:gd name="connsiteX8" fmla="*/ 0 w 4000500"/>
                <a:gd name="connsiteY8" fmla="*/ 0 h 6857999"/>
                <a:gd name="connsiteX9" fmla="*/ 4000500 w 4000500"/>
                <a:gd name="connsiteY9" fmla="*/ 0 h 6857999"/>
                <a:gd name="connsiteX10" fmla="*/ 4000500 w 4000500"/>
                <a:gd name="connsiteY10" fmla="*/ 6857999 h 6857999"/>
                <a:gd name="connsiteX11" fmla="*/ 0 w 4000500"/>
                <a:gd name="connsiteY11" fmla="*/ 6857999 h 6857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00500" h="6857999">
                  <a:moveTo>
                    <a:pt x="1732964" y="1482093"/>
                  </a:moveTo>
                  <a:cubicBezTo>
                    <a:pt x="1608944" y="1482093"/>
                    <a:pt x="1508406" y="1582631"/>
                    <a:pt x="1508406" y="1706651"/>
                  </a:cubicBezTo>
                  <a:lnTo>
                    <a:pt x="1508406" y="6023843"/>
                  </a:lnTo>
                  <a:cubicBezTo>
                    <a:pt x="1508406" y="6147863"/>
                    <a:pt x="1608944" y="6248401"/>
                    <a:pt x="1732964" y="6248401"/>
                  </a:cubicBezTo>
                  <a:lnTo>
                    <a:pt x="3545482" y="6248401"/>
                  </a:lnTo>
                  <a:cubicBezTo>
                    <a:pt x="3669502" y="6248401"/>
                    <a:pt x="3770040" y="6147863"/>
                    <a:pt x="3770040" y="6023843"/>
                  </a:cubicBezTo>
                  <a:lnTo>
                    <a:pt x="3770040" y="1706651"/>
                  </a:lnTo>
                  <a:cubicBezTo>
                    <a:pt x="3770040" y="1582631"/>
                    <a:pt x="3669502" y="1482093"/>
                    <a:pt x="3545482" y="1482093"/>
                  </a:cubicBezTo>
                  <a:close/>
                  <a:moveTo>
                    <a:pt x="0" y="0"/>
                  </a:moveTo>
                  <a:lnTo>
                    <a:pt x="4000500" y="0"/>
                  </a:lnTo>
                  <a:lnTo>
                    <a:pt x="4000500" y="6857999"/>
                  </a:lnTo>
                  <a:lnTo>
                    <a:pt x="0" y="6857999"/>
                  </a:lnTo>
                  <a:close/>
                </a:path>
              </a:pathLst>
            </a:custGeom>
            <a:solidFill>
              <a:srgbClr val="F4F4F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3A45515E-D045-500E-9E50-D6FDBF8CEDBB}"/>
                </a:ext>
              </a:extLst>
            </p:cNvPr>
            <p:cNvSpPr>
              <a:spLocks/>
            </p:cNvSpPr>
            <p:nvPr/>
          </p:nvSpPr>
          <p:spPr>
            <a:xfrm>
              <a:off x="5633685" y="152399"/>
              <a:ext cx="6710715" cy="6858000"/>
            </a:xfrm>
            <a:custGeom>
              <a:avLst/>
              <a:gdLst>
                <a:gd name="connsiteX0" fmla="*/ 3196333 w 6710715"/>
                <a:gd name="connsiteY0" fmla="*/ 0 h 6858000"/>
                <a:gd name="connsiteX1" fmla="*/ 3368768 w 6710715"/>
                <a:gd name="connsiteY1" fmla="*/ 0 h 6858000"/>
                <a:gd name="connsiteX2" fmla="*/ 3412233 w 6710715"/>
                <a:gd name="connsiteY2" fmla="*/ 0 h 6858000"/>
                <a:gd name="connsiteX3" fmla="*/ 3584668 w 6710715"/>
                <a:gd name="connsiteY3" fmla="*/ 0 h 6858000"/>
                <a:gd name="connsiteX4" fmla="*/ 3874759 w 6710715"/>
                <a:gd name="connsiteY4" fmla="*/ 0 h 6858000"/>
                <a:gd name="connsiteX5" fmla="*/ 4047194 w 6710715"/>
                <a:gd name="connsiteY5" fmla="*/ 0 h 6858000"/>
                <a:gd name="connsiteX6" fmla="*/ 4090659 w 6710715"/>
                <a:gd name="connsiteY6" fmla="*/ 0 h 6858000"/>
                <a:gd name="connsiteX7" fmla="*/ 4174233 w 6710715"/>
                <a:gd name="connsiteY7" fmla="*/ 0 h 6858000"/>
                <a:gd name="connsiteX8" fmla="*/ 4263094 w 6710715"/>
                <a:gd name="connsiteY8" fmla="*/ 0 h 6858000"/>
                <a:gd name="connsiteX9" fmla="*/ 4346668 w 6710715"/>
                <a:gd name="connsiteY9" fmla="*/ 0 h 6858000"/>
                <a:gd name="connsiteX10" fmla="*/ 4390133 w 6710715"/>
                <a:gd name="connsiteY10" fmla="*/ 0 h 6858000"/>
                <a:gd name="connsiteX11" fmla="*/ 4562568 w 6710715"/>
                <a:gd name="connsiteY11" fmla="*/ 0 h 6858000"/>
                <a:gd name="connsiteX12" fmla="*/ 4852659 w 6710715"/>
                <a:gd name="connsiteY12" fmla="*/ 0 h 6858000"/>
                <a:gd name="connsiteX13" fmla="*/ 5025094 w 6710715"/>
                <a:gd name="connsiteY13" fmla="*/ 0 h 6858000"/>
                <a:gd name="connsiteX14" fmla="*/ 5068559 w 6710715"/>
                <a:gd name="connsiteY14" fmla="*/ 0 h 6858000"/>
                <a:gd name="connsiteX15" fmla="*/ 5240994 w 6710715"/>
                <a:gd name="connsiteY15" fmla="*/ 0 h 6858000"/>
                <a:gd name="connsiteX16" fmla="*/ 6032289 w 6710715"/>
                <a:gd name="connsiteY16" fmla="*/ 0 h 6858000"/>
                <a:gd name="connsiteX17" fmla="*/ 6710715 w 6710715"/>
                <a:gd name="connsiteY17" fmla="*/ 0 h 6858000"/>
                <a:gd name="connsiteX18" fmla="*/ 6710715 w 6710715"/>
                <a:gd name="connsiteY18" fmla="*/ 6858000 h 6858000"/>
                <a:gd name="connsiteX19" fmla="*/ 6032289 w 6710715"/>
                <a:gd name="connsiteY19" fmla="*/ 6858000 h 6858000"/>
                <a:gd name="connsiteX20" fmla="*/ 2064020 w 6710715"/>
                <a:gd name="connsiteY20" fmla="*/ 6858000 h 6858000"/>
                <a:gd name="connsiteX21" fmla="*/ 1891586 w 6710715"/>
                <a:gd name="connsiteY21" fmla="*/ 6858000 h 6858000"/>
                <a:gd name="connsiteX22" fmla="*/ 1848121 w 6710715"/>
                <a:gd name="connsiteY22" fmla="*/ 6858000 h 6858000"/>
                <a:gd name="connsiteX23" fmla="*/ 1675685 w 6710715"/>
                <a:gd name="connsiteY23" fmla="*/ 6858000 h 6858000"/>
                <a:gd name="connsiteX24" fmla="*/ 1385594 w 6710715"/>
                <a:gd name="connsiteY24" fmla="*/ 6858000 h 6858000"/>
                <a:gd name="connsiteX25" fmla="*/ 1213160 w 6710715"/>
                <a:gd name="connsiteY25" fmla="*/ 6858000 h 6858000"/>
                <a:gd name="connsiteX26" fmla="*/ 1169695 w 6710715"/>
                <a:gd name="connsiteY26" fmla="*/ 6858000 h 6858000"/>
                <a:gd name="connsiteX27" fmla="*/ 1086120 w 6710715"/>
                <a:gd name="connsiteY27" fmla="*/ 6858000 h 6858000"/>
                <a:gd name="connsiteX28" fmla="*/ 997259 w 6710715"/>
                <a:gd name="connsiteY28" fmla="*/ 6858000 h 6858000"/>
                <a:gd name="connsiteX29" fmla="*/ 913685 w 6710715"/>
                <a:gd name="connsiteY29" fmla="*/ 6858000 h 6858000"/>
                <a:gd name="connsiteX30" fmla="*/ 870219 w 6710715"/>
                <a:gd name="connsiteY30" fmla="*/ 6858000 h 6858000"/>
                <a:gd name="connsiteX31" fmla="*/ 697786 w 6710715"/>
                <a:gd name="connsiteY31" fmla="*/ 6858000 h 6858000"/>
                <a:gd name="connsiteX32" fmla="*/ 407694 w 6710715"/>
                <a:gd name="connsiteY32" fmla="*/ 6858000 h 6858000"/>
                <a:gd name="connsiteX33" fmla="*/ 235259 w 6710715"/>
                <a:gd name="connsiteY33" fmla="*/ 6858000 h 6858000"/>
                <a:gd name="connsiteX34" fmla="*/ 191793 w 6710715"/>
                <a:gd name="connsiteY34" fmla="*/ 6858000 h 6858000"/>
                <a:gd name="connsiteX35" fmla="*/ 19360 w 6710715"/>
                <a:gd name="connsiteY35" fmla="*/ 6858000 h 6858000"/>
                <a:gd name="connsiteX36" fmla="*/ 17996 w 6710715"/>
                <a:gd name="connsiteY36" fmla="*/ 6849955 h 6858000"/>
                <a:gd name="connsiteX37" fmla="*/ 524526 w 6710715"/>
                <a:gd name="connsiteY37" fmla="*/ 5157900 h 6858000"/>
                <a:gd name="connsiteX38" fmla="*/ 1050926 w 6710715"/>
                <a:gd name="connsiteY38" fmla="*/ 4776304 h 6858000"/>
                <a:gd name="connsiteX39" fmla="*/ 2107797 w 6710715"/>
                <a:gd name="connsiteY39" fmla="*/ 4089223 h 6858000"/>
                <a:gd name="connsiteX40" fmla="*/ 2123121 w 6710715"/>
                <a:gd name="connsiteY40" fmla="*/ 4070634 h 6858000"/>
                <a:gd name="connsiteX41" fmla="*/ 2123121 w 6710715"/>
                <a:gd name="connsiteY41" fmla="*/ 6023844 h 6858000"/>
                <a:gd name="connsiteX42" fmla="*/ 2347679 w 6710715"/>
                <a:gd name="connsiteY42" fmla="*/ 6248402 h 6858000"/>
                <a:gd name="connsiteX43" fmla="*/ 4160197 w 6710715"/>
                <a:gd name="connsiteY43" fmla="*/ 6248402 h 6858000"/>
                <a:gd name="connsiteX44" fmla="*/ 4384755 w 6710715"/>
                <a:gd name="connsiteY44" fmla="*/ 6023844 h 6858000"/>
                <a:gd name="connsiteX45" fmla="*/ 4384755 w 6710715"/>
                <a:gd name="connsiteY45" fmla="*/ 1706652 h 6858000"/>
                <a:gd name="connsiteX46" fmla="*/ 4160197 w 6710715"/>
                <a:gd name="connsiteY46" fmla="*/ 1482094 h 6858000"/>
                <a:gd name="connsiteX47" fmla="*/ 2683917 w 6710715"/>
                <a:gd name="connsiteY47" fmla="*/ 1482094 h 6858000"/>
                <a:gd name="connsiteX48" fmla="*/ 2684201 w 6710715"/>
                <a:gd name="connsiteY48" fmla="*/ 1471626 h 6858000"/>
                <a:gd name="connsiteX49" fmla="*/ 3070301 w 6710715"/>
                <a:gd name="connsiteY49" fmla="*/ 188711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6710715" h="6858000">
                  <a:moveTo>
                    <a:pt x="3196333" y="0"/>
                  </a:moveTo>
                  <a:lnTo>
                    <a:pt x="3368768" y="0"/>
                  </a:lnTo>
                  <a:lnTo>
                    <a:pt x="3412233" y="0"/>
                  </a:lnTo>
                  <a:lnTo>
                    <a:pt x="3584668" y="0"/>
                  </a:lnTo>
                  <a:lnTo>
                    <a:pt x="3874759" y="0"/>
                  </a:lnTo>
                  <a:lnTo>
                    <a:pt x="4047194" y="0"/>
                  </a:lnTo>
                  <a:lnTo>
                    <a:pt x="4090659" y="0"/>
                  </a:lnTo>
                  <a:lnTo>
                    <a:pt x="4174233" y="0"/>
                  </a:lnTo>
                  <a:lnTo>
                    <a:pt x="4263094" y="0"/>
                  </a:lnTo>
                  <a:lnTo>
                    <a:pt x="4346668" y="0"/>
                  </a:lnTo>
                  <a:lnTo>
                    <a:pt x="4390133" y="0"/>
                  </a:lnTo>
                  <a:lnTo>
                    <a:pt x="4562568" y="0"/>
                  </a:lnTo>
                  <a:lnTo>
                    <a:pt x="4852659" y="0"/>
                  </a:lnTo>
                  <a:lnTo>
                    <a:pt x="5025094" y="0"/>
                  </a:lnTo>
                  <a:lnTo>
                    <a:pt x="5068559" y="0"/>
                  </a:lnTo>
                  <a:lnTo>
                    <a:pt x="5240994" y="0"/>
                  </a:lnTo>
                  <a:lnTo>
                    <a:pt x="6032289" y="0"/>
                  </a:lnTo>
                  <a:lnTo>
                    <a:pt x="6710715" y="0"/>
                  </a:lnTo>
                  <a:lnTo>
                    <a:pt x="6710715" y="6858000"/>
                  </a:lnTo>
                  <a:lnTo>
                    <a:pt x="6032289" y="6858000"/>
                  </a:lnTo>
                  <a:lnTo>
                    <a:pt x="2064020" y="6858000"/>
                  </a:lnTo>
                  <a:lnTo>
                    <a:pt x="1891586" y="6858000"/>
                  </a:lnTo>
                  <a:lnTo>
                    <a:pt x="1848121" y="6858000"/>
                  </a:lnTo>
                  <a:lnTo>
                    <a:pt x="1675685" y="6858000"/>
                  </a:lnTo>
                  <a:lnTo>
                    <a:pt x="1385594" y="6858000"/>
                  </a:lnTo>
                  <a:lnTo>
                    <a:pt x="1213160" y="6858000"/>
                  </a:lnTo>
                  <a:lnTo>
                    <a:pt x="1169695" y="6858000"/>
                  </a:lnTo>
                  <a:lnTo>
                    <a:pt x="1086120" y="6858000"/>
                  </a:lnTo>
                  <a:lnTo>
                    <a:pt x="997259" y="6858000"/>
                  </a:lnTo>
                  <a:lnTo>
                    <a:pt x="913685" y="6858000"/>
                  </a:lnTo>
                  <a:lnTo>
                    <a:pt x="870219" y="6858000"/>
                  </a:lnTo>
                  <a:lnTo>
                    <a:pt x="697786" y="6858000"/>
                  </a:lnTo>
                  <a:lnTo>
                    <a:pt x="407694" y="6858000"/>
                  </a:lnTo>
                  <a:lnTo>
                    <a:pt x="235259" y="6858000"/>
                  </a:lnTo>
                  <a:lnTo>
                    <a:pt x="191793" y="6858000"/>
                  </a:lnTo>
                  <a:lnTo>
                    <a:pt x="19360" y="6858000"/>
                  </a:lnTo>
                  <a:lnTo>
                    <a:pt x="17996" y="6849955"/>
                  </a:lnTo>
                  <a:cubicBezTo>
                    <a:pt x="-59197" y="6243442"/>
                    <a:pt x="112361" y="5604070"/>
                    <a:pt x="524526" y="5157900"/>
                  </a:cubicBezTo>
                  <a:cubicBezTo>
                    <a:pt x="682566" y="4986819"/>
                    <a:pt x="861469" y="4859893"/>
                    <a:pt x="1050926" y="4776304"/>
                  </a:cubicBezTo>
                  <a:cubicBezTo>
                    <a:pt x="1510655" y="4560362"/>
                    <a:pt x="1856134" y="4362372"/>
                    <a:pt x="2107797" y="4089223"/>
                  </a:cubicBezTo>
                  <a:lnTo>
                    <a:pt x="2123121" y="4070634"/>
                  </a:lnTo>
                  <a:lnTo>
                    <a:pt x="2123121" y="6023844"/>
                  </a:lnTo>
                  <a:cubicBezTo>
                    <a:pt x="2123121" y="6147864"/>
                    <a:pt x="2223659" y="6248402"/>
                    <a:pt x="2347679" y="6248402"/>
                  </a:cubicBezTo>
                  <a:lnTo>
                    <a:pt x="4160197" y="6248402"/>
                  </a:lnTo>
                  <a:cubicBezTo>
                    <a:pt x="4284217" y="6248402"/>
                    <a:pt x="4384755" y="6147864"/>
                    <a:pt x="4384755" y="6023844"/>
                  </a:cubicBezTo>
                  <a:lnTo>
                    <a:pt x="4384755" y="1706652"/>
                  </a:lnTo>
                  <a:cubicBezTo>
                    <a:pt x="4384755" y="1582632"/>
                    <a:pt x="4284217" y="1482094"/>
                    <a:pt x="4160197" y="1482094"/>
                  </a:cubicBezTo>
                  <a:lnTo>
                    <a:pt x="2683917" y="1482094"/>
                  </a:lnTo>
                  <a:lnTo>
                    <a:pt x="2684201" y="1471626"/>
                  </a:lnTo>
                  <a:cubicBezTo>
                    <a:pt x="2711133" y="1018671"/>
                    <a:pt x="2840462" y="573586"/>
                    <a:pt x="3070301" y="188711"/>
                  </a:cubicBezTo>
                  <a:close/>
                </a:path>
              </a:pathLst>
            </a:custGeom>
            <a:solidFill>
              <a:srgbClr val="EAEA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</p:grpSp>
      <p:sp>
        <p:nvSpPr>
          <p:cNvPr id="235" name="!!_Titre_01_!!">
            <a:extLst>
              <a:ext uri="{FF2B5EF4-FFF2-40B4-BE49-F238E27FC236}">
                <a16:creationId xmlns:a16="http://schemas.microsoft.com/office/drawing/2014/main" id="{A7FBF5BB-9943-CA6D-ADE9-03BBAEE72319}"/>
              </a:ext>
            </a:extLst>
          </p:cNvPr>
          <p:cNvSpPr txBox="1"/>
          <p:nvPr/>
        </p:nvSpPr>
        <p:spPr>
          <a:xfrm>
            <a:off x="1366684" y="3429000"/>
            <a:ext cx="3790753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 ExtraBold" panose="00000900000000000000" pitchFamily="2" charset="0"/>
                <a:ea typeface="+mn-ea"/>
                <a:cs typeface="+mn-cs"/>
              </a:rPr>
              <a:t>Scanner votre ordonn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avant de vous rend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à la pharmacie </a:t>
            </a:r>
          </a:p>
        </p:txBody>
      </p:sp>
      <p:sp>
        <p:nvSpPr>
          <p:cNvPr id="237" name="!!_Texte_01a_!!">
            <a:extLst>
              <a:ext uri="{FF2B5EF4-FFF2-40B4-BE49-F238E27FC236}">
                <a16:creationId xmlns:a16="http://schemas.microsoft.com/office/drawing/2014/main" id="{833F1BE8-B731-9FC2-AE3D-1EE8365FB667}"/>
              </a:ext>
            </a:extLst>
          </p:cNvPr>
          <p:cNvSpPr txBox="1"/>
          <p:nvPr/>
        </p:nvSpPr>
        <p:spPr>
          <a:xfrm>
            <a:off x="1366684" y="4411442"/>
            <a:ext cx="282959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 SemiBold" panose="00000700000000000000" pitchFamily="2" charset="0"/>
                <a:ea typeface="+mn-ea"/>
                <a:cs typeface="+mn-cs"/>
              </a:rPr>
              <a:t>Sensibilisation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 sur le prix </a:t>
            </a:r>
            <a:b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</a:b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réel du traitement et son impact environnemental</a:t>
            </a:r>
          </a:p>
        </p:txBody>
      </p:sp>
      <p:sp>
        <p:nvSpPr>
          <p:cNvPr id="238" name="!!_Texte_01b_!!">
            <a:extLst>
              <a:ext uri="{FF2B5EF4-FFF2-40B4-BE49-F238E27FC236}">
                <a16:creationId xmlns:a16="http://schemas.microsoft.com/office/drawing/2014/main" id="{2A7DB9B3-BDF2-D385-0E15-0269E73808BD}"/>
              </a:ext>
            </a:extLst>
          </p:cNvPr>
          <p:cNvSpPr txBox="1"/>
          <p:nvPr/>
        </p:nvSpPr>
        <p:spPr>
          <a:xfrm>
            <a:off x="1366684" y="5301551"/>
            <a:ext cx="354081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 SemiBold" panose="00000700000000000000" pitchFamily="2" charset="0"/>
                <a:ea typeface="+mn-ea"/>
                <a:cs typeface="+mn-cs"/>
              </a:rPr>
              <a:t>Ordonnance ajustée 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en fonc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du stock disponible à la maison,  </a:t>
            </a:r>
            <a:b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</a:b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afin d'éviter l'achat de médicaments déjà en votre en possession </a:t>
            </a:r>
          </a:p>
        </p:txBody>
      </p:sp>
      <p:sp>
        <p:nvSpPr>
          <p:cNvPr id="269" name="Rectangle : avec coins arrondis en haut 268">
            <a:extLst>
              <a:ext uri="{FF2B5EF4-FFF2-40B4-BE49-F238E27FC236}">
                <a16:creationId xmlns:a16="http://schemas.microsoft.com/office/drawing/2014/main" id="{902D6425-ECEC-1833-CEBE-E97086D8084D}"/>
              </a:ext>
            </a:extLst>
          </p:cNvPr>
          <p:cNvSpPr/>
          <p:nvPr/>
        </p:nvSpPr>
        <p:spPr>
          <a:xfrm>
            <a:off x="0" y="3501035"/>
            <a:ext cx="1253744" cy="3356964"/>
          </a:xfrm>
          <a:prstGeom prst="round2SameRect">
            <a:avLst>
              <a:gd name="adj1" fmla="val 14135"/>
              <a:gd name="adj2" fmla="val 0"/>
            </a:avLst>
          </a:prstGeom>
          <a:solidFill>
            <a:srgbClr val="F4F4F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Alternates"/>
              <a:ea typeface="+mn-ea"/>
              <a:cs typeface="+mn-cs"/>
            </a:endParaRPr>
          </a:p>
        </p:txBody>
      </p:sp>
      <p:sp>
        <p:nvSpPr>
          <p:cNvPr id="268" name="ZoneTexte 267">
            <a:extLst>
              <a:ext uri="{FF2B5EF4-FFF2-40B4-BE49-F238E27FC236}">
                <a16:creationId xmlns:a16="http://schemas.microsoft.com/office/drawing/2014/main" id="{6069FFE9-9820-7921-FF1C-3050A862F332}"/>
              </a:ext>
            </a:extLst>
          </p:cNvPr>
          <p:cNvSpPr txBox="1"/>
          <p:nvPr/>
        </p:nvSpPr>
        <p:spPr>
          <a:xfrm>
            <a:off x="908516" y="3865247"/>
            <a:ext cx="345228" cy="2321241"/>
          </a:xfrm>
          <a:prstGeom prst="roundRect">
            <a:avLst>
              <a:gd name="adj" fmla="val 50000"/>
            </a:avLst>
          </a:prstGeom>
          <a:solidFill>
            <a:srgbClr val="9097B3">
              <a:alpha val="30000"/>
            </a:srgbClr>
          </a:solidFill>
        </p:spPr>
        <p:txBody>
          <a:bodyPr wrap="non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Alternates ExtraBold" panose="00000900000000000000" pitchFamily="2" charset="0"/>
              <a:ea typeface="+mn-ea"/>
              <a:cs typeface="+mn-cs"/>
            </a:endParaRPr>
          </a:p>
        </p:txBody>
      </p:sp>
      <p:sp>
        <p:nvSpPr>
          <p:cNvPr id="233" name="!!_01_!!">
            <a:extLst>
              <a:ext uri="{FF2B5EF4-FFF2-40B4-BE49-F238E27FC236}">
                <a16:creationId xmlns:a16="http://schemas.microsoft.com/office/drawing/2014/main" id="{209A115D-E99F-3651-9B60-C4058728A2DD}"/>
              </a:ext>
            </a:extLst>
          </p:cNvPr>
          <p:cNvSpPr txBox="1"/>
          <p:nvPr/>
        </p:nvSpPr>
        <p:spPr>
          <a:xfrm>
            <a:off x="908516" y="3501035"/>
            <a:ext cx="345228" cy="686928"/>
          </a:xfrm>
          <a:prstGeom prst="roundRect">
            <a:avLst>
              <a:gd name="adj" fmla="val 50000"/>
            </a:avLst>
          </a:prstGeom>
          <a:solidFill>
            <a:srgbClr val="555D7D"/>
          </a:solidFill>
        </p:spPr>
        <p:txBody>
          <a:bodyPr wrap="non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Alternates ExtraBold" panose="00000900000000000000" pitchFamily="2" charset="0"/>
                <a:ea typeface="+mn-ea"/>
                <a:cs typeface="+mn-cs"/>
              </a:rPr>
              <a:t>1</a:t>
            </a:r>
          </a:p>
        </p:txBody>
      </p:sp>
      <p:grpSp>
        <p:nvGrpSpPr>
          <p:cNvPr id="246" name="!!_Picto_01a_!!">
            <a:extLst>
              <a:ext uri="{FF2B5EF4-FFF2-40B4-BE49-F238E27FC236}">
                <a16:creationId xmlns:a16="http://schemas.microsoft.com/office/drawing/2014/main" id="{99E829D0-BF0C-FF0F-7528-EE99E661031D}"/>
              </a:ext>
            </a:extLst>
          </p:cNvPr>
          <p:cNvGrpSpPr/>
          <p:nvPr/>
        </p:nvGrpSpPr>
        <p:grpSpPr>
          <a:xfrm>
            <a:off x="983838" y="4662488"/>
            <a:ext cx="193352" cy="193352"/>
            <a:chOff x="3097148" y="430243"/>
            <a:chExt cx="5994463" cy="5994463"/>
          </a:xfrm>
          <a:noFill/>
        </p:grpSpPr>
        <p:sp>
          <p:nvSpPr>
            <p:cNvPr id="247" name="Forme libre : forme 246">
              <a:extLst>
                <a:ext uri="{FF2B5EF4-FFF2-40B4-BE49-F238E27FC236}">
                  <a16:creationId xmlns:a16="http://schemas.microsoft.com/office/drawing/2014/main" id="{74FC27EF-2359-CD76-1E6E-486E62A55963}"/>
                </a:ext>
              </a:extLst>
            </p:cNvPr>
            <p:cNvSpPr/>
            <p:nvPr/>
          </p:nvSpPr>
          <p:spPr>
            <a:xfrm>
              <a:off x="3097148" y="430243"/>
              <a:ext cx="5994463" cy="5994463"/>
            </a:xfrm>
            <a:custGeom>
              <a:avLst/>
              <a:gdLst>
                <a:gd name="connsiteX0" fmla="*/ 2997232 w 5994463"/>
                <a:gd name="connsiteY0" fmla="*/ 0 h 5994463"/>
                <a:gd name="connsiteX1" fmla="*/ 5994464 w 5994463"/>
                <a:gd name="connsiteY1" fmla="*/ 2997232 h 5994463"/>
                <a:gd name="connsiteX2" fmla="*/ 5524786 w 5994463"/>
                <a:gd name="connsiteY2" fmla="*/ 4608767 h 5994463"/>
                <a:gd name="connsiteX3" fmla="*/ 5994464 w 5994463"/>
                <a:gd name="connsiteY3" fmla="*/ 5994464 h 5994463"/>
                <a:gd name="connsiteX4" fmla="*/ 4608767 w 5994463"/>
                <a:gd name="connsiteY4" fmla="*/ 5524786 h 5994463"/>
                <a:gd name="connsiteX5" fmla="*/ 2997232 w 5994463"/>
                <a:gd name="connsiteY5" fmla="*/ 5994464 h 5994463"/>
                <a:gd name="connsiteX6" fmla="*/ 0 w 5994463"/>
                <a:gd name="connsiteY6" fmla="*/ 2997232 h 5994463"/>
                <a:gd name="connsiteX7" fmla="*/ 2997232 w 5994463"/>
                <a:gd name="connsiteY7" fmla="*/ 0 h 5994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94463" h="5994463">
                  <a:moveTo>
                    <a:pt x="2997232" y="0"/>
                  </a:moveTo>
                  <a:cubicBezTo>
                    <a:pt x="4652582" y="0"/>
                    <a:pt x="5994464" y="1341882"/>
                    <a:pt x="5994464" y="2997232"/>
                  </a:cubicBezTo>
                  <a:cubicBezTo>
                    <a:pt x="5994464" y="3590449"/>
                    <a:pt x="5822061" y="4143375"/>
                    <a:pt x="5524786" y="4608767"/>
                  </a:cubicBezTo>
                  <a:lnTo>
                    <a:pt x="5994464" y="5994464"/>
                  </a:lnTo>
                  <a:lnTo>
                    <a:pt x="4608767" y="5524786"/>
                  </a:lnTo>
                  <a:cubicBezTo>
                    <a:pt x="4143375" y="5822156"/>
                    <a:pt x="3590449" y="5994464"/>
                    <a:pt x="2997232" y="5994464"/>
                  </a:cubicBezTo>
                  <a:cubicBezTo>
                    <a:pt x="1341882" y="5994464"/>
                    <a:pt x="0" y="4652582"/>
                    <a:pt x="0" y="2997232"/>
                  </a:cubicBezTo>
                  <a:cubicBezTo>
                    <a:pt x="0" y="1341882"/>
                    <a:pt x="1341977" y="0"/>
                    <a:pt x="2997232" y="0"/>
                  </a:cubicBezTo>
                  <a:close/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48" name="Forme libre : forme 247">
              <a:extLst>
                <a:ext uri="{FF2B5EF4-FFF2-40B4-BE49-F238E27FC236}">
                  <a16:creationId xmlns:a16="http://schemas.microsoft.com/office/drawing/2014/main" id="{AFAE5F69-3083-8FD6-F2ED-943CFD7845FF}"/>
                </a:ext>
              </a:extLst>
            </p:cNvPr>
            <p:cNvSpPr/>
            <p:nvPr/>
          </p:nvSpPr>
          <p:spPr>
            <a:xfrm>
              <a:off x="6094380" y="4900612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49" name="Forme libre : forme 248">
              <a:extLst>
                <a:ext uri="{FF2B5EF4-FFF2-40B4-BE49-F238E27FC236}">
                  <a16:creationId xmlns:a16="http://schemas.microsoft.com/office/drawing/2014/main" id="{602E5B81-D8FE-EEB3-B6A2-F20706CB3C6E}"/>
                </a:ext>
              </a:extLst>
            </p:cNvPr>
            <p:cNvSpPr/>
            <p:nvPr/>
          </p:nvSpPr>
          <p:spPr>
            <a:xfrm>
              <a:off x="6094380" y="1954243"/>
              <a:ext cx="9525" cy="1930431"/>
            </a:xfrm>
            <a:custGeom>
              <a:avLst/>
              <a:gdLst>
                <a:gd name="connsiteX0" fmla="*/ 0 w 9525"/>
                <a:gd name="connsiteY0" fmla="*/ 0 h 1930431"/>
                <a:gd name="connsiteX1" fmla="*/ 0 w 9525"/>
                <a:gd name="connsiteY1" fmla="*/ 1930432 h 1930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930431">
                  <a:moveTo>
                    <a:pt x="0" y="0"/>
                  </a:moveTo>
                  <a:lnTo>
                    <a:pt x="0" y="1930432"/>
                  </a:ln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</p:grpSp>
      <p:grpSp>
        <p:nvGrpSpPr>
          <p:cNvPr id="265" name="!!_Picto_01b_!!">
            <a:extLst>
              <a:ext uri="{FF2B5EF4-FFF2-40B4-BE49-F238E27FC236}">
                <a16:creationId xmlns:a16="http://schemas.microsoft.com/office/drawing/2014/main" id="{CC1C4126-80DA-04B6-73A5-A7FD5F5EF45B}"/>
              </a:ext>
            </a:extLst>
          </p:cNvPr>
          <p:cNvGrpSpPr>
            <a:grpSpLocks noChangeAspect="1"/>
          </p:cNvGrpSpPr>
          <p:nvPr/>
        </p:nvGrpSpPr>
        <p:grpSpPr>
          <a:xfrm>
            <a:off x="984332" y="5681477"/>
            <a:ext cx="194258" cy="194254"/>
            <a:chOff x="3033712" y="366712"/>
            <a:chExt cx="6121431" cy="6121336"/>
          </a:xfrm>
          <a:noFill/>
        </p:grpSpPr>
        <p:sp>
          <p:nvSpPr>
            <p:cNvPr id="266" name="Forme libre : forme 265">
              <a:extLst>
                <a:ext uri="{FF2B5EF4-FFF2-40B4-BE49-F238E27FC236}">
                  <a16:creationId xmlns:a16="http://schemas.microsoft.com/office/drawing/2014/main" id="{C21353F3-8E0B-B7D8-246B-3E66A433104D}"/>
                </a:ext>
              </a:extLst>
            </p:cNvPr>
            <p:cNvSpPr/>
            <p:nvPr/>
          </p:nvSpPr>
          <p:spPr>
            <a:xfrm>
              <a:off x="4176807" y="1509712"/>
              <a:ext cx="3835336" cy="3835336"/>
            </a:xfrm>
            <a:custGeom>
              <a:avLst/>
              <a:gdLst>
                <a:gd name="connsiteX0" fmla="*/ 3835337 w 3835336"/>
                <a:gd name="connsiteY0" fmla="*/ 1215390 h 3835336"/>
                <a:gd name="connsiteX1" fmla="*/ 2619947 w 3835336"/>
                <a:gd name="connsiteY1" fmla="*/ 1215390 h 3835336"/>
                <a:gd name="connsiteX2" fmla="*/ 2619947 w 3835336"/>
                <a:gd name="connsiteY2" fmla="*/ 0 h 3835336"/>
                <a:gd name="connsiteX3" fmla="*/ 1215390 w 3835336"/>
                <a:gd name="connsiteY3" fmla="*/ 0 h 3835336"/>
                <a:gd name="connsiteX4" fmla="*/ 1215390 w 3835336"/>
                <a:gd name="connsiteY4" fmla="*/ 1215390 h 3835336"/>
                <a:gd name="connsiteX5" fmla="*/ 0 w 3835336"/>
                <a:gd name="connsiteY5" fmla="*/ 1215390 h 3835336"/>
                <a:gd name="connsiteX6" fmla="*/ 0 w 3835336"/>
                <a:gd name="connsiteY6" fmla="*/ 2619947 h 3835336"/>
                <a:gd name="connsiteX7" fmla="*/ 1215390 w 3835336"/>
                <a:gd name="connsiteY7" fmla="*/ 2619947 h 3835336"/>
                <a:gd name="connsiteX8" fmla="*/ 1215390 w 3835336"/>
                <a:gd name="connsiteY8" fmla="*/ 3835336 h 3835336"/>
                <a:gd name="connsiteX9" fmla="*/ 2619947 w 3835336"/>
                <a:gd name="connsiteY9" fmla="*/ 3835336 h 3835336"/>
                <a:gd name="connsiteX10" fmla="*/ 2619947 w 3835336"/>
                <a:gd name="connsiteY10" fmla="*/ 2619947 h 3835336"/>
                <a:gd name="connsiteX11" fmla="*/ 3835337 w 3835336"/>
                <a:gd name="connsiteY11" fmla="*/ 2619947 h 3835336"/>
                <a:gd name="connsiteX12" fmla="*/ 3835337 w 3835336"/>
                <a:gd name="connsiteY12" fmla="*/ 1215390 h 3835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35336" h="3835336">
                  <a:moveTo>
                    <a:pt x="3835337" y="1215390"/>
                  </a:moveTo>
                  <a:lnTo>
                    <a:pt x="2619947" y="1215390"/>
                  </a:lnTo>
                  <a:lnTo>
                    <a:pt x="2619947" y="0"/>
                  </a:lnTo>
                  <a:lnTo>
                    <a:pt x="1215390" y="0"/>
                  </a:lnTo>
                  <a:lnTo>
                    <a:pt x="1215390" y="1215390"/>
                  </a:lnTo>
                  <a:lnTo>
                    <a:pt x="0" y="1215390"/>
                  </a:lnTo>
                  <a:lnTo>
                    <a:pt x="0" y="2619947"/>
                  </a:lnTo>
                  <a:lnTo>
                    <a:pt x="1215390" y="2619947"/>
                  </a:lnTo>
                  <a:lnTo>
                    <a:pt x="1215390" y="3835336"/>
                  </a:lnTo>
                  <a:lnTo>
                    <a:pt x="2619947" y="3835336"/>
                  </a:lnTo>
                  <a:lnTo>
                    <a:pt x="2619947" y="2619947"/>
                  </a:lnTo>
                  <a:lnTo>
                    <a:pt x="3835337" y="2619947"/>
                  </a:lnTo>
                  <a:lnTo>
                    <a:pt x="3835337" y="1215390"/>
                  </a:lnTo>
                  <a:close/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67" name="Forme libre : forme 266">
              <a:extLst>
                <a:ext uri="{FF2B5EF4-FFF2-40B4-BE49-F238E27FC236}">
                  <a16:creationId xmlns:a16="http://schemas.microsoft.com/office/drawing/2014/main" id="{FA22EC34-4587-6C5D-0572-46C596D72A9F}"/>
                </a:ext>
              </a:extLst>
            </p:cNvPr>
            <p:cNvSpPr/>
            <p:nvPr/>
          </p:nvSpPr>
          <p:spPr>
            <a:xfrm>
              <a:off x="3033712" y="366712"/>
              <a:ext cx="6121431" cy="6121336"/>
            </a:xfrm>
            <a:custGeom>
              <a:avLst/>
              <a:gdLst>
                <a:gd name="connsiteX0" fmla="*/ 6121432 w 6121431"/>
                <a:gd name="connsiteY0" fmla="*/ 3060668 h 6121336"/>
                <a:gd name="connsiteX1" fmla="*/ 3060764 w 6121431"/>
                <a:gd name="connsiteY1" fmla="*/ 6121336 h 6121336"/>
                <a:gd name="connsiteX2" fmla="*/ 0 w 6121431"/>
                <a:gd name="connsiteY2" fmla="*/ 3060668 h 6121336"/>
                <a:gd name="connsiteX3" fmla="*/ 3060668 w 6121431"/>
                <a:gd name="connsiteY3" fmla="*/ 0 h 6121336"/>
                <a:gd name="connsiteX4" fmla="*/ 6121336 w 6121431"/>
                <a:gd name="connsiteY4" fmla="*/ 3060668 h 6121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21431" h="6121336">
                  <a:moveTo>
                    <a:pt x="6121432" y="3060668"/>
                  </a:moveTo>
                  <a:cubicBezTo>
                    <a:pt x="6121432" y="4751070"/>
                    <a:pt x="4751070" y="6121336"/>
                    <a:pt x="3060764" y="6121336"/>
                  </a:cubicBezTo>
                  <a:cubicBezTo>
                    <a:pt x="1370457" y="6121336"/>
                    <a:pt x="0" y="4751070"/>
                    <a:pt x="0" y="3060668"/>
                  </a:cubicBezTo>
                  <a:cubicBezTo>
                    <a:pt x="0" y="1370267"/>
                    <a:pt x="1370362" y="0"/>
                    <a:pt x="3060668" y="0"/>
                  </a:cubicBezTo>
                  <a:cubicBezTo>
                    <a:pt x="4750975" y="0"/>
                    <a:pt x="6121336" y="1370362"/>
                    <a:pt x="6121336" y="3060668"/>
                  </a:cubicBezTo>
                  <a:close/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</p:grpSp>
      <p:sp>
        <p:nvSpPr>
          <p:cNvPr id="21" name="Cache02">
            <a:extLst>
              <a:ext uri="{FF2B5EF4-FFF2-40B4-BE49-F238E27FC236}">
                <a16:creationId xmlns:a16="http://schemas.microsoft.com/office/drawing/2014/main" id="{056E813F-5E98-646A-BEC0-F59CD7E53F0E}"/>
              </a:ext>
            </a:extLst>
          </p:cNvPr>
          <p:cNvSpPr/>
          <p:nvPr/>
        </p:nvSpPr>
        <p:spPr>
          <a:xfrm flipV="1">
            <a:off x="1" y="5946715"/>
            <a:ext cx="1323141" cy="911285"/>
          </a:xfrm>
          <a:custGeom>
            <a:avLst/>
            <a:gdLst>
              <a:gd name="connsiteX0" fmla="*/ 0 w 1323141"/>
              <a:gd name="connsiteY0" fmla="*/ 911285 h 911285"/>
              <a:gd name="connsiteX1" fmla="*/ 908516 w 1323141"/>
              <a:gd name="connsiteY1" fmla="*/ 911285 h 911285"/>
              <a:gd name="connsiteX2" fmla="*/ 908516 w 1323141"/>
              <a:gd name="connsiteY2" fmla="*/ 854764 h 911285"/>
              <a:gd name="connsiteX3" fmla="*/ 1081130 w 1323141"/>
              <a:gd name="connsiteY3" fmla="*/ 682150 h 911285"/>
              <a:gd name="connsiteX4" fmla="*/ 1253744 w 1323141"/>
              <a:gd name="connsiteY4" fmla="*/ 854764 h 911285"/>
              <a:gd name="connsiteX5" fmla="*/ 1253744 w 1323141"/>
              <a:gd name="connsiteY5" fmla="*/ 911285 h 911285"/>
              <a:gd name="connsiteX6" fmla="*/ 1314397 w 1323141"/>
              <a:gd name="connsiteY6" fmla="*/ 911285 h 911285"/>
              <a:gd name="connsiteX7" fmla="*/ 1314397 w 1323141"/>
              <a:gd name="connsiteY7" fmla="*/ 519401 h 911285"/>
              <a:gd name="connsiteX8" fmla="*/ 1323141 w 1323141"/>
              <a:gd name="connsiteY8" fmla="*/ 519401 h 911285"/>
              <a:gd name="connsiteX9" fmla="*/ 1323141 w 1323141"/>
              <a:gd name="connsiteY9" fmla="*/ 0 h 911285"/>
              <a:gd name="connsiteX10" fmla="*/ 0 w 1323141"/>
              <a:gd name="connsiteY10" fmla="*/ 0 h 911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323141" h="911285">
                <a:moveTo>
                  <a:pt x="0" y="911285"/>
                </a:moveTo>
                <a:lnTo>
                  <a:pt x="908516" y="911285"/>
                </a:lnTo>
                <a:lnTo>
                  <a:pt x="908516" y="854764"/>
                </a:lnTo>
                <a:cubicBezTo>
                  <a:pt x="908516" y="759432"/>
                  <a:pt x="985798" y="682150"/>
                  <a:pt x="1081130" y="682150"/>
                </a:cubicBezTo>
                <a:cubicBezTo>
                  <a:pt x="1176462" y="682150"/>
                  <a:pt x="1253744" y="759432"/>
                  <a:pt x="1253744" y="854764"/>
                </a:cubicBezTo>
                <a:lnTo>
                  <a:pt x="1253744" y="911285"/>
                </a:lnTo>
                <a:lnTo>
                  <a:pt x="1314397" y="911285"/>
                </a:lnTo>
                <a:lnTo>
                  <a:pt x="1314397" y="519401"/>
                </a:lnTo>
                <a:lnTo>
                  <a:pt x="1323141" y="519401"/>
                </a:lnTo>
                <a:lnTo>
                  <a:pt x="1323141" y="0"/>
                </a:lnTo>
                <a:lnTo>
                  <a:pt x="0" y="0"/>
                </a:lnTo>
                <a:close/>
              </a:path>
            </a:pathLst>
          </a:custGeom>
          <a:solidFill>
            <a:srgbClr val="F4F4F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Alternates"/>
              <a:ea typeface="+mn-ea"/>
              <a:cs typeface="+mn-cs"/>
            </a:endParaRPr>
          </a:p>
        </p:txBody>
      </p:sp>
      <p:pic>
        <p:nvPicPr>
          <p:cNvPr id="243" name="Image 242" descr="Une image contenant capture d’écran, Rectangle, smartphone&#10;&#10;Le contenu généré par l’IA peut être incorrect.">
            <a:extLst>
              <a:ext uri="{FF2B5EF4-FFF2-40B4-BE49-F238E27FC236}">
                <a16:creationId xmlns:a16="http://schemas.microsoft.com/office/drawing/2014/main" id="{55869078-5B58-D318-EEC8-A3C585D942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12216" y="1130300"/>
            <a:ext cx="3046013" cy="5473700"/>
          </a:xfrm>
          <a:prstGeom prst="rect">
            <a:avLst/>
          </a:prstGeom>
        </p:spPr>
      </p:pic>
      <p:sp>
        <p:nvSpPr>
          <p:cNvPr id="229" name="!!_Titre_02_!!">
            <a:extLst>
              <a:ext uri="{FF2B5EF4-FFF2-40B4-BE49-F238E27FC236}">
                <a16:creationId xmlns:a16="http://schemas.microsoft.com/office/drawing/2014/main" id="{908FC6B5-BBED-E514-706B-73ED0AB2BB72}"/>
              </a:ext>
            </a:extLst>
          </p:cNvPr>
          <p:cNvSpPr txBox="1"/>
          <p:nvPr/>
        </p:nvSpPr>
        <p:spPr>
          <a:xfrm>
            <a:off x="1366684" y="558800"/>
            <a:ext cx="2795545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 ExtraBold" panose="00000900000000000000" pitchFamily="2" charset="0"/>
                <a:ea typeface="+mn-ea"/>
                <a:cs typeface="+mn-cs"/>
              </a:rPr>
              <a:t>Scanner le QR code</a:t>
            </a:r>
            <a:b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 ExtraBold" panose="00000900000000000000" pitchFamily="2" charset="0"/>
                <a:ea typeface="+mn-ea"/>
                <a:cs typeface="+mn-cs"/>
              </a:rPr>
            </a:b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555D7D"/>
                </a:solidFill>
                <a:effectLst/>
                <a:uLnTx/>
                <a:uFillTx/>
                <a:latin typeface="Montserrat Alternates ExtraBold" panose="00000900000000000000" pitchFamily="2" charset="0"/>
                <a:ea typeface="+mn-ea"/>
                <a:cs typeface="+mn-cs"/>
              </a:rPr>
              <a:t>présent sur vos boîtes </a:t>
            </a:r>
            <a:b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555D7D"/>
                </a:solidFill>
                <a:effectLst/>
                <a:uLnTx/>
                <a:uFillTx/>
                <a:latin typeface="Montserrat Alternates ExtraBold" panose="00000900000000000000" pitchFamily="2" charset="0"/>
                <a:ea typeface="+mn-ea"/>
                <a:cs typeface="+mn-cs"/>
              </a:rPr>
            </a:b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555D7D"/>
                </a:solidFill>
                <a:effectLst/>
                <a:uLnTx/>
                <a:uFillTx/>
                <a:latin typeface="Montserrat Alternates ExtraBold" panose="00000900000000000000" pitchFamily="2" charset="0"/>
                <a:ea typeface="+mn-ea"/>
                <a:cs typeface="+mn-cs"/>
              </a:rPr>
              <a:t>de médicament</a:t>
            </a:r>
          </a:p>
        </p:txBody>
      </p:sp>
      <p:sp>
        <p:nvSpPr>
          <p:cNvPr id="230" name="!!_Texte_02a_!!">
            <a:extLst>
              <a:ext uri="{FF2B5EF4-FFF2-40B4-BE49-F238E27FC236}">
                <a16:creationId xmlns:a16="http://schemas.microsoft.com/office/drawing/2014/main" id="{D37C97B2-2DA3-0018-2693-2379680ED92F}"/>
              </a:ext>
            </a:extLst>
          </p:cNvPr>
          <p:cNvSpPr txBox="1"/>
          <p:nvPr/>
        </p:nvSpPr>
        <p:spPr>
          <a:xfrm>
            <a:off x="1366684" y="1541242"/>
            <a:ext cx="231631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Gestionnaire d’officine </a:t>
            </a:r>
            <a:b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 SemiBold" panose="00000700000000000000" pitchFamily="2" charset="0"/>
                <a:ea typeface="+mn-ea"/>
                <a:cs typeface="+mn-cs"/>
              </a:rPr>
            </a:b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 SemiBold" panose="00000700000000000000" pitchFamily="2" charset="0"/>
                <a:ea typeface="+mn-ea"/>
                <a:cs typeface="+mn-cs"/>
              </a:rPr>
              <a:t>à porter de main</a:t>
            </a:r>
          </a:p>
        </p:txBody>
      </p:sp>
      <p:sp>
        <p:nvSpPr>
          <p:cNvPr id="231" name="!!_Texte_02b_!!">
            <a:extLst>
              <a:ext uri="{FF2B5EF4-FFF2-40B4-BE49-F238E27FC236}">
                <a16:creationId xmlns:a16="http://schemas.microsoft.com/office/drawing/2014/main" id="{E0DF92E5-B741-D05B-C9F9-713EB05C9611}"/>
              </a:ext>
            </a:extLst>
          </p:cNvPr>
          <p:cNvSpPr txBox="1"/>
          <p:nvPr/>
        </p:nvSpPr>
        <p:spPr>
          <a:xfrm>
            <a:off x="1366684" y="2159120"/>
            <a:ext cx="315598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 SemiBold" panose="00000700000000000000" pitchFamily="2" charset="0"/>
                <a:ea typeface="+mn-ea"/>
                <a:cs typeface="+mn-cs"/>
              </a:rPr>
              <a:t>Accès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 à toutes les informations </a:t>
            </a:r>
            <a:b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</a:b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et les modalités de stockage </a:t>
            </a:r>
          </a:p>
        </p:txBody>
      </p:sp>
      <p:sp>
        <p:nvSpPr>
          <p:cNvPr id="234" name="!!_Texte_02c_!!">
            <a:extLst>
              <a:ext uri="{FF2B5EF4-FFF2-40B4-BE49-F238E27FC236}">
                <a16:creationId xmlns:a16="http://schemas.microsoft.com/office/drawing/2014/main" id="{48A42696-FB13-2BF5-E6F9-206F3A8A99AE}"/>
              </a:ext>
            </a:extLst>
          </p:cNvPr>
          <p:cNvSpPr txBox="1"/>
          <p:nvPr/>
        </p:nvSpPr>
        <p:spPr>
          <a:xfrm>
            <a:off x="1366685" y="2776999"/>
            <a:ext cx="263381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Notification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 pour prévenir </a:t>
            </a:r>
            <a:b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</a:b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sur la péremption</a:t>
            </a:r>
          </a:p>
        </p:txBody>
      </p:sp>
      <p:sp>
        <p:nvSpPr>
          <p:cNvPr id="236" name="!!_02_!!">
            <a:extLst>
              <a:ext uri="{FF2B5EF4-FFF2-40B4-BE49-F238E27FC236}">
                <a16:creationId xmlns:a16="http://schemas.microsoft.com/office/drawing/2014/main" id="{FC9477E7-4DA5-6073-3F0F-F0E3FDA5C85A}"/>
              </a:ext>
            </a:extLst>
          </p:cNvPr>
          <p:cNvSpPr txBox="1"/>
          <p:nvPr/>
        </p:nvSpPr>
        <p:spPr>
          <a:xfrm>
            <a:off x="908516" y="630835"/>
            <a:ext cx="345228" cy="686928"/>
          </a:xfrm>
          <a:prstGeom prst="roundRect">
            <a:avLst>
              <a:gd name="adj" fmla="val 50000"/>
            </a:avLst>
          </a:prstGeom>
          <a:solidFill>
            <a:srgbClr val="555D7D"/>
          </a:solidFill>
        </p:spPr>
        <p:txBody>
          <a:bodyPr wrap="non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Alternates ExtraBold" panose="00000900000000000000" pitchFamily="2" charset="0"/>
                <a:ea typeface="+mn-ea"/>
                <a:cs typeface="+mn-cs"/>
              </a:rPr>
              <a:t>2</a:t>
            </a:r>
          </a:p>
        </p:txBody>
      </p:sp>
      <p:grpSp>
        <p:nvGrpSpPr>
          <p:cNvPr id="239" name="!!_Picto_02b_!!">
            <a:extLst>
              <a:ext uri="{FF2B5EF4-FFF2-40B4-BE49-F238E27FC236}">
                <a16:creationId xmlns:a16="http://schemas.microsoft.com/office/drawing/2014/main" id="{D62AB472-1272-129F-D66C-E5402076E2FA}"/>
              </a:ext>
            </a:extLst>
          </p:cNvPr>
          <p:cNvGrpSpPr>
            <a:grpSpLocks noChangeAspect="1"/>
          </p:cNvGrpSpPr>
          <p:nvPr/>
        </p:nvGrpSpPr>
        <p:grpSpPr>
          <a:xfrm>
            <a:off x="983838" y="2318914"/>
            <a:ext cx="194403" cy="194400"/>
            <a:chOff x="3033712" y="366712"/>
            <a:chExt cx="6121431" cy="6121336"/>
          </a:xfrm>
          <a:noFill/>
        </p:grpSpPr>
        <p:sp>
          <p:nvSpPr>
            <p:cNvPr id="240" name="Forme libre : forme 239">
              <a:extLst>
                <a:ext uri="{FF2B5EF4-FFF2-40B4-BE49-F238E27FC236}">
                  <a16:creationId xmlns:a16="http://schemas.microsoft.com/office/drawing/2014/main" id="{E2B07C47-2D5B-CB5A-A31E-A680C1F34357}"/>
                </a:ext>
              </a:extLst>
            </p:cNvPr>
            <p:cNvSpPr/>
            <p:nvPr/>
          </p:nvSpPr>
          <p:spPr>
            <a:xfrm>
              <a:off x="3033712" y="366712"/>
              <a:ext cx="6121431" cy="6121336"/>
            </a:xfrm>
            <a:custGeom>
              <a:avLst/>
              <a:gdLst>
                <a:gd name="connsiteX0" fmla="*/ 6121432 w 6121431"/>
                <a:gd name="connsiteY0" fmla="*/ 3060668 h 6121336"/>
                <a:gd name="connsiteX1" fmla="*/ 3060764 w 6121431"/>
                <a:gd name="connsiteY1" fmla="*/ 6121336 h 6121336"/>
                <a:gd name="connsiteX2" fmla="*/ 0 w 6121431"/>
                <a:gd name="connsiteY2" fmla="*/ 3060668 h 6121336"/>
                <a:gd name="connsiteX3" fmla="*/ 3060668 w 6121431"/>
                <a:gd name="connsiteY3" fmla="*/ 0 h 6121336"/>
                <a:gd name="connsiteX4" fmla="*/ 6121336 w 6121431"/>
                <a:gd name="connsiteY4" fmla="*/ 3060668 h 6121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21431" h="6121336">
                  <a:moveTo>
                    <a:pt x="6121432" y="3060668"/>
                  </a:moveTo>
                  <a:cubicBezTo>
                    <a:pt x="6121432" y="4751070"/>
                    <a:pt x="4751070" y="6121336"/>
                    <a:pt x="3060764" y="6121336"/>
                  </a:cubicBezTo>
                  <a:cubicBezTo>
                    <a:pt x="1370457" y="6121336"/>
                    <a:pt x="0" y="4751070"/>
                    <a:pt x="0" y="3060668"/>
                  </a:cubicBezTo>
                  <a:cubicBezTo>
                    <a:pt x="0" y="1370267"/>
                    <a:pt x="1370362" y="0"/>
                    <a:pt x="3060668" y="0"/>
                  </a:cubicBezTo>
                  <a:cubicBezTo>
                    <a:pt x="4750975" y="0"/>
                    <a:pt x="6121336" y="1370362"/>
                    <a:pt x="6121336" y="3060668"/>
                  </a:cubicBezTo>
                  <a:close/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41" name="Forme libre : forme 240">
              <a:extLst>
                <a:ext uri="{FF2B5EF4-FFF2-40B4-BE49-F238E27FC236}">
                  <a16:creationId xmlns:a16="http://schemas.microsoft.com/office/drawing/2014/main" id="{064F7BB8-8F9D-D614-2475-AD81BEEF96E7}"/>
                </a:ext>
              </a:extLst>
            </p:cNvPr>
            <p:cNvSpPr/>
            <p:nvPr/>
          </p:nvSpPr>
          <p:spPr>
            <a:xfrm>
              <a:off x="5402865" y="2976371"/>
              <a:ext cx="1433893" cy="2288952"/>
            </a:xfrm>
            <a:custGeom>
              <a:avLst/>
              <a:gdLst>
                <a:gd name="connsiteX0" fmla="*/ 1338072 w 1433893"/>
                <a:gd name="connsiteY0" fmla="*/ 1632394 h 2288952"/>
                <a:gd name="connsiteX1" fmla="*/ 1152906 w 1433893"/>
                <a:gd name="connsiteY1" fmla="*/ 1632394 h 2288952"/>
                <a:gd name="connsiteX2" fmla="*/ 1138714 w 1433893"/>
                <a:gd name="connsiteY2" fmla="*/ 1618202 h 2288952"/>
                <a:gd name="connsiteX3" fmla="*/ 1138714 w 1433893"/>
                <a:gd name="connsiteY3" fmla="*/ 95821 h 2288952"/>
                <a:gd name="connsiteX4" fmla="*/ 1042892 w 1433893"/>
                <a:gd name="connsiteY4" fmla="*/ 0 h 2288952"/>
                <a:gd name="connsiteX5" fmla="*/ 95821 w 1433893"/>
                <a:gd name="connsiteY5" fmla="*/ 0 h 2288952"/>
                <a:gd name="connsiteX6" fmla="*/ 0 w 1433893"/>
                <a:gd name="connsiteY6" fmla="*/ 95821 h 2288952"/>
                <a:gd name="connsiteX7" fmla="*/ 0 w 1433893"/>
                <a:gd name="connsiteY7" fmla="*/ 560737 h 2288952"/>
                <a:gd name="connsiteX8" fmla="*/ 95821 w 1433893"/>
                <a:gd name="connsiteY8" fmla="*/ 656558 h 2288952"/>
                <a:gd name="connsiteX9" fmla="*/ 281940 w 1433893"/>
                <a:gd name="connsiteY9" fmla="*/ 656558 h 2288952"/>
                <a:gd name="connsiteX10" fmla="*/ 296132 w 1433893"/>
                <a:gd name="connsiteY10" fmla="*/ 670750 h 2288952"/>
                <a:gd name="connsiteX11" fmla="*/ 296132 w 1433893"/>
                <a:gd name="connsiteY11" fmla="*/ 1618202 h 2288952"/>
                <a:gd name="connsiteX12" fmla="*/ 281940 w 1433893"/>
                <a:gd name="connsiteY12" fmla="*/ 1632394 h 2288952"/>
                <a:gd name="connsiteX13" fmla="*/ 95821 w 1433893"/>
                <a:gd name="connsiteY13" fmla="*/ 1632394 h 2288952"/>
                <a:gd name="connsiteX14" fmla="*/ 0 w 1433893"/>
                <a:gd name="connsiteY14" fmla="*/ 1728216 h 2288952"/>
                <a:gd name="connsiteX15" fmla="*/ 0 w 1433893"/>
                <a:gd name="connsiteY15" fmla="*/ 2193131 h 2288952"/>
                <a:gd name="connsiteX16" fmla="*/ 95821 w 1433893"/>
                <a:gd name="connsiteY16" fmla="*/ 2288953 h 2288952"/>
                <a:gd name="connsiteX17" fmla="*/ 1338072 w 1433893"/>
                <a:gd name="connsiteY17" fmla="*/ 2288953 h 2288952"/>
                <a:gd name="connsiteX18" fmla="*/ 1433893 w 1433893"/>
                <a:gd name="connsiteY18" fmla="*/ 2193131 h 2288952"/>
                <a:gd name="connsiteX19" fmla="*/ 1433893 w 1433893"/>
                <a:gd name="connsiteY19" fmla="*/ 1728216 h 2288952"/>
                <a:gd name="connsiteX20" fmla="*/ 1338072 w 1433893"/>
                <a:gd name="connsiteY20" fmla="*/ 1632394 h 2288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433893" h="2288952">
                  <a:moveTo>
                    <a:pt x="1338072" y="1632394"/>
                  </a:moveTo>
                  <a:lnTo>
                    <a:pt x="1152906" y="1632394"/>
                  </a:lnTo>
                  <a:cubicBezTo>
                    <a:pt x="1145096" y="1632394"/>
                    <a:pt x="1138714" y="1626013"/>
                    <a:pt x="1138714" y="1618202"/>
                  </a:cubicBezTo>
                  <a:lnTo>
                    <a:pt x="1138714" y="95821"/>
                  </a:lnTo>
                  <a:cubicBezTo>
                    <a:pt x="1138714" y="42863"/>
                    <a:pt x="1095756" y="0"/>
                    <a:pt x="1042892" y="0"/>
                  </a:cubicBezTo>
                  <a:lnTo>
                    <a:pt x="95821" y="0"/>
                  </a:lnTo>
                  <a:cubicBezTo>
                    <a:pt x="42863" y="0"/>
                    <a:pt x="0" y="42958"/>
                    <a:pt x="0" y="95821"/>
                  </a:cubicBezTo>
                  <a:lnTo>
                    <a:pt x="0" y="560737"/>
                  </a:lnTo>
                  <a:cubicBezTo>
                    <a:pt x="0" y="613696"/>
                    <a:pt x="42958" y="656558"/>
                    <a:pt x="95821" y="656558"/>
                  </a:cubicBezTo>
                  <a:lnTo>
                    <a:pt x="281940" y="656558"/>
                  </a:lnTo>
                  <a:cubicBezTo>
                    <a:pt x="289750" y="656558"/>
                    <a:pt x="296132" y="662940"/>
                    <a:pt x="296132" y="670750"/>
                  </a:cubicBezTo>
                  <a:lnTo>
                    <a:pt x="296132" y="1618202"/>
                  </a:lnTo>
                  <a:cubicBezTo>
                    <a:pt x="296132" y="1626013"/>
                    <a:pt x="289750" y="1632394"/>
                    <a:pt x="281940" y="1632394"/>
                  </a:cubicBezTo>
                  <a:lnTo>
                    <a:pt x="95821" y="1632394"/>
                  </a:lnTo>
                  <a:cubicBezTo>
                    <a:pt x="42863" y="1632394"/>
                    <a:pt x="0" y="1675352"/>
                    <a:pt x="0" y="1728216"/>
                  </a:cubicBezTo>
                  <a:lnTo>
                    <a:pt x="0" y="2193131"/>
                  </a:lnTo>
                  <a:cubicBezTo>
                    <a:pt x="0" y="2246090"/>
                    <a:pt x="42958" y="2288953"/>
                    <a:pt x="95821" y="2288953"/>
                  </a:cubicBezTo>
                  <a:lnTo>
                    <a:pt x="1338072" y="2288953"/>
                  </a:lnTo>
                  <a:cubicBezTo>
                    <a:pt x="1391031" y="2288953"/>
                    <a:pt x="1433893" y="2245995"/>
                    <a:pt x="1433893" y="2193131"/>
                  </a:cubicBezTo>
                  <a:lnTo>
                    <a:pt x="1433893" y="1728216"/>
                  </a:lnTo>
                  <a:cubicBezTo>
                    <a:pt x="1433893" y="1675257"/>
                    <a:pt x="1390936" y="1632394"/>
                    <a:pt x="1338072" y="1632394"/>
                  </a:cubicBezTo>
                  <a:close/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42" name="Forme libre : forme 241">
              <a:extLst>
                <a:ext uri="{FF2B5EF4-FFF2-40B4-BE49-F238E27FC236}">
                  <a16:creationId xmlns:a16="http://schemas.microsoft.com/office/drawing/2014/main" id="{872712EE-DD81-B9F7-9364-8DD09D69F480}"/>
                </a:ext>
              </a:extLst>
            </p:cNvPr>
            <p:cNvSpPr/>
            <p:nvPr/>
          </p:nvSpPr>
          <p:spPr>
            <a:xfrm>
              <a:off x="5695282" y="1589436"/>
              <a:ext cx="849058" cy="849058"/>
            </a:xfrm>
            <a:custGeom>
              <a:avLst/>
              <a:gdLst>
                <a:gd name="connsiteX0" fmla="*/ 849059 w 849058"/>
                <a:gd name="connsiteY0" fmla="*/ 424529 h 849058"/>
                <a:gd name="connsiteX1" fmla="*/ 424529 w 849058"/>
                <a:gd name="connsiteY1" fmla="*/ 849059 h 849058"/>
                <a:gd name="connsiteX2" fmla="*/ 0 w 849058"/>
                <a:gd name="connsiteY2" fmla="*/ 424529 h 849058"/>
                <a:gd name="connsiteX3" fmla="*/ 424529 w 849058"/>
                <a:gd name="connsiteY3" fmla="*/ 0 h 849058"/>
                <a:gd name="connsiteX4" fmla="*/ 849059 w 849058"/>
                <a:gd name="connsiteY4" fmla="*/ 424529 h 849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9058" h="849058">
                  <a:moveTo>
                    <a:pt x="849059" y="424529"/>
                  </a:moveTo>
                  <a:cubicBezTo>
                    <a:pt x="849059" y="658940"/>
                    <a:pt x="659035" y="849059"/>
                    <a:pt x="424529" y="849059"/>
                  </a:cubicBezTo>
                  <a:cubicBezTo>
                    <a:pt x="190024" y="849059"/>
                    <a:pt x="0" y="659035"/>
                    <a:pt x="0" y="424529"/>
                  </a:cubicBezTo>
                  <a:cubicBezTo>
                    <a:pt x="0" y="190024"/>
                    <a:pt x="190024" y="0"/>
                    <a:pt x="424529" y="0"/>
                  </a:cubicBezTo>
                  <a:cubicBezTo>
                    <a:pt x="659035" y="0"/>
                    <a:pt x="849059" y="190024"/>
                    <a:pt x="849059" y="424529"/>
                  </a:cubicBezTo>
                  <a:close/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</p:grpSp>
      <p:grpSp>
        <p:nvGrpSpPr>
          <p:cNvPr id="244" name="!!_Picto_02a_!!">
            <a:extLst>
              <a:ext uri="{FF2B5EF4-FFF2-40B4-BE49-F238E27FC236}">
                <a16:creationId xmlns:a16="http://schemas.microsoft.com/office/drawing/2014/main" id="{51515F99-BE88-90EB-3D9B-430783C2657D}"/>
              </a:ext>
            </a:extLst>
          </p:cNvPr>
          <p:cNvGrpSpPr>
            <a:grpSpLocks noChangeAspect="1"/>
          </p:cNvGrpSpPr>
          <p:nvPr/>
        </p:nvGrpSpPr>
        <p:grpSpPr>
          <a:xfrm>
            <a:off x="983838" y="1710736"/>
            <a:ext cx="194400" cy="194049"/>
            <a:chOff x="3847691" y="1185576"/>
            <a:chExt cx="4496494" cy="4488370"/>
          </a:xfrm>
          <a:noFill/>
        </p:grpSpPr>
        <p:sp>
          <p:nvSpPr>
            <p:cNvPr id="245" name="Forme libre : forme 244">
              <a:extLst>
                <a:ext uri="{FF2B5EF4-FFF2-40B4-BE49-F238E27FC236}">
                  <a16:creationId xmlns:a16="http://schemas.microsoft.com/office/drawing/2014/main" id="{1DB1C63D-E2A1-B22F-0F23-84E6A53AE6DB}"/>
                </a:ext>
              </a:extLst>
            </p:cNvPr>
            <p:cNvSpPr/>
            <p:nvPr/>
          </p:nvSpPr>
          <p:spPr>
            <a:xfrm>
              <a:off x="3847691" y="2894075"/>
              <a:ext cx="3047360" cy="2779871"/>
            </a:xfrm>
            <a:custGeom>
              <a:avLst/>
              <a:gdLst>
                <a:gd name="connsiteX0" fmla="*/ 1566128 w 3047360"/>
                <a:gd name="connsiteY0" fmla="*/ 2019110 h 2779871"/>
                <a:gd name="connsiteX1" fmla="*/ 2935919 w 3047360"/>
                <a:gd name="connsiteY1" fmla="*/ 649319 h 2779871"/>
                <a:gd name="connsiteX2" fmla="*/ 2935919 w 3047360"/>
                <a:gd name="connsiteY2" fmla="*/ 111442 h 2779871"/>
                <a:gd name="connsiteX3" fmla="*/ 2397946 w 3047360"/>
                <a:gd name="connsiteY3" fmla="*/ 111442 h 2779871"/>
                <a:gd name="connsiteX4" fmla="*/ 1860356 w 3047360"/>
                <a:gd name="connsiteY4" fmla="*/ 649034 h 2779871"/>
                <a:gd name="connsiteX5" fmla="*/ 918619 w 3047360"/>
                <a:gd name="connsiteY5" fmla="*/ 292608 h 2779871"/>
                <a:gd name="connsiteX6" fmla="*/ 514854 w 3047360"/>
                <a:gd name="connsiteY6" fmla="*/ 379476 h 2779871"/>
                <a:gd name="connsiteX7" fmla="*/ 434177 w 3047360"/>
                <a:gd name="connsiteY7" fmla="*/ 498443 h 2779871"/>
                <a:gd name="connsiteX8" fmla="*/ 30698 w 3047360"/>
                <a:gd name="connsiteY8" fmla="*/ 1439799 h 2779871"/>
                <a:gd name="connsiteX9" fmla="*/ 111375 w 3047360"/>
                <a:gd name="connsiteY9" fmla="*/ 1858709 h 2779871"/>
                <a:gd name="connsiteX10" fmla="*/ 918238 w 3047360"/>
                <a:gd name="connsiteY10" fmla="*/ 2665571 h 2779871"/>
                <a:gd name="connsiteX11" fmla="*/ 1186176 w 3047360"/>
                <a:gd name="connsiteY11" fmla="*/ 2777014 h 2779871"/>
                <a:gd name="connsiteX12" fmla="*/ 2290124 w 3047360"/>
                <a:gd name="connsiteY12" fmla="*/ 2779871 h 2779871"/>
                <a:gd name="connsiteX13" fmla="*/ 2670457 w 3047360"/>
                <a:gd name="connsiteY13" fmla="*/ 2399538 h 2779871"/>
                <a:gd name="connsiteX14" fmla="*/ 2290124 w 3047360"/>
                <a:gd name="connsiteY14" fmla="*/ 2019205 h 2779871"/>
                <a:gd name="connsiteX15" fmla="*/ 1565938 w 3047360"/>
                <a:gd name="connsiteY15" fmla="*/ 2019205 h 2779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47360" h="2779871">
                  <a:moveTo>
                    <a:pt x="1566128" y="2019110"/>
                  </a:moveTo>
                  <a:lnTo>
                    <a:pt x="2935919" y="649319"/>
                  </a:lnTo>
                  <a:cubicBezTo>
                    <a:pt x="3084509" y="500729"/>
                    <a:pt x="3084509" y="259937"/>
                    <a:pt x="2935919" y="111442"/>
                  </a:cubicBezTo>
                  <a:cubicBezTo>
                    <a:pt x="2787328" y="-37147"/>
                    <a:pt x="2546536" y="-37147"/>
                    <a:pt x="2397946" y="111442"/>
                  </a:cubicBezTo>
                  <a:lnTo>
                    <a:pt x="1860356" y="649034"/>
                  </a:lnTo>
                  <a:lnTo>
                    <a:pt x="918619" y="292608"/>
                  </a:lnTo>
                  <a:cubicBezTo>
                    <a:pt x="783078" y="241363"/>
                    <a:pt x="624010" y="270320"/>
                    <a:pt x="514854" y="379476"/>
                  </a:cubicBezTo>
                  <a:cubicBezTo>
                    <a:pt x="479611" y="414719"/>
                    <a:pt x="452656" y="455200"/>
                    <a:pt x="434177" y="498443"/>
                  </a:cubicBezTo>
                  <a:lnTo>
                    <a:pt x="30698" y="1439799"/>
                  </a:lnTo>
                  <a:cubicBezTo>
                    <a:pt x="-28738" y="1578578"/>
                    <a:pt x="-1877" y="1745456"/>
                    <a:pt x="111375" y="1858709"/>
                  </a:cubicBezTo>
                  <a:lnTo>
                    <a:pt x="918238" y="2665571"/>
                  </a:lnTo>
                  <a:cubicBezTo>
                    <a:pt x="992247" y="2739581"/>
                    <a:pt x="1089211" y="2776728"/>
                    <a:pt x="1186176" y="2777014"/>
                  </a:cubicBezTo>
                  <a:cubicBezTo>
                    <a:pt x="1186176" y="2777014"/>
                    <a:pt x="2289838" y="2779871"/>
                    <a:pt x="2290124" y="2779871"/>
                  </a:cubicBezTo>
                  <a:cubicBezTo>
                    <a:pt x="2500150" y="2779871"/>
                    <a:pt x="2670457" y="2609564"/>
                    <a:pt x="2670457" y="2399538"/>
                  </a:cubicBezTo>
                  <a:cubicBezTo>
                    <a:pt x="2670457" y="2189512"/>
                    <a:pt x="2500150" y="2019205"/>
                    <a:pt x="2290124" y="2019205"/>
                  </a:cubicBezTo>
                  <a:lnTo>
                    <a:pt x="1565938" y="2019205"/>
                  </a:lnTo>
                  <a:close/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50" name="Forme libre : forme 249">
              <a:extLst>
                <a:ext uri="{FF2B5EF4-FFF2-40B4-BE49-F238E27FC236}">
                  <a16:creationId xmlns:a16="http://schemas.microsoft.com/office/drawing/2014/main" id="{5DE42CEB-E7BB-B3CA-FF26-AD36029E6D1B}"/>
                </a:ext>
              </a:extLst>
            </p:cNvPr>
            <p:cNvSpPr/>
            <p:nvPr/>
          </p:nvSpPr>
          <p:spPr>
            <a:xfrm>
              <a:off x="5757576" y="1185576"/>
              <a:ext cx="2586608" cy="4488370"/>
            </a:xfrm>
            <a:custGeom>
              <a:avLst/>
              <a:gdLst>
                <a:gd name="connsiteX0" fmla="*/ 1445514 w 2586608"/>
                <a:gd name="connsiteY0" fmla="*/ 4488371 h 4488370"/>
                <a:gd name="connsiteX1" fmla="*/ 1825847 w 2586608"/>
                <a:gd name="connsiteY1" fmla="*/ 4488371 h 4488370"/>
                <a:gd name="connsiteX2" fmla="*/ 2586609 w 2586608"/>
                <a:gd name="connsiteY2" fmla="*/ 3727609 h 4488370"/>
                <a:gd name="connsiteX3" fmla="*/ 2586609 w 2586608"/>
                <a:gd name="connsiteY3" fmla="*/ 760762 h 4488370"/>
                <a:gd name="connsiteX4" fmla="*/ 1825847 w 2586608"/>
                <a:gd name="connsiteY4" fmla="*/ 0 h 4488370"/>
                <a:gd name="connsiteX5" fmla="*/ 760762 w 2586608"/>
                <a:gd name="connsiteY5" fmla="*/ 0 h 4488370"/>
                <a:gd name="connsiteX6" fmla="*/ 0 w 2586608"/>
                <a:gd name="connsiteY6" fmla="*/ 760762 h 4488370"/>
                <a:gd name="connsiteX7" fmla="*/ 0 w 2586608"/>
                <a:gd name="connsiteY7" fmla="*/ 1235202 h 4488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6608" h="4488370">
                  <a:moveTo>
                    <a:pt x="1445514" y="4488371"/>
                  </a:moveTo>
                  <a:lnTo>
                    <a:pt x="1825847" y="4488371"/>
                  </a:lnTo>
                  <a:cubicBezTo>
                    <a:pt x="2245995" y="4488371"/>
                    <a:pt x="2586609" y="4147757"/>
                    <a:pt x="2586609" y="3727609"/>
                  </a:cubicBezTo>
                  <a:lnTo>
                    <a:pt x="2586609" y="760762"/>
                  </a:lnTo>
                  <a:cubicBezTo>
                    <a:pt x="2586609" y="340614"/>
                    <a:pt x="2245995" y="0"/>
                    <a:pt x="1825847" y="0"/>
                  </a:cubicBezTo>
                  <a:lnTo>
                    <a:pt x="760762" y="0"/>
                  </a:lnTo>
                  <a:cubicBezTo>
                    <a:pt x="340614" y="0"/>
                    <a:pt x="0" y="340614"/>
                    <a:pt x="0" y="760762"/>
                  </a:cubicBezTo>
                  <a:lnTo>
                    <a:pt x="0" y="1235202"/>
                  </a:ln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51" name="Forme libre : forme 250">
              <a:extLst>
                <a:ext uri="{FF2B5EF4-FFF2-40B4-BE49-F238E27FC236}">
                  <a16:creationId xmlns:a16="http://schemas.microsoft.com/office/drawing/2014/main" id="{4EA365A9-93A8-EE2B-9E18-6D4599C65A87}"/>
                </a:ext>
              </a:extLst>
            </p:cNvPr>
            <p:cNvSpPr/>
            <p:nvPr/>
          </p:nvSpPr>
          <p:spPr>
            <a:xfrm>
              <a:off x="6898767" y="1946338"/>
              <a:ext cx="304323" cy="9525"/>
            </a:xfrm>
            <a:custGeom>
              <a:avLst/>
              <a:gdLst>
                <a:gd name="connsiteX0" fmla="*/ 304324 w 304323"/>
                <a:gd name="connsiteY0" fmla="*/ 0 h 9525"/>
                <a:gd name="connsiteX1" fmla="*/ 0 w 30432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4323" h="9525">
                  <a:moveTo>
                    <a:pt x="304324" y="0"/>
                  </a:move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</p:grpSp>
      <p:grpSp>
        <p:nvGrpSpPr>
          <p:cNvPr id="252" name="!!_Picto_02c_!!">
            <a:extLst>
              <a:ext uri="{FF2B5EF4-FFF2-40B4-BE49-F238E27FC236}">
                <a16:creationId xmlns:a16="http://schemas.microsoft.com/office/drawing/2014/main" id="{6A1D5583-F7DC-FF05-5810-B590D5772219}"/>
              </a:ext>
            </a:extLst>
          </p:cNvPr>
          <p:cNvGrpSpPr>
            <a:grpSpLocks noChangeAspect="1"/>
          </p:cNvGrpSpPr>
          <p:nvPr/>
        </p:nvGrpSpPr>
        <p:grpSpPr>
          <a:xfrm>
            <a:off x="983930" y="2921560"/>
            <a:ext cx="194400" cy="234098"/>
            <a:chOff x="3606831" y="430243"/>
            <a:chExt cx="4977860" cy="5994368"/>
          </a:xfrm>
          <a:noFill/>
        </p:grpSpPr>
        <p:sp>
          <p:nvSpPr>
            <p:cNvPr id="253" name="Forme libre : forme 252">
              <a:extLst>
                <a:ext uri="{FF2B5EF4-FFF2-40B4-BE49-F238E27FC236}">
                  <a16:creationId xmlns:a16="http://schemas.microsoft.com/office/drawing/2014/main" id="{76660EA4-7E17-BB7E-F2FB-8294077A44DC}"/>
                </a:ext>
              </a:extLst>
            </p:cNvPr>
            <p:cNvSpPr/>
            <p:nvPr/>
          </p:nvSpPr>
          <p:spPr>
            <a:xfrm>
              <a:off x="3606831" y="430243"/>
              <a:ext cx="966596" cy="1523999"/>
            </a:xfrm>
            <a:custGeom>
              <a:avLst/>
              <a:gdLst>
                <a:gd name="connsiteX0" fmla="*/ 0 w 966596"/>
                <a:gd name="connsiteY0" fmla="*/ 1524000 h 1523999"/>
                <a:gd name="connsiteX1" fmla="*/ 966597 w 966596"/>
                <a:gd name="connsiteY1" fmla="*/ 0 h 152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6596" h="1523999">
                  <a:moveTo>
                    <a:pt x="0" y="1524000"/>
                  </a:moveTo>
                  <a:cubicBezTo>
                    <a:pt x="126206" y="904685"/>
                    <a:pt x="478536" y="366617"/>
                    <a:pt x="966597" y="0"/>
                  </a:cubicBez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54" name="Forme libre : forme 253">
              <a:extLst>
                <a:ext uri="{FF2B5EF4-FFF2-40B4-BE49-F238E27FC236}">
                  <a16:creationId xmlns:a16="http://schemas.microsoft.com/office/drawing/2014/main" id="{65371347-9CAB-51B3-534F-1B256E485CEA}"/>
                </a:ext>
              </a:extLst>
            </p:cNvPr>
            <p:cNvSpPr/>
            <p:nvPr/>
          </p:nvSpPr>
          <p:spPr>
            <a:xfrm>
              <a:off x="4063841" y="938212"/>
              <a:ext cx="4063936" cy="3962400"/>
            </a:xfrm>
            <a:custGeom>
              <a:avLst/>
              <a:gdLst>
                <a:gd name="connsiteX0" fmla="*/ 3555968 w 4063936"/>
                <a:gd name="connsiteY0" fmla="*/ 2576989 h 3962400"/>
                <a:gd name="connsiteX1" fmla="*/ 3555968 w 4063936"/>
                <a:gd name="connsiteY1" fmla="*/ 1524000 h 3962400"/>
                <a:gd name="connsiteX2" fmla="*/ 2031968 w 4063936"/>
                <a:gd name="connsiteY2" fmla="*/ 0 h 3962400"/>
                <a:gd name="connsiteX3" fmla="*/ 507968 w 4063936"/>
                <a:gd name="connsiteY3" fmla="*/ 1524000 h 3962400"/>
                <a:gd name="connsiteX4" fmla="*/ 507968 w 4063936"/>
                <a:gd name="connsiteY4" fmla="*/ 2576989 h 3962400"/>
                <a:gd name="connsiteX5" fmla="*/ 271748 w 4063936"/>
                <a:gd name="connsiteY5" fmla="*/ 3004566 h 3962400"/>
                <a:gd name="connsiteX6" fmla="*/ 0 w 4063936"/>
                <a:gd name="connsiteY6" fmla="*/ 3454432 h 3962400"/>
                <a:gd name="connsiteX7" fmla="*/ 507968 w 4063936"/>
                <a:gd name="connsiteY7" fmla="*/ 3962400 h 3962400"/>
                <a:gd name="connsiteX8" fmla="*/ 3555968 w 4063936"/>
                <a:gd name="connsiteY8" fmla="*/ 3962400 h 3962400"/>
                <a:gd name="connsiteX9" fmla="*/ 4063937 w 4063936"/>
                <a:gd name="connsiteY9" fmla="*/ 3454432 h 3962400"/>
                <a:gd name="connsiteX10" fmla="*/ 3792188 w 4063936"/>
                <a:gd name="connsiteY10" fmla="*/ 3004566 h 3962400"/>
                <a:gd name="connsiteX11" fmla="*/ 3555968 w 4063936"/>
                <a:gd name="connsiteY11" fmla="*/ 2576989 h 396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63936" h="3962400">
                  <a:moveTo>
                    <a:pt x="3555968" y="2576989"/>
                  </a:moveTo>
                  <a:lnTo>
                    <a:pt x="3555968" y="1524000"/>
                  </a:lnTo>
                  <a:cubicBezTo>
                    <a:pt x="3555968" y="682276"/>
                    <a:pt x="2873693" y="0"/>
                    <a:pt x="2031968" y="0"/>
                  </a:cubicBezTo>
                  <a:cubicBezTo>
                    <a:pt x="1190244" y="0"/>
                    <a:pt x="507968" y="682276"/>
                    <a:pt x="507968" y="1524000"/>
                  </a:cubicBezTo>
                  <a:lnTo>
                    <a:pt x="507968" y="2576989"/>
                  </a:lnTo>
                  <a:cubicBezTo>
                    <a:pt x="507968" y="2750725"/>
                    <a:pt x="425577" y="2923604"/>
                    <a:pt x="271748" y="3004566"/>
                  </a:cubicBezTo>
                  <a:cubicBezTo>
                    <a:pt x="110109" y="3089624"/>
                    <a:pt x="0" y="3259170"/>
                    <a:pt x="0" y="3454432"/>
                  </a:cubicBezTo>
                  <a:cubicBezTo>
                    <a:pt x="0" y="3734943"/>
                    <a:pt x="227457" y="3962400"/>
                    <a:pt x="507968" y="3962400"/>
                  </a:cubicBezTo>
                  <a:lnTo>
                    <a:pt x="3555968" y="3962400"/>
                  </a:lnTo>
                  <a:cubicBezTo>
                    <a:pt x="3836575" y="3962400"/>
                    <a:pt x="4063937" y="3734943"/>
                    <a:pt x="4063937" y="3454432"/>
                  </a:cubicBezTo>
                  <a:cubicBezTo>
                    <a:pt x="4063937" y="3259170"/>
                    <a:pt x="3953732" y="3089624"/>
                    <a:pt x="3792188" y="3004566"/>
                  </a:cubicBezTo>
                  <a:cubicBezTo>
                    <a:pt x="3638360" y="2923604"/>
                    <a:pt x="3555968" y="2750725"/>
                    <a:pt x="3555968" y="2576989"/>
                  </a:cubicBezTo>
                  <a:close/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55" name="Forme libre : forme 254">
              <a:extLst>
                <a:ext uri="{FF2B5EF4-FFF2-40B4-BE49-F238E27FC236}">
                  <a16:creationId xmlns:a16="http://schemas.microsoft.com/office/drawing/2014/main" id="{6F55C92B-CF81-555E-FA05-BA169C256500}"/>
                </a:ext>
              </a:extLst>
            </p:cNvPr>
            <p:cNvSpPr/>
            <p:nvPr/>
          </p:nvSpPr>
          <p:spPr>
            <a:xfrm>
              <a:off x="5587841" y="5916643"/>
              <a:ext cx="1015936" cy="507968"/>
            </a:xfrm>
            <a:custGeom>
              <a:avLst/>
              <a:gdLst>
                <a:gd name="connsiteX0" fmla="*/ 1015937 w 1015936"/>
                <a:gd name="connsiteY0" fmla="*/ 0 h 507968"/>
                <a:gd name="connsiteX1" fmla="*/ 507968 w 1015936"/>
                <a:gd name="connsiteY1" fmla="*/ 507968 h 507968"/>
                <a:gd name="connsiteX2" fmla="*/ 0 w 1015936"/>
                <a:gd name="connsiteY2" fmla="*/ 0 h 50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5936" h="507968">
                  <a:moveTo>
                    <a:pt x="1015937" y="0"/>
                  </a:moveTo>
                  <a:cubicBezTo>
                    <a:pt x="1015937" y="280511"/>
                    <a:pt x="788480" y="507968"/>
                    <a:pt x="507968" y="507968"/>
                  </a:cubicBezTo>
                  <a:cubicBezTo>
                    <a:pt x="227457" y="507968"/>
                    <a:pt x="0" y="280511"/>
                    <a:pt x="0" y="0"/>
                  </a:cubicBez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56" name="Forme libre : forme 255">
              <a:extLst>
                <a:ext uri="{FF2B5EF4-FFF2-40B4-BE49-F238E27FC236}">
                  <a16:creationId xmlns:a16="http://schemas.microsoft.com/office/drawing/2014/main" id="{0D2BE81A-AD0B-90B1-587E-0410CBBF1B7C}"/>
                </a:ext>
              </a:extLst>
            </p:cNvPr>
            <p:cNvSpPr/>
            <p:nvPr/>
          </p:nvSpPr>
          <p:spPr>
            <a:xfrm>
              <a:off x="7618094" y="430243"/>
              <a:ext cx="966597" cy="1523999"/>
            </a:xfrm>
            <a:custGeom>
              <a:avLst/>
              <a:gdLst>
                <a:gd name="connsiteX0" fmla="*/ 966597 w 966597"/>
                <a:gd name="connsiteY0" fmla="*/ 1524000 h 1523999"/>
                <a:gd name="connsiteX1" fmla="*/ 0 w 966597"/>
                <a:gd name="connsiteY1" fmla="*/ 0 h 152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6597" h="1523999">
                  <a:moveTo>
                    <a:pt x="966597" y="1524000"/>
                  </a:moveTo>
                  <a:cubicBezTo>
                    <a:pt x="840391" y="904685"/>
                    <a:pt x="488061" y="366617"/>
                    <a:pt x="0" y="0"/>
                  </a:cubicBez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257" name="Forme libre : forme 256">
              <a:extLst>
                <a:ext uri="{FF2B5EF4-FFF2-40B4-BE49-F238E27FC236}">
                  <a16:creationId xmlns:a16="http://schemas.microsoft.com/office/drawing/2014/main" id="{2FD78BBE-EBC8-FA62-834D-B015553F6769}"/>
                </a:ext>
              </a:extLst>
            </p:cNvPr>
            <p:cNvSpPr/>
            <p:nvPr/>
          </p:nvSpPr>
          <p:spPr>
            <a:xfrm>
              <a:off x="6095809" y="430243"/>
              <a:ext cx="9525" cy="507968"/>
            </a:xfrm>
            <a:custGeom>
              <a:avLst/>
              <a:gdLst>
                <a:gd name="connsiteX0" fmla="*/ 0 w 9525"/>
                <a:gd name="connsiteY0" fmla="*/ 0 h 507968"/>
                <a:gd name="connsiteX1" fmla="*/ 0 w 9525"/>
                <a:gd name="connsiteY1" fmla="*/ 507968 h 50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07968">
                  <a:moveTo>
                    <a:pt x="0" y="0"/>
                  </a:moveTo>
                  <a:lnTo>
                    <a:pt x="0" y="507968"/>
                  </a:lnTo>
                </a:path>
              </a:pathLst>
            </a:custGeom>
            <a:noFill/>
            <a:ln w="12700" cap="rnd">
              <a:solidFill>
                <a:srgbClr val="555D7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</p:grpSp>
      <p:sp>
        <p:nvSpPr>
          <p:cNvPr id="16" name="Cache01">
            <a:extLst>
              <a:ext uri="{FF2B5EF4-FFF2-40B4-BE49-F238E27FC236}">
                <a16:creationId xmlns:a16="http://schemas.microsoft.com/office/drawing/2014/main" id="{75FFEEE5-E74D-24C7-3FCB-E161EFDEB15F}"/>
              </a:ext>
            </a:extLst>
          </p:cNvPr>
          <p:cNvSpPr/>
          <p:nvPr/>
        </p:nvSpPr>
        <p:spPr>
          <a:xfrm>
            <a:off x="0" y="-1"/>
            <a:ext cx="6096000" cy="3730171"/>
          </a:xfrm>
          <a:custGeom>
            <a:avLst/>
            <a:gdLst>
              <a:gd name="connsiteX0" fmla="*/ 0 w 6096000"/>
              <a:gd name="connsiteY0" fmla="*/ 0 h 3730171"/>
              <a:gd name="connsiteX1" fmla="*/ 6096000 w 6096000"/>
              <a:gd name="connsiteY1" fmla="*/ 0 h 3730171"/>
              <a:gd name="connsiteX2" fmla="*/ 6096000 w 6096000"/>
              <a:gd name="connsiteY2" fmla="*/ 3338287 h 3730171"/>
              <a:gd name="connsiteX3" fmla="*/ 1314397 w 6096000"/>
              <a:gd name="connsiteY3" fmla="*/ 3338287 h 3730171"/>
              <a:gd name="connsiteX4" fmla="*/ 1314397 w 6096000"/>
              <a:gd name="connsiteY4" fmla="*/ 3730171 h 3730171"/>
              <a:gd name="connsiteX5" fmla="*/ 1253744 w 6096000"/>
              <a:gd name="connsiteY5" fmla="*/ 3730171 h 3730171"/>
              <a:gd name="connsiteX6" fmla="*/ 1253744 w 6096000"/>
              <a:gd name="connsiteY6" fmla="*/ 3673650 h 3730171"/>
              <a:gd name="connsiteX7" fmla="*/ 1081130 w 6096000"/>
              <a:gd name="connsiteY7" fmla="*/ 3501036 h 3730171"/>
              <a:gd name="connsiteX8" fmla="*/ 908516 w 6096000"/>
              <a:gd name="connsiteY8" fmla="*/ 3673650 h 3730171"/>
              <a:gd name="connsiteX9" fmla="*/ 908516 w 6096000"/>
              <a:gd name="connsiteY9" fmla="*/ 3730171 h 3730171"/>
              <a:gd name="connsiteX10" fmla="*/ 0 w 6096000"/>
              <a:gd name="connsiteY10" fmla="*/ 3730171 h 3730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096000" h="3730171">
                <a:moveTo>
                  <a:pt x="0" y="0"/>
                </a:moveTo>
                <a:lnTo>
                  <a:pt x="6096000" y="0"/>
                </a:lnTo>
                <a:lnTo>
                  <a:pt x="6096000" y="3338287"/>
                </a:lnTo>
                <a:lnTo>
                  <a:pt x="1314397" y="3338287"/>
                </a:lnTo>
                <a:lnTo>
                  <a:pt x="1314397" y="3730171"/>
                </a:lnTo>
                <a:lnTo>
                  <a:pt x="1253744" y="3730171"/>
                </a:lnTo>
                <a:lnTo>
                  <a:pt x="1253744" y="3673650"/>
                </a:lnTo>
                <a:cubicBezTo>
                  <a:pt x="1253744" y="3578318"/>
                  <a:pt x="1176462" y="3501036"/>
                  <a:pt x="1081130" y="3501036"/>
                </a:cubicBezTo>
                <a:cubicBezTo>
                  <a:pt x="985798" y="3501036"/>
                  <a:pt x="908516" y="3578318"/>
                  <a:pt x="908516" y="3673650"/>
                </a:cubicBezTo>
                <a:lnTo>
                  <a:pt x="908516" y="3730171"/>
                </a:lnTo>
                <a:lnTo>
                  <a:pt x="0" y="3730171"/>
                </a:lnTo>
                <a:close/>
              </a:path>
            </a:pathLst>
          </a:custGeom>
          <a:solidFill>
            <a:srgbClr val="F4F4F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Alternates"/>
              <a:ea typeface="+mn-ea"/>
              <a:cs typeface="+mn-cs"/>
            </a:endParaRPr>
          </a:p>
        </p:txBody>
      </p:sp>
      <p:sp>
        <p:nvSpPr>
          <p:cNvPr id="226" name="ZoneTexte 225">
            <a:extLst>
              <a:ext uri="{FF2B5EF4-FFF2-40B4-BE49-F238E27FC236}">
                <a16:creationId xmlns:a16="http://schemas.microsoft.com/office/drawing/2014/main" id="{E71C1FCC-802B-7042-6B4C-346EBAADD655}"/>
              </a:ext>
            </a:extLst>
          </p:cNvPr>
          <p:cNvSpPr txBox="1"/>
          <p:nvPr/>
        </p:nvSpPr>
        <p:spPr>
          <a:xfrm>
            <a:off x="880861" y="1267783"/>
            <a:ext cx="4254691" cy="67710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800" b="1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Quicksand"/>
                <a:ea typeface="+mn-ea"/>
                <a:cs typeface="+mn-cs"/>
              </a:rPr>
              <a:t>UN OUTIL SIMPLE</a:t>
            </a:r>
            <a:endParaRPr kumimoji="0" lang="fr-FR" sz="3800" b="0" i="0" u="none" strike="noStrike" kern="1200" cap="none" spc="0" normalizeH="0" baseline="0" noProof="0">
              <a:ln>
                <a:noFill/>
              </a:ln>
              <a:solidFill>
                <a:srgbClr val="9097B3"/>
              </a:solidFill>
              <a:effectLst/>
              <a:uLnTx/>
              <a:uFillTx/>
              <a:latin typeface="Montserrat Alternates SemiBold" panose="00000700000000000000" pitchFamily="2" charset="0"/>
              <a:ea typeface="+mn-ea"/>
              <a:cs typeface="+mn-cs"/>
            </a:endParaRPr>
          </a:p>
        </p:txBody>
      </p:sp>
      <p:sp>
        <p:nvSpPr>
          <p:cNvPr id="227" name="ZoneTexte 226">
            <a:extLst>
              <a:ext uri="{FF2B5EF4-FFF2-40B4-BE49-F238E27FC236}">
                <a16:creationId xmlns:a16="http://schemas.microsoft.com/office/drawing/2014/main" id="{0442079C-EBA4-57E7-8C15-6B9D2CC30088}"/>
              </a:ext>
            </a:extLst>
          </p:cNvPr>
          <p:cNvSpPr txBox="1"/>
          <p:nvPr/>
        </p:nvSpPr>
        <p:spPr>
          <a:xfrm>
            <a:off x="899912" y="1746732"/>
            <a:ext cx="4230645" cy="63094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50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 SemiBold" panose="00000700000000000000" pitchFamily="2" charset="0"/>
                <a:ea typeface="+mn-ea"/>
                <a:cs typeface="+mn-cs"/>
              </a:rPr>
              <a:t>dans votre poche</a:t>
            </a:r>
          </a:p>
        </p:txBody>
      </p:sp>
      <p:sp>
        <p:nvSpPr>
          <p:cNvPr id="228" name="ZoneTexte 227">
            <a:extLst>
              <a:ext uri="{FF2B5EF4-FFF2-40B4-BE49-F238E27FC236}">
                <a16:creationId xmlns:a16="http://schemas.microsoft.com/office/drawing/2014/main" id="{67EA098C-4493-19F8-B9C8-99CEEA09CF10}"/>
              </a:ext>
            </a:extLst>
          </p:cNvPr>
          <p:cNvSpPr txBox="1"/>
          <p:nvPr/>
        </p:nvSpPr>
        <p:spPr>
          <a:xfrm>
            <a:off x="893562" y="2224009"/>
            <a:ext cx="4331635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760" b="0" i="0" u="none" strike="noStrike" kern="1200" cap="none" spc="0" normalizeH="0" baseline="0" noProof="0">
                <a:ln>
                  <a:noFill/>
                </a:ln>
                <a:solidFill>
                  <a:srgbClr val="444A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pour des fonctionnalités vertueuses</a:t>
            </a:r>
          </a:p>
        </p:txBody>
      </p:sp>
      <p:sp>
        <p:nvSpPr>
          <p:cNvPr id="232" name="ZoneTexte 231">
            <a:extLst>
              <a:ext uri="{FF2B5EF4-FFF2-40B4-BE49-F238E27FC236}">
                <a16:creationId xmlns:a16="http://schemas.microsoft.com/office/drawing/2014/main" id="{440CA7A2-CBC4-DA42-FB99-FECEE105B977}"/>
              </a:ext>
            </a:extLst>
          </p:cNvPr>
          <p:cNvSpPr txBox="1"/>
          <p:nvPr/>
        </p:nvSpPr>
        <p:spPr>
          <a:xfrm>
            <a:off x="902166" y="2609095"/>
            <a:ext cx="4249881" cy="333708"/>
          </a:xfrm>
          <a:prstGeom prst="roundRect">
            <a:avLst/>
          </a:prstGeom>
          <a:solidFill>
            <a:srgbClr val="4E9664"/>
          </a:solidFill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36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rPr>
              <a:t>Chaque geste compte pour sauver la planète </a:t>
            </a:r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6151FDB3-1109-0AA4-6BDF-DB0AB0834F15}"/>
              </a:ext>
            </a:extLst>
          </p:cNvPr>
          <p:cNvGrpSpPr/>
          <p:nvPr/>
        </p:nvGrpSpPr>
        <p:grpSpPr>
          <a:xfrm>
            <a:off x="572667" y="487521"/>
            <a:ext cx="364153" cy="284070"/>
            <a:chOff x="1148496" y="1062130"/>
            <a:chExt cx="364153" cy="284070"/>
          </a:xfrm>
        </p:grpSpPr>
        <p:sp>
          <p:nvSpPr>
            <p:cNvPr id="3" name="Forme libre : forme 2">
              <a:extLst>
                <a:ext uri="{FF2B5EF4-FFF2-40B4-BE49-F238E27FC236}">
                  <a16:creationId xmlns:a16="http://schemas.microsoft.com/office/drawing/2014/main" id="{C67D8C2F-D4D4-68D6-247B-8849F66BD280}"/>
                </a:ext>
              </a:extLst>
            </p:cNvPr>
            <p:cNvSpPr/>
            <p:nvPr/>
          </p:nvSpPr>
          <p:spPr>
            <a:xfrm>
              <a:off x="1148496" y="1062130"/>
              <a:ext cx="284156" cy="284070"/>
            </a:xfrm>
            <a:custGeom>
              <a:avLst/>
              <a:gdLst>
                <a:gd name="connsiteX0" fmla="*/ 1927193 w 3012185"/>
                <a:gd name="connsiteY0" fmla="*/ 3011281 h 3011281"/>
                <a:gd name="connsiteX1" fmla="*/ 1159955 w 3012185"/>
                <a:gd name="connsiteY1" fmla="*/ 2694003 h 3011281"/>
                <a:gd name="connsiteX2" fmla="*/ 317754 w 3012185"/>
                <a:gd name="connsiteY2" fmla="*/ 1851803 h 3011281"/>
                <a:gd name="connsiteX3" fmla="*/ 0 w 3012185"/>
                <a:gd name="connsiteY3" fmla="*/ 1084564 h 3011281"/>
                <a:gd name="connsiteX4" fmla="*/ 317754 w 3012185"/>
                <a:gd name="connsiteY4" fmla="*/ 317325 h 3011281"/>
                <a:gd name="connsiteX5" fmla="*/ 1852232 w 3012185"/>
                <a:gd name="connsiteY5" fmla="*/ 317325 h 3011281"/>
                <a:gd name="connsiteX6" fmla="*/ 2694432 w 3012185"/>
                <a:gd name="connsiteY6" fmla="*/ 1159526 h 3011281"/>
                <a:gd name="connsiteX7" fmla="*/ 3012186 w 3012185"/>
                <a:gd name="connsiteY7" fmla="*/ 1926765 h 3011281"/>
                <a:gd name="connsiteX8" fmla="*/ 2694432 w 3012185"/>
                <a:gd name="connsiteY8" fmla="*/ 2694003 h 3011281"/>
                <a:gd name="connsiteX9" fmla="*/ 1927193 w 3012185"/>
                <a:gd name="connsiteY9" fmla="*/ 3011281 h 3011281"/>
                <a:gd name="connsiteX10" fmla="*/ 1084993 w 3012185"/>
                <a:gd name="connsiteY10" fmla="*/ 480012 h 3011281"/>
                <a:gd name="connsiteX11" fmla="*/ 657320 w 3012185"/>
                <a:gd name="connsiteY11" fmla="*/ 656892 h 3011281"/>
                <a:gd name="connsiteX12" fmla="*/ 480155 w 3012185"/>
                <a:gd name="connsiteY12" fmla="*/ 1084564 h 3011281"/>
                <a:gd name="connsiteX13" fmla="*/ 657320 w 3012185"/>
                <a:gd name="connsiteY13" fmla="*/ 1512237 h 3011281"/>
                <a:gd name="connsiteX14" fmla="*/ 1499521 w 3012185"/>
                <a:gd name="connsiteY14" fmla="*/ 2354437 h 3011281"/>
                <a:gd name="connsiteX15" fmla="*/ 2354961 w 3012185"/>
                <a:gd name="connsiteY15" fmla="*/ 2354437 h 3011281"/>
                <a:gd name="connsiteX16" fmla="*/ 2532126 w 3012185"/>
                <a:gd name="connsiteY16" fmla="*/ 1926765 h 3011281"/>
                <a:gd name="connsiteX17" fmla="*/ 2354961 w 3012185"/>
                <a:gd name="connsiteY17" fmla="*/ 1499092 h 3011281"/>
                <a:gd name="connsiteX18" fmla="*/ 1512761 w 3012185"/>
                <a:gd name="connsiteY18" fmla="*/ 656892 h 3011281"/>
                <a:gd name="connsiteX19" fmla="*/ 1084993 w 3012185"/>
                <a:gd name="connsiteY19" fmla="*/ 480012 h 301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12185" h="3011281">
                  <a:moveTo>
                    <a:pt x="1927193" y="3011281"/>
                  </a:moveTo>
                  <a:cubicBezTo>
                    <a:pt x="1649349" y="3011281"/>
                    <a:pt x="1371505" y="2905554"/>
                    <a:pt x="1159955" y="2694003"/>
                  </a:cubicBezTo>
                  <a:lnTo>
                    <a:pt x="317754" y="1851803"/>
                  </a:lnTo>
                  <a:cubicBezTo>
                    <a:pt x="112871" y="1646825"/>
                    <a:pt x="0" y="1374410"/>
                    <a:pt x="0" y="1084564"/>
                  </a:cubicBezTo>
                  <a:cubicBezTo>
                    <a:pt x="0" y="794718"/>
                    <a:pt x="112871" y="522303"/>
                    <a:pt x="317754" y="317325"/>
                  </a:cubicBezTo>
                  <a:cubicBezTo>
                    <a:pt x="740855" y="-105775"/>
                    <a:pt x="1429131" y="-105775"/>
                    <a:pt x="1852232" y="317325"/>
                  </a:cubicBezTo>
                  <a:lnTo>
                    <a:pt x="2694432" y="1159526"/>
                  </a:lnTo>
                  <a:cubicBezTo>
                    <a:pt x="2899410" y="1364504"/>
                    <a:pt x="3012186" y="1636919"/>
                    <a:pt x="3012186" y="1926765"/>
                  </a:cubicBezTo>
                  <a:cubicBezTo>
                    <a:pt x="3012186" y="2216611"/>
                    <a:pt x="2899315" y="2489025"/>
                    <a:pt x="2694432" y="2694003"/>
                  </a:cubicBezTo>
                  <a:cubicBezTo>
                    <a:pt x="2489549" y="2898982"/>
                    <a:pt x="2205038" y="3011281"/>
                    <a:pt x="1927193" y="3011281"/>
                  </a:cubicBezTo>
                  <a:close/>
                  <a:moveTo>
                    <a:pt x="1084993" y="480012"/>
                  </a:moveTo>
                  <a:cubicBezTo>
                    <a:pt x="930116" y="480012"/>
                    <a:pt x="775240" y="538972"/>
                    <a:pt x="657320" y="656892"/>
                  </a:cubicBezTo>
                  <a:cubicBezTo>
                    <a:pt x="543116" y="771096"/>
                    <a:pt x="480155" y="923020"/>
                    <a:pt x="480155" y="1084564"/>
                  </a:cubicBezTo>
                  <a:cubicBezTo>
                    <a:pt x="480155" y="1246108"/>
                    <a:pt x="543020" y="1398032"/>
                    <a:pt x="657320" y="1512237"/>
                  </a:cubicBezTo>
                  <a:lnTo>
                    <a:pt x="1499521" y="2354437"/>
                  </a:lnTo>
                  <a:cubicBezTo>
                    <a:pt x="1735360" y="2590276"/>
                    <a:pt x="2119122" y="2590276"/>
                    <a:pt x="2354961" y="2354437"/>
                  </a:cubicBezTo>
                  <a:cubicBezTo>
                    <a:pt x="2469166" y="2240233"/>
                    <a:pt x="2532126" y="2088309"/>
                    <a:pt x="2532126" y="1926765"/>
                  </a:cubicBezTo>
                  <a:cubicBezTo>
                    <a:pt x="2532126" y="1765221"/>
                    <a:pt x="2469261" y="1613297"/>
                    <a:pt x="2354961" y="1499092"/>
                  </a:cubicBezTo>
                  <a:lnTo>
                    <a:pt x="1512761" y="656892"/>
                  </a:lnTo>
                  <a:cubicBezTo>
                    <a:pt x="1394841" y="538972"/>
                    <a:pt x="1239964" y="480012"/>
                    <a:pt x="1084993" y="480012"/>
                  </a:cubicBezTo>
                  <a:close/>
                </a:path>
              </a:pathLst>
            </a:custGeom>
            <a:solidFill>
              <a:srgbClr val="9097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  <p:sp>
          <p:nvSpPr>
            <p:cNvPr id="4" name="Forme libre : forme 3">
              <a:extLst>
                <a:ext uri="{FF2B5EF4-FFF2-40B4-BE49-F238E27FC236}">
                  <a16:creationId xmlns:a16="http://schemas.microsoft.com/office/drawing/2014/main" id="{A667ABF1-E520-0299-EE82-914C92162C70}"/>
                </a:ext>
              </a:extLst>
            </p:cNvPr>
            <p:cNvSpPr/>
            <p:nvPr/>
          </p:nvSpPr>
          <p:spPr>
            <a:xfrm>
              <a:off x="1228502" y="1062130"/>
              <a:ext cx="284147" cy="284070"/>
            </a:xfrm>
            <a:custGeom>
              <a:avLst/>
              <a:gdLst>
                <a:gd name="connsiteX0" fmla="*/ 1084993 w 3012090"/>
                <a:gd name="connsiteY0" fmla="*/ 3011281 h 3011281"/>
                <a:gd name="connsiteX1" fmla="*/ 317754 w 3012090"/>
                <a:gd name="connsiteY1" fmla="*/ 2694003 h 3011281"/>
                <a:gd name="connsiteX2" fmla="*/ 0 w 3012090"/>
                <a:gd name="connsiteY2" fmla="*/ 1926765 h 3011281"/>
                <a:gd name="connsiteX3" fmla="*/ 317754 w 3012090"/>
                <a:gd name="connsiteY3" fmla="*/ 1159526 h 3011281"/>
                <a:gd name="connsiteX4" fmla="*/ 1159955 w 3012090"/>
                <a:gd name="connsiteY4" fmla="*/ 317325 h 3011281"/>
                <a:gd name="connsiteX5" fmla="*/ 2694337 w 3012090"/>
                <a:gd name="connsiteY5" fmla="*/ 317325 h 3011281"/>
                <a:gd name="connsiteX6" fmla="*/ 3012091 w 3012090"/>
                <a:gd name="connsiteY6" fmla="*/ 1084564 h 3011281"/>
                <a:gd name="connsiteX7" fmla="*/ 2694337 w 3012090"/>
                <a:gd name="connsiteY7" fmla="*/ 1851803 h 3011281"/>
                <a:gd name="connsiteX8" fmla="*/ 1852136 w 3012090"/>
                <a:gd name="connsiteY8" fmla="*/ 2694003 h 3011281"/>
                <a:gd name="connsiteX9" fmla="*/ 1084898 w 3012090"/>
                <a:gd name="connsiteY9" fmla="*/ 3011281 h 3011281"/>
                <a:gd name="connsiteX10" fmla="*/ 1927098 w 3012090"/>
                <a:gd name="connsiteY10" fmla="*/ 480012 h 3011281"/>
                <a:gd name="connsiteX11" fmla="*/ 1499426 w 3012090"/>
                <a:gd name="connsiteY11" fmla="*/ 656892 h 3011281"/>
                <a:gd name="connsiteX12" fmla="*/ 657225 w 3012090"/>
                <a:gd name="connsiteY12" fmla="*/ 1499092 h 3011281"/>
                <a:gd name="connsiteX13" fmla="*/ 480060 w 3012090"/>
                <a:gd name="connsiteY13" fmla="*/ 1926765 h 3011281"/>
                <a:gd name="connsiteX14" fmla="*/ 657225 w 3012090"/>
                <a:gd name="connsiteY14" fmla="*/ 2354437 h 3011281"/>
                <a:gd name="connsiteX15" fmla="*/ 1512570 w 3012090"/>
                <a:gd name="connsiteY15" fmla="*/ 2354437 h 3011281"/>
                <a:gd name="connsiteX16" fmla="*/ 2354771 w 3012090"/>
                <a:gd name="connsiteY16" fmla="*/ 1512237 h 3011281"/>
                <a:gd name="connsiteX17" fmla="*/ 2531935 w 3012090"/>
                <a:gd name="connsiteY17" fmla="*/ 1084564 h 3011281"/>
                <a:gd name="connsiteX18" fmla="*/ 2354771 w 3012090"/>
                <a:gd name="connsiteY18" fmla="*/ 656892 h 3011281"/>
                <a:gd name="connsiteX19" fmla="*/ 1927098 w 3012090"/>
                <a:gd name="connsiteY19" fmla="*/ 480012 h 301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12090" h="3011281">
                  <a:moveTo>
                    <a:pt x="1084993" y="3011281"/>
                  </a:moveTo>
                  <a:cubicBezTo>
                    <a:pt x="807149" y="3011281"/>
                    <a:pt x="529304" y="2905554"/>
                    <a:pt x="317754" y="2694003"/>
                  </a:cubicBezTo>
                  <a:cubicBezTo>
                    <a:pt x="106204" y="2482453"/>
                    <a:pt x="0" y="2216611"/>
                    <a:pt x="0" y="1926765"/>
                  </a:cubicBezTo>
                  <a:cubicBezTo>
                    <a:pt x="0" y="1636919"/>
                    <a:pt x="112871" y="1364504"/>
                    <a:pt x="317754" y="1159526"/>
                  </a:cubicBezTo>
                  <a:lnTo>
                    <a:pt x="1159955" y="317325"/>
                  </a:lnTo>
                  <a:cubicBezTo>
                    <a:pt x="1582960" y="-105775"/>
                    <a:pt x="2271332" y="-105775"/>
                    <a:pt x="2694337" y="317325"/>
                  </a:cubicBezTo>
                  <a:cubicBezTo>
                    <a:pt x="2899315" y="522303"/>
                    <a:pt x="3012091" y="794718"/>
                    <a:pt x="3012091" y="1084564"/>
                  </a:cubicBezTo>
                  <a:cubicBezTo>
                    <a:pt x="3012091" y="1374410"/>
                    <a:pt x="2899220" y="1646825"/>
                    <a:pt x="2694337" y="1851803"/>
                  </a:cubicBezTo>
                  <a:lnTo>
                    <a:pt x="1852136" y="2694003"/>
                  </a:lnTo>
                  <a:cubicBezTo>
                    <a:pt x="1640586" y="2905554"/>
                    <a:pt x="1362742" y="3011281"/>
                    <a:pt x="1084898" y="3011281"/>
                  </a:cubicBezTo>
                  <a:close/>
                  <a:moveTo>
                    <a:pt x="1927098" y="480012"/>
                  </a:moveTo>
                  <a:cubicBezTo>
                    <a:pt x="1772222" y="480012"/>
                    <a:pt x="1617345" y="538972"/>
                    <a:pt x="1499426" y="656892"/>
                  </a:cubicBezTo>
                  <a:lnTo>
                    <a:pt x="657225" y="1499092"/>
                  </a:lnTo>
                  <a:cubicBezTo>
                    <a:pt x="543020" y="1613297"/>
                    <a:pt x="480060" y="1765221"/>
                    <a:pt x="480060" y="1926765"/>
                  </a:cubicBezTo>
                  <a:cubicBezTo>
                    <a:pt x="480060" y="2088309"/>
                    <a:pt x="542925" y="2240233"/>
                    <a:pt x="657225" y="2354437"/>
                  </a:cubicBezTo>
                  <a:cubicBezTo>
                    <a:pt x="893064" y="2590276"/>
                    <a:pt x="1276731" y="2590276"/>
                    <a:pt x="1512570" y="2354437"/>
                  </a:cubicBezTo>
                  <a:lnTo>
                    <a:pt x="2354771" y="1512237"/>
                  </a:lnTo>
                  <a:cubicBezTo>
                    <a:pt x="2468975" y="1398032"/>
                    <a:pt x="2531935" y="1246108"/>
                    <a:pt x="2531935" y="1084564"/>
                  </a:cubicBezTo>
                  <a:cubicBezTo>
                    <a:pt x="2531935" y="923020"/>
                    <a:pt x="2469071" y="771096"/>
                    <a:pt x="2354771" y="656892"/>
                  </a:cubicBezTo>
                  <a:cubicBezTo>
                    <a:pt x="2236851" y="538972"/>
                    <a:pt x="2081975" y="480012"/>
                    <a:pt x="1927098" y="480012"/>
                  </a:cubicBezTo>
                  <a:close/>
                </a:path>
              </a:pathLst>
            </a:custGeom>
            <a:solidFill>
              <a:srgbClr val="4E966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E9664"/>
                </a:solidFill>
                <a:effectLst/>
                <a:uLnTx/>
                <a:uFillTx/>
                <a:latin typeface="Montserrat Alternates"/>
                <a:ea typeface="+mn-ea"/>
                <a:cs typeface="+mn-cs"/>
              </a:endParaRPr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784DDD0C-0AF6-61F8-2119-924B05384F02}"/>
              </a:ext>
            </a:extLst>
          </p:cNvPr>
          <p:cNvGrpSpPr/>
          <p:nvPr/>
        </p:nvGrpSpPr>
        <p:grpSpPr>
          <a:xfrm>
            <a:off x="1253744" y="449942"/>
            <a:ext cx="10444847" cy="359228"/>
            <a:chOff x="1253744" y="406400"/>
            <a:chExt cx="10444847" cy="359228"/>
          </a:xfrm>
        </p:grpSpPr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11AEF3A2-3FBF-E818-6453-3E2C752DA4B6}"/>
                </a:ext>
              </a:extLst>
            </p:cNvPr>
            <p:cNvSpPr/>
            <p:nvPr/>
          </p:nvSpPr>
          <p:spPr>
            <a:xfrm>
              <a:off x="1253744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>
                  <a:ln>
                    <a:noFill/>
                  </a:ln>
                  <a:solidFill>
                    <a:srgbClr val="C4C7D6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rPr>
                <a:t>Enjeu</a:t>
              </a:r>
            </a:p>
          </p:txBody>
        </p:sp>
        <p:sp>
          <p:nvSpPr>
            <p:cNvPr id="7" name="Rectangle : coins arrondis 6">
              <a:extLst>
                <a:ext uri="{FF2B5EF4-FFF2-40B4-BE49-F238E27FC236}">
                  <a16:creationId xmlns:a16="http://schemas.microsoft.com/office/drawing/2014/main" id="{F436571A-E553-8703-D429-80C9BA99227C}"/>
                </a:ext>
              </a:extLst>
            </p:cNvPr>
            <p:cNvSpPr/>
            <p:nvPr/>
          </p:nvSpPr>
          <p:spPr>
            <a:xfrm>
              <a:off x="3047725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>
                  <a:ln>
                    <a:noFill/>
                  </a:ln>
                  <a:solidFill>
                    <a:srgbClr val="C4C7D6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rPr>
                <a:t>Mission</a:t>
              </a:r>
            </a:p>
          </p:txBody>
        </p:sp>
        <p:sp>
          <p:nvSpPr>
            <p:cNvPr id="8" name="Rectangle : coins arrondis 7">
              <a:extLst>
                <a:ext uri="{FF2B5EF4-FFF2-40B4-BE49-F238E27FC236}">
                  <a16:creationId xmlns:a16="http://schemas.microsoft.com/office/drawing/2014/main" id="{23F23601-78DD-C044-44A5-2776446EA888}"/>
                </a:ext>
              </a:extLst>
            </p:cNvPr>
            <p:cNvSpPr/>
            <p:nvPr/>
          </p:nvSpPr>
          <p:spPr>
            <a:xfrm>
              <a:off x="6624871" y="406400"/>
              <a:ext cx="1496574" cy="359228"/>
            </a:xfrm>
            <a:prstGeom prst="roundRect">
              <a:avLst>
                <a:gd name="adj" fmla="val 50000"/>
              </a:avLst>
            </a:prstGeom>
            <a:solidFill>
              <a:srgbClr val="4E966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 Alternates SemiBold" panose="00000700000000000000" pitchFamily="2" charset="0"/>
                  <a:ea typeface="+mn-ea"/>
                  <a:cs typeface="+mn-cs"/>
                </a:rPr>
                <a:t>Fonctionnement</a:t>
              </a:r>
            </a:p>
          </p:txBody>
        </p:sp>
        <p:sp>
          <p:nvSpPr>
            <p:cNvPr id="9" name="Rectangle : coins arrondis 8">
              <a:extLst>
                <a:ext uri="{FF2B5EF4-FFF2-40B4-BE49-F238E27FC236}">
                  <a16:creationId xmlns:a16="http://schemas.microsoft.com/office/drawing/2014/main" id="{031E6DB6-F8BB-C4F8-2DEF-1236C7C78B04}"/>
                </a:ext>
              </a:extLst>
            </p:cNvPr>
            <p:cNvSpPr/>
            <p:nvPr/>
          </p:nvSpPr>
          <p:spPr>
            <a:xfrm>
              <a:off x="8429668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>
                  <a:ln>
                    <a:noFill/>
                  </a:ln>
                  <a:solidFill>
                    <a:srgbClr val="C4C7D6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rPr>
                <a:t>Offre</a:t>
              </a:r>
            </a:p>
          </p:txBody>
        </p:sp>
        <p:sp>
          <p:nvSpPr>
            <p:cNvPr id="10" name="Rectangle : coins arrondis 9">
              <a:extLst>
                <a:ext uri="{FF2B5EF4-FFF2-40B4-BE49-F238E27FC236}">
                  <a16:creationId xmlns:a16="http://schemas.microsoft.com/office/drawing/2014/main" id="{28E1A080-AAA8-D482-5486-E681F8399E24}"/>
                </a:ext>
              </a:extLst>
            </p:cNvPr>
            <p:cNvSpPr/>
            <p:nvPr/>
          </p:nvSpPr>
          <p:spPr>
            <a:xfrm>
              <a:off x="4841706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>
                  <a:ln>
                    <a:noFill/>
                  </a:ln>
                  <a:solidFill>
                    <a:srgbClr val="C4C7D6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rPr>
                <a:t>Solution</a:t>
              </a:r>
            </a:p>
          </p:txBody>
        </p:sp>
        <p:sp>
          <p:nvSpPr>
            <p:cNvPr id="11" name="Rectangle : coins arrondis 10">
              <a:extLst>
                <a:ext uri="{FF2B5EF4-FFF2-40B4-BE49-F238E27FC236}">
                  <a16:creationId xmlns:a16="http://schemas.microsoft.com/office/drawing/2014/main" id="{202F2740-AA72-BC1C-7EBE-2D1D943EDBC7}"/>
                </a:ext>
              </a:extLst>
            </p:cNvPr>
            <p:cNvSpPr/>
            <p:nvPr/>
          </p:nvSpPr>
          <p:spPr>
            <a:xfrm>
              <a:off x="10223649" y="406400"/>
              <a:ext cx="1474942" cy="359228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>
                  <a:ln>
                    <a:noFill/>
                  </a:ln>
                  <a:solidFill>
                    <a:srgbClr val="C4C7D6"/>
                  </a:solidFill>
                  <a:effectLst/>
                  <a:uLnTx/>
                  <a:uFillTx/>
                  <a:latin typeface="Montserrat Alternates"/>
                  <a:ea typeface="+mn-ea"/>
                  <a:cs typeface="+mn-cs"/>
                </a:rPr>
                <a:t>Fondateur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399235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7.40741E-7 L -0.00143 0.35718 " pathEditMode="relative" rAng="0" ptsTypes="AA">
                                      <p:cBhvr>
                                        <p:cTn id="9" dur="2000" spd="-100000" fill="hold"/>
                                        <p:tgtEl>
                                          <p:spTgt spid="2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8" y="17847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4.375E-6 -4.44444E-6 L -0.00079 0.29352 " pathEditMode="relative" rAng="0" ptsTypes="AA">
                                      <p:cBhvr>
                                        <p:cTn id="14" dur="2000" spd="-100000" fill="hold"/>
                                        <p:tgtEl>
                                          <p:spTgt spid="2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9" y="1467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1.45833E-6 2.59259E-6 L -1.45833E-6 0.23796 " pathEditMode="relative" rAng="0" ptsTypes="AA">
                                      <p:cBhvr>
                                        <p:cTn id="19" dur="2000" spd="-100000" fill="hold"/>
                                        <p:tgtEl>
                                          <p:spTgt spid="2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1898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91667E-6 -1.11111E-6 L 0.0013 0.18912 " pathEditMode="relative" rAng="0" ptsTypes="AA">
                                      <p:cBhvr>
                                        <p:cTn id="24" dur="2000" spd="-100000" fill="hold"/>
                                        <p:tgtEl>
                                          <p:spTgt spid="2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5" y="944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22" presetClass="entr" presetSubtype="1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1750"/>
                                        <p:tgtEl>
                                          <p:spTgt spid="2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" presetClass="emph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32" dur="750" fill="hold"/>
                                        <p:tgtEl>
                                          <p:spTgt spid="233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6" presetClass="emph" presetSubtype="0" decel="100000" fill="hold" grpId="2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34" dur="1000" fill="hold"/>
                                        <p:tgtEl>
                                          <p:spTgt spid="233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2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grpId="1" nodeType="withEffect">
                                  <p:stCondLst>
                                    <p:cond delay="1400"/>
                                  </p:stCondLst>
                                  <p:childTnLst>
                                    <p:animMotion origin="layout" path="M 1.875E-6 3.33333E-6 L -0.26133 3.33333E-6 " pathEditMode="relative" rAng="0" ptsTypes="AA">
                                      <p:cBhvr>
                                        <p:cTn id="39" dur="2000" spd="-100000" fill="hold"/>
                                        <p:tgtEl>
                                          <p:spTgt spid="2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073" y="0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2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animMotion origin="layout" path="M -1.875E-6 -1.48148E-6 L -0.00039 -0.04954 " pathEditMode="relative" rAng="0" ptsTypes="AA">
                                      <p:cBhvr>
                                        <p:cTn id="44" dur="2000" spd="-100000" fill="hold"/>
                                        <p:tgtEl>
                                          <p:spTgt spid="2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" y="-2477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2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42" presetClass="path" presetSubtype="0" decel="10000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animMotion origin="layout" path="M -1.875E-6 -1.48148E-6 L -0.00039 -0.04954 " pathEditMode="relative" rAng="0" ptsTypes="AA">
                                      <p:cBhvr>
                                        <p:cTn id="49" dur="2000" spd="-100000" fill="hold"/>
                                        <p:tgtEl>
                                          <p:spTgt spid="2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" y="-2477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2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2" presetClass="path" presetSubtype="0" decel="100000" fill="hold" grpId="1" nodeType="withEffect">
                                  <p:stCondLst>
                                    <p:cond delay="1600"/>
                                  </p:stCondLst>
                                  <p:childTnLst>
                                    <p:animMotion origin="layout" path="M 1.875E-6 3.33333E-6 L -0.26133 3.33333E-6 " pathEditMode="relative" rAng="0" ptsTypes="AA">
                                      <p:cBhvr>
                                        <p:cTn id="54" dur="2000" spd="-1000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073" y="0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2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42" presetClass="path" presetSubtype="0" decel="100000" fill="hold" grpId="1" nodeType="withEffect">
                                  <p:stCondLst>
                                    <p:cond delay="1800"/>
                                  </p:stCondLst>
                                  <p:childTnLst>
                                    <p:animMotion origin="layout" path="M 1.875E-6 3.33333E-6 L -0.26133 3.33333E-6 " pathEditMode="relative" rAng="0" ptsTypes="AA">
                                      <p:cBhvr>
                                        <p:cTn id="59" dur="2000" spd="-100000" fill="hold"/>
                                        <p:tgtEl>
                                          <p:spTgt spid="2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073" y="0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" presetClass="entr" presetSubtype="0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241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2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42" presetClass="path" presetSubtype="0" decel="100000" fill="hold" nodeType="withEffect">
                                  <p:stCondLst>
                                    <p:cond delay="2410"/>
                                  </p:stCondLst>
                                  <p:childTnLst>
                                    <p:animMotion origin="layout" path="M 3.75E-6 1.11111E-6 L -0.00039 -0.04954 " pathEditMode="relative" rAng="0" ptsTypes="AA">
                                      <p:cBhvr>
                                        <p:cTn id="66" dur="2000" spd="-100000" fill="hold"/>
                                        <p:tgtEl>
                                          <p:spTgt spid="2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" y="-2477"/>
                                    </p:animMotion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2000"/>
                                        <p:tgtEl>
                                          <p:spTgt spid="2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4.16667E-7 0 L 0.16458 0 " pathEditMode="relative" rAng="0" ptsTypes="AA">
                                      <p:cBhvr>
                                        <p:cTn id="71" dur="2000" spd="-100000" fill="hold"/>
                                        <p:tgtEl>
                                          <p:spTgt spid="2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229" y="0"/>
                                    </p:animMotion>
                                  </p:childTnLst>
                                </p:cTn>
                              </p:par>
                              <p:par>
                                <p:cTn id="72" presetID="1" presetClass="entr" presetSubtype="0" fill="hold" grpId="0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" presetClass="entr" presetSubtype="0" fill="hold" grpId="0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" presetClass="entr" presetSubtype="0" fill="hold" grpId="0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" presetClass="entr" presetSubtype="0" fill="hold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" presetClass="entr" presetSubtype="0" fill="hold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" presetClass="entr" presetSubtype="0" fill="hold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" presetClass="entr" presetSubtype="0" fill="hold" grpId="0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" presetClass="entr" presetSubtype="0" fill="hold" grpId="0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" presetClass="entr" presetSubtype="0" fill="hold" grpId="0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" presetClass="entr" presetSubtype="0" fill="hold" grpId="0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" presetClass="entr" presetSubtype="0" fill="hold" grpId="0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241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42" presetClass="path" presetSubtype="0" decel="100000" fill="hold" grpId="1" nodeType="withEffect">
                                  <p:stCondLst>
                                    <p:cond delay="2410"/>
                                  </p:stCondLst>
                                  <p:childTnLst>
                                    <p:animMotion origin="layout" path="M 1.875E-6 1.11111E-6 L -0.00039 -0.04954 " pathEditMode="relative" rAng="0" ptsTypes="AA">
                                      <p:cBhvr>
                                        <p:cTn id="98" dur="20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" y="-247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2" grpId="0" animBg="1"/>
      <p:bldP spid="272" grpId="1" animBg="1"/>
      <p:bldP spid="224" grpId="0" animBg="1"/>
      <p:bldP spid="31" grpId="0" animBg="1"/>
      <p:bldP spid="31" grpId="1" animBg="1"/>
      <p:bldP spid="235" grpId="0"/>
      <p:bldP spid="235" grpId="1"/>
      <p:bldP spid="237" grpId="0"/>
      <p:bldP spid="237" grpId="1"/>
      <p:bldP spid="238" grpId="0"/>
      <p:bldP spid="238" grpId="1"/>
      <p:bldP spid="268" grpId="0" animBg="1"/>
      <p:bldP spid="233" grpId="0" animBg="1"/>
      <p:bldP spid="233" grpId="1" animBg="1"/>
      <p:bldP spid="233" grpId="2" animBg="1"/>
      <p:bldP spid="21" grpId="0" animBg="1"/>
      <p:bldP spid="229" grpId="0"/>
      <p:bldP spid="230" grpId="0"/>
      <p:bldP spid="231" grpId="0"/>
      <p:bldP spid="234" grpId="0"/>
      <p:bldP spid="236" grpId="0" animBg="1"/>
      <p:bldP spid="16" grpId="0" animBg="1"/>
      <p:bldP spid="226" grpId="0"/>
      <p:bldP spid="226" grpId="1"/>
      <p:bldP spid="227" grpId="0"/>
      <p:bldP spid="227" grpId="1"/>
      <p:bldP spid="228" grpId="0"/>
      <p:bldP spid="228" grpId="1"/>
      <p:bldP spid="232" grpId="0" animBg="1"/>
      <p:bldP spid="232" grpId="1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Thème Office">
  <a:themeElements>
    <a:clrScheme name="Ecopills">
      <a:dk1>
        <a:srgbClr val="4E9664"/>
      </a:dk1>
      <a:lt1>
        <a:sysClr val="window" lastClr="FFFFFF"/>
      </a:lt1>
      <a:dk2>
        <a:srgbClr val="555D7D"/>
      </a:dk2>
      <a:lt2>
        <a:srgbClr val="DBDDE6"/>
      </a:lt2>
      <a:accent1>
        <a:srgbClr val="4E9664"/>
      </a:accent1>
      <a:accent2>
        <a:srgbClr val="555D7D"/>
      </a:accent2>
      <a:accent3>
        <a:srgbClr val="4E9664"/>
      </a:accent3>
      <a:accent4>
        <a:srgbClr val="555D7D"/>
      </a:accent4>
      <a:accent5>
        <a:srgbClr val="4E9664"/>
      </a:accent5>
      <a:accent6>
        <a:srgbClr val="555D7D"/>
      </a:accent6>
      <a:hlink>
        <a:srgbClr val="4E9664"/>
      </a:hlink>
      <a:folHlink>
        <a:srgbClr val="376B47"/>
      </a:folHlink>
    </a:clrScheme>
    <a:fontScheme name="Ecopills">
      <a:majorFont>
        <a:latin typeface="Quicksand"/>
        <a:ea typeface=""/>
        <a:cs typeface=""/>
      </a:majorFont>
      <a:minorFont>
        <a:latin typeface="Montserrat Alternate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>
        <a:spAutoFit/>
      </a:bodyPr>
      <a:lstStyle>
        <a:defPPr algn="l">
          <a:defRPr sz="3200" b="1">
            <a:solidFill>
              <a:srgbClr val="4E9664"/>
            </a:solidFill>
            <a:latin typeface="+mj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c9730e7-46a7-4b57-8ed6-4af83f26200d" xsi:nil="true"/>
    <lcf76f155ced4ddcb4097134ff3c332f xmlns="a5072082-9be8-42bf-adab-282e9df9bba8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6360BED89692543B1558287DD9C25AA" ma:contentTypeVersion="18" ma:contentTypeDescription="Crée un document." ma:contentTypeScope="" ma:versionID="debd551f2a4ae0e4f4fb24667b7cd158">
  <xsd:schema xmlns:xsd="http://www.w3.org/2001/XMLSchema" xmlns:xs="http://www.w3.org/2001/XMLSchema" xmlns:p="http://schemas.microsoft.com/office/2006/metadata/properties" xmlns:ns2="a5072082-9be8-42bf-adab-282e9df9bba8" xmlns:ns3="ec9730e7-46a7-4b57-8ed6-4af83f26200d" targetNamespace="http://schemas.microsoft.com/office/2006/metadata/properties" ma:root="true" ma:fieldsID="df420d5dcdb1c6380579cac08a74bf74" ns2:_="" ns3:_="">
    <xsd:import namespace="a5072082-9be8-42bf-adab-282e9df9bba8"/>
    <xsd:import namespace="ec9730e7-46a7-4b57-8ed6-4af83f26200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072082-9be8-42bf-adab-282e9df9bba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Balises d’images" ma:readOnly="false" ma:fieldId="{5cf76f15-5ced-4ddc-b409-7134ff3c332f}" ma:taxonomyMulti="true" ma:sspId="1e532aea-7245-4c01-aa8d-8078939f130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2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5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c9730e7-46a7-4b57-8ed6-4af83f26200d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0467bd24-1efc-4569-83cd-f31088944196}" ma:internalName="TaxCatchAll" ma:showField="CatchAllData" ma:web="ec9730e7-46a7-4b57-8ed6-4af83f26200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2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DBEBB10-000C-4AC9-BC6D-F63147344F06}">
  <ds:schemaRefs>
    <ds:schemaRef ds:uri="7f0de041-62fb-44cc-a81b-bfb825d3836e"/>
    <ds:schemaRef ds:uri="ec9730e7-46a7-4b57-8ed6-4af83f26200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a5072082-9be8-42bf-adab-282e9df9bba8"/>
  </ds:schemaRefs>
</ds:datastoreItem>
</file>

<file path=customXml/itemProps2.xml><?xml version="1.0" encoding="utf-8"?>
<ds:datastoreItem xmlns:ds="http://schemas.openxmlformats.org/officeDocument/2006/customXml" ds:itemID="{55023095-198B-41A7-8D77-A1A7A2790CB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BD59CC4-C960-4D38-992E-7EB4868AC0DA}"/>
</file>

<file path=docProps/app.xml><?xml version="1.0" encoding="utf-8"?>
<Properties xmlns="http://schemas.openxmlformats.org/officeDocument/2006/extended-properties" xmlns:vt="http://schemas.openxmlformats.org/officeDocument/2006/docPropsVTypes">
  <TotalTime>15</TotalTime>
  <Words>1292</Words>
  <Application>Microsoft Office PowerPoint</Application>
  <PresentationFormat>Grand écran</PresentationFormat>
  <Paragraphs>246</Paragraphs>
  <Slides>14</Slides>
  <Notes>0</Notes>
  <HiddenSlides>0</HiddenSlides>
  <MMClips>0</MMClips>
  <ScaleCrop>false</ScaleCrop>
  <HeadingPairs>
    <vt:vector size="6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14</vt:i4>
      </vt:variant>
    </vt:vector>
  </HeadingPairs>
  <TitlesOfParts>
    <vt:vector size="20" baseType="lpstr">
      <vt:lpstr>Montserrat Alternates ExtraBold</vt:lpstr>
      <vt:lpstr>Montserrat Alternates SemiBold</vt:lpstr>
      <vt:lpstr>Quicksand</vt:lpstr>
      <vt:lpstr>Montserrat Alternates</vt:lpstr>
      <vt:lpstr>Arial</vt:lpstr>
      <vt:lpstr>Thème Offic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dS</dc:title>
  <dc:creator>Histoires de Slides</dc:creator>
  <cp:lastModifiedBy>Camille Courjault</cp:lastModifiedBy>
  <cp:revision>6</cp:revision>
  <dcterms:created xsi:type="dcterms:W3CDTF">2023-07-26T08:59:56Z</dcterms:created>
  <dcterms:modified xsi:type="dcterms:W3CDTF">2026-04-01T12:43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360BED89692543B1558287DD9C25AA</vt:lpwstr>
  </property>
  <property fmtid="{D5CDD505-2E9C-101B-9397-08002B2CF9AE}" pid="3" name="MediaServiceImageTags">
    <vt:lpwstr/>
  </property>
</Properties>
</file>